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3"/>
  </p:notesMasterIdLst>
  <p:handoutMasterIdLst>
    <p:handoutMasterId r:id="rId124"/>
  </p:handoutMasterIdLst>
  <p:sldIdLst>
    <p:sldId id="679" r:id="rId5"/>
    <p:sldId id="730" r:id="rId6"/>
    <p:sldId id="901" r:id="rId7"/>
    <p:sldId id="892" r:id="rId8"/>
    <p:sldId id="973" r:id="rId9"/>
    <p:sldId id="891" r:id="rId10"/>
    <p:sldId id="893" r:id="rId11"/>
    <p:sldId id="800" r:id="rId12"/>
    <p:sldId id="1064" r:id="rId13"/>
    <p:sldId id="1065" r:id="rId14"/>
    <p:sldId id="1012" r:id="rId15"/>
    <p:sldId id="988" r:id="rId16"/>
    <p:sldId id="900" r:id="rId17"/>
    <p:sldId id="902" r:id="rId18"/>
    <p:sldId id="906" r:id="rId19"/>
    <p:sldId id="977" r:id="rId20"/>
    <p:sldId id="872" r:id="rId21"/>
    <p:sldId id="857" r:id="rId22"/>
    <p:sldId id="983" r:id="rId23"/>
    <p:sldId id="984" r:id="rId24"/>
    <p:sldId id="909" r:id="rId25"/>
    <p:sldId id="854" r:id="rId26"/>
    <p:sldId id="1011" r:id="rId27"/>
    <p:sldId id="850" r:id="rId28"/>
    <p:sldId id="855" r:id="rId29"/>
    <p:sldId id="856" r:id="rId30"/>
    <p:sldId id="861" r:id="rId31"/>
    <p:sldId id="976" r:id="rId32"/>
    <p:sldId id="985" r:id="rId33"/>
    <p:sldId id="910" r:id="rId34"/>
    <p:sldId id="862" r:id="rId35"/>
    <p:sldId id="874" r:id="rId36"/>
    <p:sldId id="863" r:id="rId37"/>
    <p:sldId id="864" r:id="rId38"/>
    <p:sldId id="865" r:id="rId39"/>
    <p:sldId id="867" r:id="rId40"/>
    <p:sldId id="1013" r:id="rId41"/>
    <p:sldId id="1014" r:id="rId42"/>
    <p:sldId id="875" r:id="rId43"/>
    <p:sldId id="903" r:id="rId44"/>
    <p:sldId id="929" r:id="rId45"/>
    <p:sldId id="931" r:id="rId46"/>
    <p:sldId id="798" r:id="rId47"/>
    <p:sldId id="933" r:id="rId48"/>
    <p:sldId id="814" r:id="rId49"/>
    <p:sldId id="815" r:id="rId50"/>
    <p:sldId id="816" r:id="rId51"/>
    <p:sldId id="817" r:id="rId52"/>
    <p:sldId id="818" r:id="rId53"/>
    <p:sldId id="819" r:id="rId54"/>
    <p:sldId id="932" r:id="rId55"/>
    <p:sldId id="930" r:id="rId56"/>
    <p:sldId id="904" r:id="rId57"/>
    <p:sldId id="991" r:id="rId58"/>
    <p:sldId id="992" r:id="rId59"/>
    <p:sldId id="993" r:id="rId60"/>
    <p:sldId id="905" r:id="rId61"/>
    <p:sldId id="851" r:id="rId62"/>
    <p:sldId id="994" r:id="rId63"/>
    <p:sldId id="995" r:id="rId64"/>
    <p:sldId id="996" r:id="rId65"/>
    <p:sldId id="1024" r:id="rId66"/>
    <p:sldId id="1006" r:id="rId67"/>
    <p:sldId id="1007" r:id="rId68"/>
    <p:sldId id="1010" r:id="rId69"/>
    <p:sldId id="1009" r:id="rId70"/>
    <p:sldId id="972" r:id="rId71"/>
    <p:sldId id="1066" r:id="rId72"/>
    <p:sldId id="1067" r:id="rId73"/>
    <p:sldId id="1068" r:id="rId74"/>
    <p:sldId id="911" r:id="rId75"/>
    <p:sldId id="1015" r:id="rId76"/>
    <p:sldId id="980" r:id="rId77"/>
    <p:sldId id="1016" r:id="rId78"/>
    <p:sldId id="1018" r:id="rId79"/>
    <p:sldId id="1017" r:id="rId80"/>
    <p:sldId id="1019" r:id="rId81"/>
    <p:sldId id="1023" r:id="rId82"/>
    <p:sldId id="1025" r:id="rId83"/>
    <p:sldId id="907" r:id="rId84"/>
    <p:sldId id="740" r:id="rId85"/>
    <p:sldId id="1028" r:id="rId86"/>
    <p:sldId id="821" r:id="rId87"/>
    <p:sldId id="1048" r:id="rId88"/>
    <p:sldId id="1029" r:id="rId89"/>
    <p:sldId id="1030" r:id="rId90"/>
    <p:sldId id="1031" r:id="rId91"/>
    <p:sldId id="1060" r:id="rId92"/>
    <p:sldId id="1045" r:id="rId93"/>
    <p:sldId id="1042" r:id="rId94"/>
    <p:sldId id="1041" r:id="rId95"/>
    <p:sldId id="1046" r:id="rId96"/>
    <p:sldId id="934" r:id="rId97"/>
    <p:sldId id="908" r:id="rId98"/>
    <p:sldId id="1040" r:id="rId99"/>
    <p:sldId id="1022" r:id="rId100"/>
    <p:sldId id="1050" r:id="rId101"/>
    <p:sldId id="802" r:id="rId102"/>
    <p:sldId id="1043" r:id="rId103"/>
    <p:sldId id="1032" r:id="rId104"/>
    <p:sldId id="936" r:id="rId105"/>
    <p:sldId id="1053" r:id="rId106"/>
    <p:sldId id="1033" r:id="rId107"/>
    <p:sldId id="1034" r:id="rId108"/>
    <p:sldId id="1054" r:id="rId109"/>
    <p:sldId id="1036" r:id="rId110"/>
    <p:sldId id="1056" r:id="rId111"/>
    <p:sldId id="1037" r:id="rId112"/>
    <p:sldId id="1057" r:id="rId113"/>
    <p:sldId id="1055" r:id="rId114"/>
    <p:sldId id="1038" r:id="rId115"/>
    <p:sldId id="1051" r:id="rId116"/>
    <p:sldId id="1052" r:id="rId117"/>
    <p:sldId id="1039" r:id="rId118"/>
    <p:sldId id="1061" r:id="rId119"/>
    <p:sldId id="1044" r:id="rId120"/>
    <p:sldId id="1058" r:id="rId121"/>
    <p:sldId id="1059" r:id="rId122"/>
  </p:sldIdLst>
  <p:sldSz cx="12190413" cy="6858000"/>
  <p:notesSz cx="6858000" cy="9144000"/>
  <p:custDataLst>
    <p:tags r:id="rId1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893"/>
            <p14:sldId id="800"/>
            <p14:sldId id="1064"/>
            <p14:sldId id="1065"/>
            <p14:sldId id="1012"/>
          </p14:sldIdLst>
        </p14:section>
        <p14:section name="Lab exercise #0: Finish pre-lab" id="{70BD7ED8-3FD9-482A-8FF0-1C4E59853A05}">
          <p14:sldIdLst>
            <p14:sldId id="988"/>
          </p14:sldIdLst>
        </p14:section>
        <p14:section name="Lab exercise #1: Get to know the environment" id="{6971AAD0-F73F-444E-ACAE-864987162676}">
          <p14:sldIdLst>
            <p14:sldId id="900"/>
          </p14:sldIdLst>
        </p14:section>
        <p14:section name="Lab exercise #2: Configure the AP" id="{2E33E14D-9477-4E6D-A6F1-5A506F199E9B}">
          <p14:sldIdLst>
            <p14:sldId id="902"/>
          </p14:sldIdLst>
        </p14:section>
        <p14:section name="Lab exercise #3: Explore VS Code" id="{079872E7-98F1-436F-BC6C-43458751F212}">
          <p14:sldIdLst>
            <p14:sldId id="906"/>
            <p14:sldId id="977"/>
            <p14:sldId id="872"/>
            <p14:sldId id="857"/>
            <p14:sldId id="983"/>
            <p14:sldId id="984"/>
          </p14:sldIdLst>
        </p14:section>
        <p14:section name="Lab exercise #4: Install Ansible" id="{33329436-047C-42E0-BC5B-9F5E744D42B9}">
          <p14:sldIdLst>
            <p14:sldId id="909"/>
            <p14:sldId id="854"/>
            <p14:sldId id="1011"/>
            <p14:sldId id="850"/>
            <p14:sldId id="855"/>
            <p14:sldId id="856"/>
            <p14:sldId id="861"/>
            <p14:sldId id="976"/>
            <p14:sldId id="985"/>
          </p14:sldIdLst>
        </p14:section>
        <p14:section name="Lab exercise #5: Explore Ansible" id="{048F1D3F-30BF-45F9-808E-C9E853D70B4C}">
          <p14:sldIdLst>
            <p14:sldId id="910"/>
            <p14:sldId id="862"/>
            <p14:sldId id="874"/>
            <p14:sldId id="863"/>
            <p14:sldId id="864"/>
            <p14:sldId id="865"/>
            <p14:sldId id="867"/>
            <p14:sldId id="1013"/>
            <p14:sldId id="1014"/>
            <p14:sldId id="875"/>
          </p14:sldIdLst>
        </p14:section>
        <p14:section name="Lab Exercise #6: Install YANG Suite" id="{294966EF-B483-435D-85DD-5C0F6D0E707B}">
          <p14:sldIdLst>
            <p14:sldId id="903"/>
            <p14:sldId id="929"/>
            <p14:sldId id="931"/>
            <p14:sldId id="798"/>
            <p14:sldId id="933"/>
            <p14:sldId id="814"/>
            <p14:sldId id="815"/>
            <p14:sldId id="816"/>
            <p14:sldId id="817"/>
            <p14:sldId id="818"/>
            <p14:sldId id="819"/>
            <p14:sldId id="932"/>
            <p14:sldId id="930"/>
          </p14:sldIdLst>
        </p14:section>
        <p14:section name="Lab exercise #7: Explore YANG Suite" id="{C11F1452-A8C9-4B6E-8DE2-E92788DC03BD}">
          <p14:sldIdLst>
            <p14:sldId id="904"/>
            <p14:sldId id="991"/>
            <p14:sldId id="992"/>
            <p14:sldId id="993"/>
          </p14:sldIdLst>
        </p14:section>
        <p14:section name="Lab exercise #8: Explore Postman" id="{8F02B460-C06D-4CAB-8D6B-3C0179D45FC2}">
          <p14:sldIdLst>
            <p14:sldId id="905"/>
            <p14:sldId id="851"/>
            <p14:sldId id="994"/>
            <p14:sldId id="995"/>
            <p14:sldId id="996"/>
            <p14:sldId id="1024"/>
            <p14:sldId id="1006"/>
            <p14:sldId id="1007"/>
            <p14:sldId id="1010"/>
            <p14:sldId id="1009"/>
            <p14:sldId id="972"/>
            <p14:sldId id="1066"/>
            <p14:sldId id="1067"/>
            <p14:sldId id="1068"/>
          </p14:sldIdLst>
        </p14:section>
        <p14:section name="Lab exercise #9: Explore Python automation" id="{E189F5D1-BDD7-4580-A748-E19A0A8BE731}">
          <p14:sldIdLst>
            <p14:sldId id="911"/>
            <p14:sldId id="1015"/>
            <p14:sldId id="980"/>
            <p14:sldId id="1016"/>
            <p14:sldId id="1018"/>
            <p14:sldId id="1017"/>
            <p14:sldId id="1019"/>
            <p14:sldId id="1023"/>
            <p14:sldId id="1025"/>
          </p14:sldIdLst>
        </p14:section>
        <p14:section name="Lab exercise #10: Install TIG Stack" id="{A3381D47-BDDC-43DF-A2E0-6785E733AEC0}">
          <p14:sldIdLst>
            <p14:sldId id="907"/>
            <p14:sldId id="740"/>
            <p14:sldId id="1028"/>
            <p14:sldId id="821"/>
            <p14:sldId id="1048"/>
            <p14:sldId id="1029"/>
            <p14:sldId id="1030"/>
            <p14:sldId id="1031"/>
            <p14:sldId id="1060"/>
            <p14:sldId id="1045"/>
            <p14:sldId id="1042"/>
            <p14:sldId id="1041"/>
            <p14:sldId id="1046"/>
            <p14:sldId id="934"/>
          </p14:sldIdLst>
        </p14:section>
        <p14:section name="Lab exercise 11: Build your first Grafana Dashboard" id="{0BFCCA7E-9434-4B9A-9D1D-9AEDF3174F81}">
          <p14:sldIdLst>
            <p14:sldId id="908"/>
            <p14:sldId id="1040"/>
            <p14:sldId id="1022"/>
            <p14:sldId id="1050"/>
            <p14:sldId id="802"/>
            <p14:sldId id="1043"/>
            <p14:sldId id="1032"/>
            <p14:sldId id="936"/>
            <p14:sldId id="1053"/>
            <p14:sldId id="1033"/>
            <p14:sldId id="1034"/>
            <p14:sldId id="1054"/>
            <p14:sldId id="1036"/>
            <p14:sldId id="1056"/>
            <p14:sldId id="1037"/>
            <p14:sldId id="1057"/>
            <p14:sldId id="1055"/>
            <p14:sldId id="1038"/>
            <p14:sldId id="1051"/>
            <p14:sldId id="1052"/>
            <p14:sldId id="1039"/>
            <p14:sldId id="1061"/>
            <p14:sldId id="1044"/>
            <p14:sldId id="1058"/>
            <p14:sldId id="1059"/>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AAF8"/>
    <a:srgbClr val="002B36"/>
    <a:srgbClr val="FFF7F2"/>
    <a:srgbClr val="6D6D6D"/>
    <a:srgbClr val="8C8C8C"/>
    <a:srgbClr val="F27900"/>
    <a:srgbClr val="212121"/>
    <a:srgbClr val="0C1026"/>
    <a:srgbClr val="EEE8D5"/>
    <a:srgbClr val="4B4B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0E9FCB-AD04-4588-AEA5-A4859D811C8A}" v="21" dt="2024-10-17T11:04:29.2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4" d="100"/>
          <a:sy n="134" d="100"/>
        </p:scale>
        <p:origin x="150" y="486"/>
      </p:cViewPr>
      <p:guideLst>
        <p:guide orient="horz" pos="273"/>
        <p:guide orient="horz" pos="956"/>
        <p:guide orient="horz" pos="3664"/>
        <p:guide pos="340"/>
        <p:guide pos="3840"/>
        <p:guide pos="7338"/>
        <p:guide orient="horz" pos="3660"/>
        <p:guide orient="horz" pos="952"/>
        <p:guide pos="341"/>
        <p:guide pos="733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notesMaster" Target="notesMasters/notesMaster1.xml"/><Relationship Id="rId128" Type="http://schemas.openxmlformats.org/officeDocument/2006/relationships/theme" Target="theme/theme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handoutMaster" Target="handoutMasters/handoutMaster1.xml"/><Relationship Id="rId129" Type="http://schemas.openxmlformats.org/officeDocument/2006/relationships/tableStyles" Target="tableStyle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microsoft.com/office/2016/11/relationships/changesInfo" Target="changesInfos/changesInfo1.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microsoft.com/office/2015/10/relationships/revisionInfo" Target="revisionInfo.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ksrud Andreas" userId="9d9beba6-c052-407a-8599-c781a677a996" providerId="ADAL" clId="{E52AF215-E047-473C-8BD8-09C52860CC58}"/>
    <pc:docChg chg="undo redo custSel addSld delSld modSld sldOrd modSection">
      <pc:chgData name="Koksrud Andreas" userId="9d9beba6-c052-407a-8599-c781a677a996" providerId="ADAL" clId="{E52AF215-E047-473C-8BD8-09C52860CC58}" dt="2022-01-13T10:26:57.790" v="4189" actId="14100"/>
      <pc:docMkLst>
        <pc:docMk/>
      </pc:docMkLst>
      <pc:sldChg chg="addSp modSp mod">
        <pc:chgData name="Koksrud Andreas" userId="9d9beba6-c052-407a-8599-c781a677a996" providerId="ADAL" clId="{E52AF215-E047-473C-8BD8-09C52860CC58}" dt="2022-01-13T10:26:57.790" v="4189" actId="14100"/>
        <pc:sldMkLst>
          <pc:docMk/>
          <pc:sldMk cId="2087783305" sldId="730"/>
        </pc:sldMkLst>
        <pc:spChg chg="add mod">
          <ac:chgData name="Koksrud Andreas" userId="9d9beba6-c052-407a-8599-c781a677a996" providerId="ADAL" clId="{E52AF215-E047-473C-8BD8-09C52860CC58}" dt="2022-01-13T10:26:57.790" v="4189" actId="14100"/>
          <ac:spMkLst>
            <pc:docMk/>
            <pc:sldMk cId="2087783305" sldId="730"/>
            <ac:spMk id="2" creationId="{E83F8947-299D-4698-B80E-56B8E23125F0}"/>
          </ac:spMkLst>
        </pc:spChg>
      </pc:sldChg>
      <pc:sldChg chg="addSp delSp modSp mod ord">
        <pc:chgData name="Koksrud Andreas" userId="9d9beba6-c052-407a-8599-c781a677a996" providerId="ADAL" clId="{E52AF215-E047-473C-8BD8-09C52860CC58}" dt="2022-01-12T12:08:08.386" v="1047"/>
        <pc:sldMkLst>
          <pc:docMk/>
          <pc:sldMk cId="396736890" sldId="757"/>
        </pc:sldMkLst>
        <pc:spChg chg="add mod">
          <ac:chgData name="Koksrud Andreas" userId="9d9beba6-c052-407a-8599-c781a677a996" providerId="ADAL" clId="{E52AF215-E047-473C-8BD8-09C52860CC58}" dt="2022-01-12T08:39:45.652" v="17" actId="14100"/>
          <ac:spMkLst>
            <pc:docMk/>
            <pc:sldMk cId="396736890" sldId="757"/>
            <ac:spMk id="4" creationId="{2ECF3AB8-A6F7-4C86-8007-5158B60C6A0E}"/>
          </ac:spMkLst>
        </pc:spChg>
        <pc:spChg chg="add mod">
          <ac:chgData name="Koksrud Andreas" userId="9d9beba6-c052-407a-8599-c781a677a996" providerId="ADAL" clId="{E52AF215-E047-473C-8BD8-09C52860CC58}" dt="2022-01-12T08:40:34.298" v="23" actId="14100"/>
          <ac:spMkLst>
            <pc:docMk/>
            <pc:sldMk cId="396736890" sldId="757"/>
            <ac:spMk id="7" creationId="{6068465B-FC64-4B96-946D-409C1A0164D1}"/>
          </ac:spMkLst>
        </pc:spChg>
        <pc:spChg chg="add mod">
          <ac:chgData name="Koksrud Andreas" userId="9d9beba6-c052-407a-8599-c781a677a996" providerId="ADAL" clId="{E52AF215-E047-473C-8BD8-09C52860CC58}" dt="2022-01-12T08:41:22.154" v="34" actId="1076"/>
          <ac:spMkLst>
            <pc:docMk/>
            <pc:sldMk cId="396736890" sldId="757"/>
            <ac:spMk id="10" creationId="{B8AD7035-B1E6-4BAC-809E-880AE16677EC}"/>
          </ac:spMkLst>
        </pc:spChg>
        <pc:spChg chg="add mod">
          <ac:chgData name="Koksrud Andreas" userId="9d9beba6-c052-407a-8599-c781a677a996" providerId="ADAL" clId="{E52AF215-E047-473C-8BD8-09C52860CC58}" dt="2022-01-12T08:41:31.142" v="46" actId="20577"/>
          <ac:spMkLst>
            <pc:docMk/>
            <pc:sldMk cId="396736890" sldId="757"/>
            <ac:spMk id="15" creationId="{C9C592CD-35F0-4396-97D0-9E7728F1C86D}"/>
          </ac:spMkLst>
        </pc:spChg>
        <pc:spChg chg="del mod">
          <ac:chgData name="Koksrud Andreas" userId="9d9beba6-c052-407a-8599-c781a677a996" providerId="ADAL" clId="{E52AF215-E047-473C-8BD8-09C52860CC58}" dt="2022-01-12T08:38:49.128" v="11" actId="931"/>
          <ac:spMkLst>
            <pc:docMk/>
            <pc:sldMk cId="396736890" sldId="757"/>
            <ac:spMk id="181" creationId="{00000000-0000-0000-0000-000000000000}"/>
          </ac:spMkLst>
        </pc:spChg>
        <pc:picChg chg="add mod">
          <ac:chgData name="Koksrud Andreas" userId="9d9beba6-c052-407a-8599-c781a677a996" providerId="ADAL" clId="{E52AF215-E047-473C-8BD8-09C52860CC58}" dt="2022-01-12T08:38:51.626" v="13" actId="962"/>
          <ac:picMkLst>
            <pc:docMk/>
            <pc:sldMk cId="396736890" sldId="757"/>
            <ac:picMk id="3" creationId="{21988043-E318-4771-B6B5-07823EFDB4E4}"/>
          </ac:picMkLst>
        </pc:picChg>
        <pc:cxnChg chg="add">
          <ac:chgData name="Koksrud Andreas" userId="9d9beba6-c052-407a-8599-c781a677a996" providerId="ADAL" clId="{E52AF215-E047-473C-8BD8-09C52860CC58}" dt="2022-01-12T08:39:53.460" v="18" actId="11529"/>
          <ac:cxnSpMkLst>
            <pc:docMk/>
            <pc:sldMk cId="396736890" sldId="757"/>
            <ac:cxnSpMk id="6" creationId="{277973A1-4F9D-496B-AED6-59A78234FF48}"/>
          </ac:cxnSpMkLst>
        </pc:cxnChg>
        <pc:cxnChg chg="add mod">
          <ac:chgData name="Koksrud Andreas" userId="9d9beba6-c052-407a-8599-c781a677a996" providerId="ADAL" clId="{E52AF215-E047-473C-8BD8-09C52860CC58}" dt="2022-01-12T08:40:46.264" v="25" actId="208"/>
          <ac:cxnSpMkLst>
            <pc:docMk/>
            <pc:sldMk cId="396736890" sldId="757"/>
            <ac:cxnSpMk id="9" creationId="{9ECF109E-52D4-4978-8BB7-265D06CCB3E5}"/>
          </ac:cxnSpMkLst>
        </pc:cxnChg>
      </pc:sldChg>
      <pc:sldChg chg="addSp modSp mod">
        <pc:chgData name="Koksrud Andreas" userId="9d9beba6-c052-407a-8599-c781a677a996" providerId="ADAL" clId="{E52AF215-E047-473C-8BD8-09C52860CC58}" dt="2022-01-12T12:10:17.606" v="1339" actId="20577"/>
        <pc:sldMkLst>
          <pc:docMk/>
          <pc:sldMk cId="2706780473" sldId="758"/>
        </pc:sldMkLst>
        <pc:spChg chg="mod">
          <ac:chgData name="Koksrud Andreas" userId="9d9beba6-c052-407a-8599-c781a677a996" providerId="ADAL" clId="{E52AF215-E047-473C-8BD8-09C52860CC58}" dt="2022-01-12T12:10:17.606" v="1339" actId="20577"/>
          <ac:spMkLst>
            <pc:docMk/>
            <pc:sldMk cId="2706780473" sldId="758"/>
            <ac:spMk id="181" creationId="{00000000-0000-0000-0000-000000000000}"/>
          </ac:spMkLst>
        </pc:spChg>
        <pc:picChg chg="add mod">
          <ac:chgData name="Koksrud Andreas" userId="9d9beba6-c052-407a-8599-c781a677a996" providerId="ADAL" clId="{E52AF215-E047-473C-8BD8-09C52860CC58}" dt="2022-01-12T08:44:59.950" v="54" actId="1076"/>
          <ac:picMkLst>
            <pc:docMk/>
            <pc:sldMk cId="2706780473" sldId="758"/>
            <ac:picMk id="3" creationId="{9A4F60DB-38C2-4322-B7FD-3CDD7A15BA61}"/>
          </ac:picMkLst>
        </pc:picChg>
        <pc:picChg chg="add mod">
          <ac:chgData name="Koksrud Andreas" userId="9d9beba6-c052-407a-8599-c781a677a996" providerId="ADAL" clId="{E52AF215-E047-473C-8BD8-09C52860CC58}" dt="2022-01-12T08:45:15.197" v="58" actId="1076"/>
          <ac:picMkLst>
            <pc:docMk/>
            <pc:sldMk cId="2706780473" sldId="758"/>
            <ac:picMk id="5" creationId="{EA70B1F3-5CEC-4C91-8923-4D40B843C66B}"/>
          </ac:picMkLst>
        </pc:picChg>
        <pc:picChg chg="add mod">
          <ac:chgData name="Koksrud Andreas" userId="9d9beba6-c052-407a-8599-c781a677a996" providerId="ADAL" clId="{E52AF215-E047-473C-8BD8-09C52860CC58}" dt="2022-01-12T08:45:41.858" v="63" actId="14100"/>
          <ac:picMkLst>
            <pc:docMk/>
            <pc:sldMk cId="2706780473" sldId="758"/>
            <ac:picMk id="7" creationId="{8A94A3F5-9711-4AA2-8D04-71D3F65CDE42}"/>
          </ac:picMkLst>
        </pc:picChg>
      </pc:sldChg>
      <pc:sldChg chg="addSp delSp modSp mod">
        <pc:chgData name="Koksrud Andreas" userId="9d9beba6-c052-407a-8599-c781a677a996" providerId="ADAL" clId="{E52AF215-E047-473C-8BD8-09C52860CC58}" dt="2022-01-12T12:20:45.847" v="1409" actId="14100"/>
        <pc:sldMkLst>
          <pc:docMk/>
          <pc:sldMk cId="2616277657" sldId="759"/>
        </pc:sldMkLst>
        <pc:spChg chg="mod">
          <ac:chgData name="Koksrud Andreas" userId="9d9beba6-c052-407a-8599-c781a677a996" providerId="ADAL" clId="{E52AF215-E047-473C-8BD8-09C52860CC58}" dt="2022-01-12T12:20:06.139" v="1402" actId="14100"/>
          <ac:spMkLst>
            <pc:docMk/>
            <pc:sldMk cId="2616277657" sldId="759"/>
            <ac:spMk id="181" creationId="{00000000-0000-0000-0000-000000000000}"/>
          </ac:spMkLst>
        </pc:spChg>
        <pc:picChg chg="add del mod">
          <ac:chgData name="Koksrud Andreas" userId="9d9beba6-c052-407a-8599-c781a677a996" providerId="ADAL" clId="{E52AF215-E047-473C-8BD8-09C52860CC58}" dt="2022-01-12T12:20:06.824" v="1403"/>
          <ac:picMkLst>
            <pc:docMk/>
            <pc:sldMk cId="2616277657" sldId="759"/>
            <ac:picMk id="2050" creationId="{E78CBB7E-232F-41AE-BDF4-2907F5FD8D4E}"/>
          </ac:picMkLst>
        </pc:picChg>
        <pc:picChg chg="add mod">
          <ac:chgData name="Koksrud Andreas" userId="9d9beba6-c052-407a-8599-c781a677a996" providerId="ADAL" clId="{E52AF215-E047-473C-8BD8-09C52860CC58}" dt="2022-01-12T12:20:45.847" v="1409" actId="14100"/>
          <ac:picMkLst>
            <pc:docMk/>
            <pc:sldMk cId="2616277657" sldId="759"/>
            <ac:picMk id="2051" creationId="{8FDAD706-7A75-43E1-A8A2-A644094295A6}"/>
          </ac:picMkLst>
        </pc:picChg>
      </pc:sldChg>
      <pc:sldChg chg="modSp mod">
        <pc:chgData name="Koksrud Andreas" userId="9d9beba6-c052-407a-8599-c781a677a996" providerId="ADAL" clId="{E52AF215-E047-473C-8BD8-09C52860CC58}" dt="2022-01-13T10:24:33.732" v="4121" actId="20577"/>
        <pc:sldMkLst>
          <pc:docMk/>
          <pc:sldMk cId="1725751202" sldId="760"/>
        </pc:sldMkLst>
        <pc:spChg chg="mod">
          <ac:chgData name="Koksrud Andreas" userId="9d9beba6-c052-407a-8599-c781a677a996" providerId="ADAL" clId="{E52AF215-E047-473C-8BD8-09C52860CC58}" dt="2022-01-13T10:24:33.732" v="4121" actId="20577"/>
          <ac:spMkLst>
            <pc:docMk/>
            <pc:sldMk cId="1725751202" sldId="760"/>
            <ac:spMk id="181" creationId="{00000000-0000-0000-0000-000000000000}"/>
          </ac:spMkLst>
        </pc:spChg>
      </pc:sldChg>
      <pc:sldChg chg="addSp modSp mod">
        <pc:chgData name="Koksrud Andreas" userId="9d9beba6-c052-407a-8599-c781a677a996" providerId="ADAL" clId="{E52AF215-E047-473C-8BD8-09C52860CC58}" dt="2022-01-12T13:17:33.703" v="2036" actId="962"/>
        <pc:sldMkLst>
          <pc:docMk/>
          <pc:sldMk cId="1019764475" sldId="761"/>
        </pc:sldMkLst>
        <pc:spChg chg="mod">
          <ac:chgData name="Koksrud Andreas" userId="9d9beba6-c052-407a-8599-c781a677a996" providerId="ADAL" clId="{E52AF215-E047-473C-8BD8-09C52860CC58}" dt="2022-01-12T13:17:08.891" v="2031" actId="5793"/>
          <ac:spMkLst>
            <pc:docMk/>
            <pc:sldMk cId="1019764475" sldId="761"/>
            <ac:spMk id="181" creationId="{00000000-0000-0000-0000-000000000000}"/>
          </ac:spMkLst>
        </pc:spChg>
        <pc:picChg chg="add mod">
          <ac:chgData name="Koksrud Andreas" userId="9d9beba6-c052-407a-8599-c781a677a996" providerId="ADAL" clId="{E52AF215-E047-473C-8BD8-09C52860CC58}" dt="2022-01-12T13:17:12.709" v="2032" actId="1076"/>
          <ac:picMkLst>
            <pc:docMk/>
            <pc:sldMk cId="1019764475" sldId="761"/>
            <ac:picMk id="3" creationId="{2C264051-1B5B-441B-9E81-2D5D65FB9DEB}"/>
          </ac:picMkLst>
        </pc:picChg>
        <pc:picChg chg="add mod">
          <ac:chgData name="Koksrud Andreas" userId="9d9beba6-c052-407a-8599-c781a677a996" providerId="ADAL" clId="{E52AF215-E047-473C-8BD8-09C52860CC58}" dt="2022-01-12T13:17:33.703" v="2036" actId="962"/>
          <ac:picMkLst>
            <pc:docMk/>
            <pc:sldMk cId="1019764475" sldId="761"/>
            <ac:picMk id="5" creationId="{DF3FF874-F6AA-4745-A042-751C31DA95D6}"/>
          </ac:picMkLst>
        </pc:picChg>
      </pc:sldChg>
      <pc:sldChg chg="addSp delSp modSp del mod">
        <pc:chgData name="Koksrud Andreas" userId="9d9beba6-c052-407a-8599-c781a677a996" providerId="ADAL" clId="{E52AF215-E047-473C-8BD8-09C52860CC58}" dt="2022-01-13T09:59:47.838" v="3775" actId="2696"/>
        <pc:sldMkLst>
          <pc:docMk/>
          <pc:sldMk cId="451449259" sldId="762"/>
        </pc:sldMkLst>
        <pc:spChg chg="add mod">
          <ac:chgData name="Koksrud Andreas" userId="9d9beba6-c052-407a-8599-c781a677a996" providerId="ADAL" clId="{E52AF215-E047-473C-8BD8-09C52860CC58}" dt="2022-01-13T07:11:15.908" v="2323" actId="14100"/>
          <ac:spMkLst>
            <pc:docMk/>
            <pc:sldMk cId="451449259" sldId="762"/>
            <ac:spMk id="8" creationId="{74288132-6639-4707-A447-EE938C7DA128}"/>
          </ac:spMkLst>
        </pc:spChg>
        <pc:spChg chg="add mod">
          <ac:chgData name="Koksrud Andreas" userId="9d9beba6-c052-407a-8599-c781a677a996" providerId="ADAL" clId="{E52AF215-E047-473C-8BD8-09C52860CC58}" dt="2022-01-13T07:11:23.819" v="2327" actId="1035"/>
          <ac:spMkLst>
            <pc:docMk/>
            <pc:sldMk cId="451449259" sldId="762"/>
            <ac:spMk id="9" creationId="{2A94B94C-3F57-4F11-B007-E90B693DA1C4}"/>
          </ac:spMkLst>
        </pc:spChg>
        <pc:spChg chg="add mod">
          <ac:chgData name="Koksrud Andreas" userId="9d9beba6-c052-407a-8599-c781a677a996" providerId="ADAL" clId="{E52AF215-E047-473C-8BD8-09C52860CC58}" dt="2022-01-13T07:12:31.029" v="2342" actId="208"/>
          <ac:spMkLst>
            <pc:docMk/>
            <pc:sldMk cId="451449259" sldId="762"/>
            <ac:spMk id="14" creationId="{FA8A2802-E3EA-468F-8B21-46F72456FABA}"/>
          </ac:spMkLst>
        </pc:spChg>
        <pc:spChg chg="add del mod">
          <ac:chgData name="Koksrud Andreas" userId="9d9beba6-c052-407a-8599-c781a677a996" providerId="ADAL" clId="{E52AF215-E047-473C-8BD8-09C52860CC58}" dt="2022-01-13T07:12:35.162" v="2344"/>
          <ac:spMkLst>
            <pc:docMk/>
            <pc:sldMk cId="451449259" sldId="762"/>
            <ac:spMk id="15" creationId="{FB8F0E77-BCEA-45BF-B08F-E29C4FA93DFF}"/>
          </ac:spMkLst>
        </pc:spChg>
        <pc:spChg chg="add mod">
          <ac:chgData name="Koksrud Andreas" userId="9d9beba6-c052-407a-8599-c781a677a996" providerId="ADAL" clId="{E52AF215-E047-473C-8BD8-09C52860CC58}" dt="2022-01-13T07:12:46.428" v="2349" actId="571"/>
          <ac:spMkLst>
            <pc:docMk/>
            <pc:sldMk cId="451449259" sldId="762"/>
            <ac:spMk id="16" creationId="{D6BC44B5-DD0F-44B4-B151-7222B77BF6F0}"/>
          </ac:spMkLst>
        </pc:spChg>
        <pc:spChg chg="add mod">
          <ac:chgData name="Koksrud Andreas" userId="9d9beba6-c052-407a-8599-c781a677a996" providerId="ADAL" clId="{E52AF215-E047-473C-8BD8-09C52860CC58}" dt="2022-01-13T07:27:58.705" v="2705"/>
          <ac:spMkLst>
            <pc:docMk/>
            <pc:sldMk cId="451449259" sldId="762"/>
            <ac:spMk id="19" creationId="{5D456D15-BECC-4AA9-909E-81B3C7B91D77}"/>
          </ac:spMkLst>
        </pc:spChg>
        <pc:spChg chg="mod">
          <ac:chgData name="Koksrud Andreas" userId="9d9beba6-c052-407a-8599-c781a677a996" providerId="ADAL" clId="{E52AF215-E047-473C-8BD8-09C52860CC58}" dt="2022-01-13T07:10:04.198" v="2316" actId="21"/>
          <ac:spMkLst>
            <pc:docMk/>
            <pc:sldMk cId="451449259" sldId="762"/>
            <ac:spMk id="181" creationId="{00000000-0000-0000-0000-000000000000}"/>
          </ac:spMkLst>
        </pc:spChg>
        <pc:picChg chg="add mod modCrop">
          <ac:chgData name="Koksrud Andreas" userId="9d9beba6-c052-407a-8599-c781a677a996" providerId="ADAL" clId="{E52AF215-E047-473C-8BD8-09C52860CC58}" dt="2022-01-13T07:12:38.640" v="2348" actId="1076"/>
          <ac:picMkLst>
            <pc:docMk/>
            <pc:sldMk cId="451449259" sldId="762"/>
            <ac:picMk id="3" creationId="{0EB07F1A-0579-48E0-9FB1-3362147C34B4}"/>
          </ac:picMkLst>
        </pc:picChg>
        <pc:picChg chg="add del mod">
          <ac:chgData name="Koksrud Andreas" userId="9d9beba6-c052-407a-8599-c781a677a996" providerId="ADAL" clId="{E52AF215-E047-473C-8BD8-09C52860CC58}" dt="2022-01-13T07:22:05.796" v="2360" actId="478"/>
          <ac:picMkLst>
            <pc:docMk/>
            <pc:sldMk cId="451449259" sldId="762"/>
            <ac:picMk id="12" creationId="{A0235728-FFB8-4827-8D00-DEE00F87596E}"/>
          </ac:picMkLst>
        </pc:picChg>
        <pc:picChg chg="add mod">
          <ac:chgData name="Koksrud Andreas" userId="9d9beba6-c052-407a-8599-c781a677a996" providerId="ADAL" clId="{E52AF215-E047-473C-8BD8-09C52860CC58}" dt="2022-01-13T07:22:30.656" v="2366" actId="1076"/>
          <ac:picMkLst>
            <pc:docMk/>
            <pc:sldMk cId="451449259" sldId="762"/>
            <ac:picMk id="18" creationId="{82FBB2CF-FD0D-468E-A54F-86B9E9FE8D36}"/>
          </ac:picMkLst>
        </pc:picChg>
        <pc:cxnChg chg="add mod">
          <ac:chgData name="Koksrud Andreas" userId="9d9beba6-c052-407a-8599-c781a677a996" providerId="ADAL" clId="{E52AF215-E047-473C-8BD8-09C52860CC58}" dt="2022-01-13T07:11:50.187" v="2331" actId="14100"/>
          <ac:cxnSpMkLst>
            <pc:docMk/>
            <pc:sldMk cId="451449259" sldId="762"/>
            <ac:cxnSpMk id="10" creationId="{33DA3656-539C-473C-B541-64E62ADCC27F}"/>
          </ac:cxnSpMkLst>
        </pc:cxnChg>
        <pc:cxnChg chg="add mod">
          <ac:chgData name="Koksrud Andreas" userId="9d9beba6-c052-407a-8599-c781a677a996" providerId="ADAL" clId="{E52AF215-E047-473C-8BD8-09C52860CC58}" dt="2022-01-13T07:13:00.001" v="2352" actId="208"/>
          <ac:cxnSpMkLst>
            <pc:docMk/>
            <pc:sldMk cId="451449259" sldId="762"/>
            <ac:cxnSpMk id="17" creationId="{7519B5C2-7D81-4925-8953-0549C33CE3DB}"/>
          </ac:cxnSpMkLst>
        </pc:cxnChg>
      </pc:sldChg>
      <pc:sldChg chg="modSp add mod">
        <pc:chgData name="Koksrud Andreas" userId="9d9beba6-c052-407a-8599-c781a677a996" providerId="ADAL" clId="{E52AF215-E047-473C-8BD8-09C52860CC58}" dt="2022-01-13T10:00:04.128" v="3777"/>
        <pc:sldMkLst>
          <pc:docMk/>
          <pc:sldMk cId="3548956945" sldId="762"/>
        </pc:sldMkLst>
        <pc:spChg chg="mod">
          <ac:chgData name="Koksrud Andreas" userId="9d9beba6-c052-407a-8599-c781a677a996" providerId="ADAL" clId="{E52AF215-E047-473C-8BD8-09C52860CC58}" dt="2022-01-13T10:00:04.128" v="3777"/>
          <ac:spMkLst>
            <pc:docMk/>
            <pc:sldMk cId="3548956945" sldId="762"/>
            <ac:spMk id="180" creationId="{00000000-0000-0000-0000-000000000000}"/>
          </ac:spMkLst>
        </pc:spChg>
      </pc:sldChg>
      <pc:sldChg chg="addSp modSp mod">
        <pc:chgData name="Koksrud Andreas" userId="9d9beba6-c052-407a-8599-c781a677a996" providerId="ADAL" clId="{E52AF215-E047-473C-8BD8-09C52860CC58}" dt="2022-01-13T09:16:44.670" v="3330" actId="20577"/>
        <pc:sldMkLst>
          <pc:docMk/>
          <pc:sldMk cId="1523800458" sldId="763"/>
        </pc:sldMkLst>
        <pc:spChg chg="mod">
          <ac:chgData name="Koksrud Andreas" userId="9d9beba6-c052-407a-8599-c781a677a996" providerId="ADAL" clId="{E52AF215-E047-473C-8BD8-09C52860CC58}" dt="2022-01-13T09:16:44.670" v="3330" actId="20577"/>
          <ac:spMkLst>
            <pc:docMk/>
            <pc:sldMk cId="1523800458" sldId="763"/>
            <ac:spMk id="181" creationId="{00000000-0000-0000-0000-000000000000}"/>
          </ac:spMkLst>
        </pc:spChg>
        <pc:picChg chg="add mod">
          <ac:chgData name="Koksrud Andreas" userId="9d9beba6-c052-407a-8599-c781a677a996" providerId="ADAL" clId="{E52AF215-E047-473C-8BD8-09C52860CC58}" dt="2022-01-13T09:15:26.150" v="3319" actId="14100"/>
          <ac:picMkLst>
            <pc:docMk/>
            <pc:sldMk cId="1523800458" sldId="763"/>
            <ac:picMk id="3" creationId="{662BDB56-A042-4E19-8CDC-69E878A0075F}"/>
          </ac:picMkLst>
        </pc:picChg>
      </pc:sldChg>
      <pc:sldChg chg="addSp delSp modSp mod">
        <pc:chgData name="Koksrud Andreas" userId="9d9beba6-c052-407a-8599-c781a677a996" providerId="ADAL" clId="{E52AF215-E047-473C-8BD8-09C52860CC58}" dt="2022-01-12T13:14:53.410" v="2024" actId="1036"/>
        <pc:sldMkLst>
          <pc:docMk/>
          <pc:sldMk cId="1963101599" sldId="764"/>
        </pc:sldMkLst>
        <pc:spChg chg="mod">
          <ac:chgData name="Koksrud Andreas" userId="9d9beba6-c052-407a-8599-c781a677a996" providerId="ADAL" clId="{E52AF215-E047-473C-8BD8-09C52860CC58}" dt="2022-01-12T13:13:09.283" v="2016" actId="6549"/>
          <ac:spMkLst>
            <pc:docMk/>
            <pc:sldMk cId="1963101599" sldId="764"/>
            <ac:spMk id="181" creationId="{00000000-0000-0000-0000-000000000000}"/>
          </ac:spMkLst>
        </pc:spChg>
        <pc:picChg chg="add del mod">
          <ac:chgData name="Koksrud Andreas" userId="9d9beba6-c052-407a-8599-c781a677a996" providerId="ADAL" clId="{E52AF215-E047-473C-8BD8-09C52860CC58}" dt="2022-01-12T12:42:13.710" v="1757"/>
          <ac:picMkLst>
            <pc:docMk/>
            <pc:sldMk cId="1963101599" sldId="764"/>
            <ac:picMk id="3" creationId="{8C91C370-BA25-4992-A6D8-E6816203FFE9}"/>
          </ac:picMkLst>
        </pc:picChg>
        <pc:picChg chg="add del mod">
          <ac:chgData name="Koksrud Andreas" userId="9d9beba6-c052-407a-8599-c781a677a996" providerId="ADAL" clId="{E52AF215-E047-473C-8BD8-09C52860CC58}" dt="2022-01-12T13:10:42.262" v="1846" actId="478"/>
          <ac:picMkLst>
            <pc:docMk/>
            <pc:sldMk cId="1963101599" sldId="764"/>
            <ac:picMk id="5" creationId="{32D64567-050F-4965-A352-B9803E4BD09D}"/>
          </ac:picMkLst>
        </pc:picChg>
        <pc:picChg chg="add del mod modCrop">
          <ac:chgData name="Koksrud Andreas" userId="9d9beba6-c052-407a-8599-c781a677a996" providerId="ADAL" clId="{E52AF215-E047-473C-8BD8-09C52860CC58}" dt="2022-01-12T13:14:23.176" v="2021" actId="478"/>
          <ac:picMkLst>
            <pc:docMk/>
            <pc:sldMk cId="1963101599" sldId="764"/>
            <ac:picMk id="7" creationId="{7F09146E-18B6-465A-B3EB-1ABB212EB245}"/>
          </ac:picMkLst>
        </pc:picChg>
        <pc:picChg chg="add mod">
          <ac:chgData name="Koksrud Andreas" userId="9d9beba6-c052-407a-8599-c781a677a996" providerId="ADAL" clId="{E52AF215-E047-473C-8BD8-09C52860CC58}" dt="2022-01-12T13:13:41.878" v="2018" actId="1076"/>
          <ac:picMkLst>
            <pc:docMk/>
            <pc:sldMk cId="1963101599" sldId="764"/>
            <ac:picMk id="9" creationId="{E307AE74-0A84-40A3-9452-74D1684165A8}"/>
          </ac:picMkLst>
        </pc:picChg>
        <pc:picChg chg="add mod">
          <ac:chgData name="Koksrud Andreas" userId="9d9beba6-c052-407a-8599-c781a677a996" providerId="ADAL" clId="{E52AF215-E047-473C-8BD8-09C52860CC58}" dt="2022-01-12T13:14:53.410" v="2024" actId="1036"/>
          <ac:picMkLst>
            <pc:docMk/>
            <pc:sldMk cId="1963101599" sldId="764"/>
            <ac:picMk id="11" creationId="{6781C7B4-DD77-4E2B-9EF3-B5226005C9F3}"/>
          </ac:picMkLst>
        </pc:picChg>
      </pc:sldChg>
      <pc:sldChg chg="addSp delSp modSp mod">
        <pc:chgData name="Koksrud Andreas" userId="9d9beba6-c052-407a-8599-c781a677a996" providerId="ADAL" clId="{E52AF215-E047-473C-8BD8-09C52860CC58}" dt="2022-01-12T13:39:31.923" v="2170" actId="6549"/>
        <pc:sldMkLst>
          <pc:docMk/>
          <pc:sldMk cId="1133620909" sldId="765"/>
        </pc:sldMkLst>
        <pc:spChg chg="add del mod">
          <ac:chgData name="Koksrud Andreas" userId="9d9beba6-c052-407a-8599-c781a677a996" providerId="ADAL" clId="{E52AF215-E047-473C-8BD8-09C52860CC58}" dt="2022-01-12T13:37:43.300" v="2095" actId="478"/>
          <ac:spMkLst>
            <pc:docMk/>
            <pc:sldMk cId="1133620909" sldId="765"/>
            <ac:spMk id="13" creationId="{80EE4B90-3F63-4F66-A0E6-C1AC596C2EA5}"/>
          </ac:spMkLst>
        </pc:spChg>
        <pc:spChg chg="mod">
          <ac:chgData name="Koksrud Andreas" userId="9d9beba6-c052-407a-8599-c781a677a996" providerId="ADAL" clId="{E52AF215-E047-473C-8BD8-09C52860CC58}" dt="2022-01-12T13:39:31.923" v="2170" actId="6549"/>
          <ac:spMkLst>
            <pc:docMk/>
            <pc:sldMk cId="1133620909" sldId="765"/>
            <ac:spMk id="181" creationId="{00000000-0000-0000-0000-000000000000}"/>
          </ac:spMkLst>
        </pc:spChg>
        <pc:picChg chg="add mod modCrop">
          <ac:chgData name="Koksrud Andreas" userId="9d9beba6-c052-407a-8599-c781a677a996" providerId="ADAL" clId="{E52AF215-E047-473C-8BD8-09C52860CC58}" dt="2022-01-12T13:32:54.028" v="2081" actId="1076"/>
          <ac:picMkLst>
            <pc:docMk/>
            <pc:sldMk cId="1133620909" sldId="765"/>
            <ac:picMk id="3" creationId="{6371BF17-E01A-48FA-A6FB-9AC49F51AB9A}"/>
          </ac:picMkLst>
        </pc:picChg>
        <pc:picChg chg="add del mod">
          <ac:chgData name="Koksrud Andreas" userId="9d9beba6-c052-407a-8599-c781a677a996" providerId="ADAL" clId="{E52AF215-E047-473C-8BD8-09C52860CC58}" dt="2022-01-12T13:37:14.078" v="2089" actId="478"/>
          <ac:picMkLst>
            <pc:docMk/>
            <pc:sldMk cId="1133620909" sldId="765"/>
            <ac:picMk id="5" creationId="{778449BC-7235-44AB-9919-5B4C96555444}"/>
          </ac:picMkLst>
        </pc:picChg>
        <pc:picChg chg="add del mod">
          <ac:chgData name="Koksrud Andreas" userId="9d9beba6-c052-407a-8599-c781a677a996" providerId="ADAL" clId="{E52AF215-E047-473C-8BD8-09C52860CC58}" dt="2022-01-12T13:37:48.305" v="2096" actId="478"/>
          <ac:picMkLst>
            <pc:docMk/>
            <pc:sldMk cId="1133620909" sldId="765"/>
            <ac:picMk id="7" creationId="{67C3F401-1ECE-4F2C-A5D4-30DD184A72CA}"/>
          </ac:picMkLst>
        </pc:picChg>
        <pc:picChg chg="add mod">
          <ac:chgData name="Koksrud Andreas" userId="9d9beba6-c052-407a-8599-c781a677a996" providerId="ADAL" clId="{E52AF215-E047-473C-8BD8-09C52860CC58}" dt="2022-01-12T13:38:07.006" v="2102" actId="1076"/>
          <ac:picMkLst>
            <pc:docMk/>
            <pc:sldMk cId="1133620909" sldId="765"/>
            <ac:picMk id="10" creationId="{94C63C08-D804-4138-BAA1-B8A59551A46C}"/>
          </ac:picMkLst>
        </pc:picChg>
      </pc:sldChg>
      <pc:sldChg chg="addSp delSp modSp mod">
        <pc:chgData name="Koksrud Andreas" userId="9d9beba6-c052-407a-8599-c781a677a996" providerId="ADAL" clId="{E52AF215-E047-473C-8BD8-09C52860CC58}" dt="2022-01-13T08:21:03.751" v="3104" actId="1036"/>
        <pc:sldMkLst>
          <pc:docMk/>
          <pc:sldMk cId="2033200031" sldId="766"/>
        </pc:sldMkLst>
        <pc:spChg chg="mod">
          <ac:chgData name="Koksrud Andreas" userId="9d9beba6-c052-407a-8599-c781a677a996" providerId="ADAL" clId="{E52AF215-E047-473C-8BD8-09C52860CC58}" dt="2022-01-13T07:47:58.491" v="3038" actId="20577"/>
          <ac:spMkLst>
            <pc:docMk/>
            <pc:sldMk cId="2033200031" sldId="766"/>
            <ac:spMk id="181" creationId="{00000000-0000-0000-0000-000000000000}"/>
          </ac:spMkLst>
        </pc:spChg>
        <pc:picChg chg="add del mod modCrop">
          <ac:chgData name="Koksrud Andreas" userId="9d9beba6-c052-407a-8599-c781a677a996" providerId="ADAL" clId="{E52AF215-E047-473C-8BD8-09C52860CC58}" dt="2022-01-13T08:00:23.979" v="3082" actId="478"/>
          <ac:picMkLst>
            <pc:docMk/>
            <pc:sldMk cId="2033200031" sldId="766"/>
            <ac:picMk id="3" creationId="{0025CC1D-3659-46E9-9603-64E51610F7A1}"/>
          </ac:picMkLst>
        </pc:picChg>
        <pc:picChg chg="add mod">
          <ac:chgData name="Koksrud Andreas" userId="9d9beba6-c052-407a-8599-c781a677a996" providerId="ADAL" clId="{E52AF215-E047-473C-8BD8-09C52860CC58}" dt="2022-01-13T08:21:03.003" v="3102" actId="1036"/>
          <ac:picMkLst>
            <pc:docMk/>
            <pc:sldMk cId="2033200031" sldId="766"/>
            <ac:picMk id="5" creationId="{C120A39A-9846-4024-B787-3853C5C0B5A8}"/>
          </ac:picMkLst>
        </pc:picChg>
        <pc:picChg chg="add del mod">
          <ac:chgData name="Koksrud Andreas" userId="9d9beba6-c052-407a-8599-c781a677a996" providerId="ADAL" clId="{E52AF215-E047-473C-8BD8-09C52860CC58}" dt="2022-01-13T08:00:48.272" v="3087" actId="478"/>
          <ac:picMkLst>
            <pc:docMk/>
            <pc:sldMk cId="2033200031" sldId="766"/>
            <ac:picMk id="7" creationId="{0DD85C38-AF4F-46E7-9D54-2C80F34E5C40}"/>
          </ac:picMkLst>
        </pc:picChg>
        <pc:picChg chg="add mod">
          <ac:chgData name="Koksrud Andreas" userId="9d9beba6-c052-407a-8599-c781a677a996" providerId="ADAL" clId="{E52AF215-E047-473C-8BD8-09C52860CC58}" dt="2022-01-13T08:21:03.751" v="3104" actId="1036"/>
          <ac:picMkLst>
            <pc:docMk/>
            <pc:sldMk cId="2033200031" sldId="766"/>
            <ac:picMk id="9" creationId="{DD0B6692-207D-4B02-B2CA-CC747FA17DA7}"/>
          </ac:picMkLst>
        </pc:picChg>
      </pc:sldChg>
      <pc:sldChg chg="addSp modSp mod">
        <pc:chgData name="Koksrud Andreas" userId="9d9beba6-c052-407a-8599-c781a677a996" providerId="ADAL" clId="{E52AF215-E047-473C-8BD8-09C52860CC58}" dt="2022-01-13T07:31:24.962" v="2931" actId="27636"/>
        <pc:sldMkLst>
          <pc:docMk/>
          <pc:sldMk cId="3428711004" sldId="767"/>
        </pc:sldMkLst>
        <pc:spChg chg="add mod">
          <ac:chgData name="Koksrud Andreas" userId="9d9beba6-c052-407a-8599-c781a677a996" providerId="ADAL" clId="{E52AF215-E047-473C-8BD8-09C52860CC58}" dt="2022-01-13T07:29:07.447" v="2722" actId="1035"/>
          <ac:spMkLst>
            <pc:docMk/>
            <pc:sldMk cId="3428711004" sldId="767"/>
            <ac:spMk id="8" creationId="{BA63ECEE-3F06-4B66-87AB-4F1FEB011388}"/>
          </ac:spMkLst>
        </pc:spChg>
        <pc:spChg chg="add mod">
          <ac:chgData name="Koksrud Andreas" userId="9d9beba6-c052-407a-8599-c781a677a996" providerId="ADAL" clId="{E52AF215-E047-473C-8BD8-09C52860CC58}" dt="2022-01-13T07:29:07.447" v="2722" actId="1035"/>
          <ac:spMkLst>
            <pc:docMk/>
            <pc:sldMk cId="3428711004" sldId="767"/>
            <ac:spMk id="9" creationId="{4F28EC7A-68BB-4880-B751-1381F9D1C0B2}"/>
          </ac:spMkLst>
        </pc:spChg>
        <pc:spChg chg="mod">
          <ac:chgData name="Koksrud Andreas" userId="9d9beba6-c052-407a-8599-c781a677a996" providerId="ADAL" clId="{E52AF215-E047-473C-8BD8-09C52860CC58}" dt="2022-01-13T07:31:24.962" v="2931" actId="27636"/>
          <ac:spMkLst>
            <pc:docMk/>
            <pc:sldMk cId="3428711004" sldId="767"/>
            <ac:spMk id="181" creationId="{00000000-0000-0000-0000-000000000000}"/>
          </ac:spMkLst>
        </pc:spChg>
        <pc:picChg chg="add mod">
          <ac:chgData name="Koksrud Andreas" userId="9d9beba6-c052-407a-8599-c781a677a996" providerId="ADAL" clId="{E52AF215-E047-473C-8BD8-09C52860CC58}" dt="2022-01-13T07:28:35.310" v="2719" actId="962"/>
          <ac:picMkLst>
            <pc:docMk/>
            <pc:sldMk cId="3428711004" sldId="767"/>
            <ac:picMk id="3" creationId="{E3251E17-12B8-4FA3-9BDA-20EC1256487C}"/>
          </ac:picMkLst>
        </pc:picChg>
        <pc:cxnChg chg="add mod">
          <ac:chgData name="Koksrud Andreas" userId="9d9beba6-c052-407a-8599-c781a677a996" providerId="ADAL" clId="{E52AF215-E047-473C-8BD8-09C52860CC58}" dt="2022-01-13T07:29:07.447" v="2722" actId="1035"/>
          <ac:cxnSpMkLst>
            <pc:docMk/>
            <pc:sldMk cId="3428711004" sldId="767"/>
            <ac:cxnSpMk id="10" creationId="{437831C7-C902-4D23-B682-E7B95B2CCD11}"/>
          </ac:cxnSpMkLst>
        </pc:cxnChg>
      </pc:sldChg>
      <pc:sldChg chg="modSp mod">
        <pc:chgData name="Koksrud Andreas" userId="9d9beba6-c052-407a-8599-c781a677a996" providerId="ADAL" clId="{E52AF215-E047-473C-8BD8-09C52860CC58}" dt="2022-01-13T07:39:31.704" v="3028" actId="20577"/>
        <pc:sldMkLst>
          <pc:docMk/>
          <pc:sldMk cId="1456486215" sldId="768"/>
        </pc:sldMkLst>
        <pc:spChg chg="mod">
          <ac:chgData name="Koksrud Andreas" userId="9d9beba6-c052-407a-8599-c781a677a996" providerId="ADAL" clId="{E52AF215-E047-473C-8BD8-09C52860CC58}" dt="2022-01-13T07:39:31.704" v="3028" actId="20577"/>
          <ac:spMkLst>
            <pc:docMk/>
            <pc:sldMk cId="1456486215" sldId="768"/>
            <ac:spMk id="181" creationId="{00000000-0000-0000-0000-000000000000}"/>
          </ac:spMkLst>
        </pc:spChg>
      </pc:sldChg>
      <pc:sldChg chg="addSp modSp mod">
        <pc:chgData name="Koksrud Andreas" userId="9d9beba6-c052-407a-8599-c781a677a996" providerId="ADAL" clId="{E52AF215-E047-473C-8BD8-09C52860CC58}" dt="2022-01-13T08:21:18.595" v="3111" actId="1036"/>
        <pc:sldMkLst>
          <pc:docMk/>
          <pc:sldMk cId="1313933673" sldId="769"/>
        </pc:sldMkLst>
        <pc:spChg chg="add mod">
          <ac:chgData name="Koksrud Andreas" userId="9d9beba6-c052-407a-8599-c781a677a996" providerId="ADAL" clId="{E52AF215-E047-473C-8BD8-09C52860CC58}" dt="2022-01-13T07:56:01.912" v="3069" actId="14100"/>
          <ac:spMkLst>
            <pc:docMk/>
            <pc:sldMk cId="1313933673" sldId="769"/>
            <ac:spMk id="12" creationId="{A5FC73B2-F97D-41AE-8554-72FA3D035516}"/>
          </ac:spMkLst>
        </pc:spChg>
        <pc:spChg chg="add mod">
          <ac:chgData name="Koksrud Andreas" userId="9d9beba6-c052-407a-8599-c781a677a996" providerId="ADAL" clId="{E52AF215-E047-473C-8BD8-09C52860CC58}" dt="2022-01-13T07:56:15.584" v="3072" actId="14100"/>
          <ac:spMkLst>
            <pc:docMk/>
            <pc:sldMk cId="1313933673" sldId="769"/>
            <ac:spMk id="13" creationId="{34776FB6-E2CD-4265-8780-E3AFC8BC9C90}"/>
          </ac:spMkLst>
        </pc:spChg>
        <pc:spChg chg="add mod">
          <ac:chgData name="Koksrud Andreas" userId="9d9beba6-c052-407a-8599-c781a677a996" providerId="ADAL" clId="{E52AF215-E047-473C-8BD8-09C52860CC58}" dt="2022-01-13T07:56:26.303" v="3074" actId="1076"/>
          <ac:spMkLst>
            <pc:docMk/>
            <pc:sldMk cId="1313933673" sldId="769"/>
            <ac:spMk id="14" creationId="{DB80A855-2249-4F9D-95C6-369FFC26B808}"/>
          </ac:spMkLst>
        </pc:spChg>
        <pc:spChg chg="add mod">
          <ac:chgData name="Koksrud Andreas" userId="9d9beba6-c052-407a-8599-c781a677a996" providerId="ADAL" clId="{E52AF215-E047-473C-8BD8-09C52860CC58}" dt="2022-01-13T07:56:32.604" v="3075" actId="571"/>
          <ac:spMkLst>
            <pc:docMk/>
            <pc:sldMk cId="1313933673" sldId="769"/>
            <ac:spMk id="15" creationId="{B26580D8-CF1F-41E3-B1B8-7E1010537651}"/>
          </ac:spMkLst>
        </pc:spChg>
        <pc:spChg chg="add mod">
          <ac:chgData name="Koksrud Andreas" userId="9d9beba6-c052-407a-8599-c781a677a996" providerId="ADAL" clId="{E52AF215-E047-473C-8BD8-09C52860CC58}" dt="2022-01-13T08:02:21.115" v="3096" actId="14100"/>
          <ac:spMkLst>
            <pc:docMk/>
            <pc:sldMk cId="1313933673" sldId="769"/>
            <ac:spMk id="16" creationId="{DF7D33BD-C2B9-450D-93D2-01246E0251A1}"/>
          </ac:spMkLst>
        </pc:spChg>
        <pc:spChg chg="mod">
          <ac:chgData name="Koksrud Andreas" userId="9d9beba6-c052-407a-8599-c781a677a996" providerId="ADAL" clId="{E52AF215-E047-473C-8BD8-09C52860CC58}" dt="2022-01-13T07:54:19.600" v="3053"/>
          <ac:spMkLst>
            <pc:docMk/>
            <pc:sldMk cId="1313933673" sldId="769"/>
            <ac:spMk id="181" creationId="{00000000-0000-0000-0000-000000000000}"/>
          </ac:spMkLst>
        </pc:spChg>
        <pc:picChg chg="add mod">
          <ac:chgData name="Koksrud Andreas" userId="9d9beba6-c052-407a-8599-c781a677a996" providerId="ADAL" clId="{E52AF215-E047-473C-8BD8-09C52860CC58}" dt="2022-01-13T07:53:31.105" v="3045" actId="1076"/>
          <ac:picMkLst>
            <pc:docMk/>
            <pc:sldMk cId="1313933673" sldId="769"/>
            <ac:picMk id="3" creationId="{4DF842DE-41BB-451A-9022-B24757713497}"/>
          </ac:picMkLst>
        </pc:picChg>
        <pc:picChg chg="add mod ord">
          <ac:chgData name="Koksrud Andreas" userId="9d9beba6-c052-407a-8599-c781a677a996" providerId="ADAL" clId="{E52AF215-E047-473C-8BD8-09C52860CC58}" dt="2022-01-13T07:55:44.760" v="3065" actId="166"/>
          <ac:picMkLst>
            <pc:docMk/>
            <pc:sldMk cId="1313933673" sldId="769"/>
            <ac:picMk id="5" creationId="{2316D7AD-06D8-46F4-97D0-32BE59E7800E}"/>
          </ac:picMkLst>
        </pc:picChg>
        <pc:picChg chg="add mod modCrop">
          <ac:chgData name="Koksrud Andreas" userId="9d9beba6-c052-407a-8599-c781a677a996" providerId="ADAL" clId="{E52AF215-E047-473C-8BD8-09C52860CC58}" dt="2022-01-13T08:21:18.595" v="3111" actId="1036"/>
          <ac:picMkLst>
            <pc:docMk/>
            <pc:sldMk cId="1313933673" sldId="769"/>
            <ac:picMk id="7" creationId="{67D5422F-1D61-4D8A-AFFD-CD9D7D6D6C72}"/>
          </ac:picMkLst>
        </pc:picChg>
      </pc:sldChg>
      <pc:sldChg chg="addSp modSp mod">
        <pc:chgData name="Koksrud Andreas" userId="9d9beba6-c052-407a-8599-c781a677a996" providerId="ADAL" clId="{E52AF215-E047-473C-8BD8-09C52860CC58}" dt="2022-01-13T08:23:45.719" v="3139" actId="14100"/>
        <pc:sldMkLst>
          <pc:docMk/>
          <pc:sldMk cId="284321844" sldId="770"/>
        </pc:sldMkLst>
        <pc:picChg chg="add mod modCrop">
          <ac:chgData name="Koksrud Andreas" userId="9d9beba6-c052-407a-8599-c781a677a996" providerId="ADAL" clId="{E52AF215-E047-473C-8BD8-09C52860CC58}" dt="2022-01-13T08:22:39.144" v="3126" actId="1076"/>
          <ac:picMkLst>
            <pc:docMk/>
            <pc:sldMk cId="284321844" sldId="770"/>
            <ac:picMk id="3" creationId="{94364EED-F4E0-4C65-A821-236DA333C73B}"/>
          </ac:picMkLst>
        </pc:picChg>
        <pc:picChg chg="add mod">
          <ac:chgData name="Koksrud Andreas" userId="9d9beba6-c052-407a-8599-c781a677a996" providerId="ADAL" clId="{E52AF215-E047-473C-8BD8-09C52860CC58}" dt="2022-01-13T08:23:27.371" v="3131" actId="1076"/>
          <ac:picMkLst>
            <pc:docMk/>
            <pc:sldMk cId="284321844" sldId="770"/>
            <ac:picMk id="5" creationId="{0DE047A7-BA4A-4D5B-97F7-D82EC1D03856}"/>
          </ac:picMkLst>
        </pc:picChg>
        <pc:picChg chg="add mod modCrop">
          <ac:chgData name="Koksrud Andreas" userId="9d9beba6-c052-407a-8599-c781a677a996" providerId="ADAL" clId="{E52AF215-E047-473C-8BD8-09C52860CC58}" dt="2022-01-13T08:23:45.719" v="3139" actId="14100"/>
          <ac:picMkLst>
            <pc:docMk/>
            <pc:sldMk cId="284321844" sldId="770"/>
            <ac:picMk id="7" creationId="{8920B699-1FAF-4F80-B770-CC23549FD102}"/>
          </ac:picMkLst>
        </pc:picChg>
      </pc:sldChg>
      <pc:sldChg chg="addSp modSp mod">
        <pc:chgData name="Koksrud Andreas" userId="9d9beba6-c052-407a-8599-c781a677a996" providerId="ADAL" clId="{E52AF215-E047-473C-8BD8-09C52860CC58}" dt="2022-01-13T08:28:19.003" v="3163" actId="14100"/>
        <pc:sldMkLst>
          <pc:docMk/>
          <pc:sldMk cId="3521944309" sldId="771"/>
        </pc:sldMkLst>
        <pc:spChg chg="add mod">
          <ac:chgData name="Koksrud Andreas" userId="9d9beba6-c052-407a-8599-c781a677a996" providerId="ADAL" clId="{E52AF215-E047-473C-8BD8-09C52860CC58}" dt="2022-01-13T08:28:19.003" v="3163" actId="14100"/>
          <ac:spMkLst>
            <pc:docMk/>
            <pc:sldMk cId="3521944309" sldId="771"/>
            <ac:spMk id="12" creationId="{2624B055-EB8D-40D3-A9E6-90FD6DB9C9E3}"/>
          </ac:spMkLst>
        </pc:spChg>
        <pc:picChg chg="add mod">
          <ac:chgData name="Koksrud Andreas" userId="9d9beba6-c052-407a-8599-c781a677a996" providerId="ADAL" clId="{E52AF215-E047-473C-8BD8-09C52860CC58}" dt="2022-01-13T08:25:03.538" v="3144" actId="1076"/>
          <ac:picMkLst>
            <pc:docMk/>
            <pc:sldMk cId="3521944309" sldId="771"/>
            <ac:picMk id="3" creationId="{E387E322-13BD-49B0-840D-81F411B75B91}"/>
          </ac:picMkLst>
        </pc:picChg>
        <pc:picChg chg="add mod">
          <ac:chgData name="Koksrud Andreas" userId="9d9beba6-c052-407a-8599-c781a677a996" providerId="ADAL" clId="{E52AF215-E047-473C-8BD8-09C52860CC58}" dt="2022-01-13T08:28:13.155" v="3161" actId="1076"/>
          <ac:picMkLst>
            <pc:docMk/>
            <pc:sldMk cId="3521944309" sldId="771"/>
            <ac:picMk id="5" creationId="{F44FFB05-493E-41C0-BAAC-D13CD169B223}"/>
          </ac:picMkLst>
        </pc:picChg>
        <pc:picChg chg="add mod">
          <ac:chgData name="Koksrud Andreas" userId="9d9beba6-c052-407a-8599-c781a677a996" providerId="ADAL" clId="{E52AF215-E047-473C-8BD8-09C52860CC58}" dt="2022-01-13T08:27:52.015" v="3157" actId="14100"/>
          <ac:picMkLst>
            <pc:docMk/>
            <pc:sldMk cId="3521944309" sldId="771"/>
            <ac:picMk id="7" creationId="{9A8B1EE6-1A6E-4E22-A82C-71BF03200925}"/>
          </ac:picMkLst>
        </pc:picChg>
      </pc:sldChg>
      <pc:sldChg chg="addSp modSp mod">
        <pc:chgData name="Koksrud Andreas" userId="9d9beba6-c052-407a-8599-c781a677a996" providerId="ADAL" clId="{E52AF215-E047-473C-8BD8-09C52860CC58}" dt="2022-01-13T08:35:22.380" v="3171" actId="1076"/>
        <pc:sldMkLst>
          <pc:docMk/>
          <pc:sldMk cId="4174575932" sldId="772"/>
        </pc:sldMkLst>
        <pc:spChg chg="mod">
          <ac:chgData name="Koksrud Andreas" userId="9d9beba6-c052-407a-8599-c781a677a996" providerId="ADAL" clId="{E52AF215-E047-473C-8BD8-09C52860CC58}" dt="2022-01-13T08:35:19.909" v="3170" actId="6549"/>
          <ac:spMkLst>
            <pc:docMk/>
            <pc:sldMk cId="4174575932" sldId="772"/>
            <ac:spMk id="181" creationId="{00000000-0000-0000-0000-000000000000}"/>
          </ac:spMkLst>
        </pc:spChg>
        <pc:picChg chg="add mod">
          <ac:chgData name="Koksrud Andreas" userId="9d9beba6-c052-407a-8599-c781a677a996" providerId="ADAL" clId="{E52AF215-E047-473C-8BD8-09C52860CC58}" dt="2022-01-13T08:35:22.380" v="3171" actId="1076"/>
          <ac:picMkLst>
            <pc:docMk/>
            <pc:sldMk cId="4174575932" sldId="772"/>
            <ac:picMk id="3074" creationId="{6E4ADACE-0820-4B80-9073-9517A0953330}"/>
          </ac:picMkLst>
        </pc:picChg>
      </pc:sldChg>
      <pc:sldChg chg="addSp modSp">
        <pc:chgData name="Koksrud Andreas" userId="9d9beba6-c052-407a-8599-c781a677a996" providerId="ADAL" clId="{E52AF215-E047-473C-8BD8-09C52860CC58}" dt="2022-01-13T08:36:55.248" v="3175" actId="1076"/>
        <pc:sldMkLst>
          <pc:docMk/>
          <pc:sldMk cId="1893841773" sldId="773"/>
        </pc:sldMkLst>
        <pc:picChg chg="add mod">
          <ac:chgData name="Koksrud Andreas" userId="9d9beba6-c052-407a-8599-c781a677a996" providerId="ADAL" clId="{E52AF215-E047-473C-8BD8-09C52860CC58}" dt="2022-01-13T08:36:55.248" v="3175" actId="1076"/>
          <ac:picMkLst>
            <pc:docMk/>
            <pc:sldMk cId="1893841773" sldId="773"/>
            <ac:picMk id="4098" creationId="{99813B29-FD82-4CD7-BB0A-656DB5DB5305}"/>
          </ac:picMkLst>
        </pc:picChg>
      </pc:sldChg>
      <pc:sldChg chg="addSp delSp modSp mod">
        <pc:chgData name="Koksrud Andreas" userId="9d9beba6-c052-407a-8599-c781a677a996" providerId="ADAL" clId="{E52AF215-E047-473C-8BD8-09C52860CC58}" dt="2022-01-13T08:40:23.119" v="3268" actId="1076"/>
        <pc:sldMkLst>
          <pc:docMk/>
          <pc:sldMk cId="1749779748" sldId="774"/>
        </pc:sldMkLst>
        <pc:spChg chg="add mod">
          <ac:chgData name="Koksrud Andreas" userId="9d9beba6-c052-407a-8599-c781a677a996" providerId="ADAL" clId="{E52AF215-E047-473C-8BD8-09C52860CC58}" dt="2022-01-13T08:40:23.119" v="3268" actId="1076"/>
          <ac:spMkLst>
            <pc:docMk/>
            <pc:sldMk cId="1749779748" sldId="774"/>
            <ac:spMk id="10" creationId="{4644FDF4-F65E-4A14-9B72-6CF1ABD43524}"/>
          </ac:spMkLst>
        </pc:spChg>
        <pc:spChg chg="mod">
          <ac:chgData name="Koksrud Andreas" userId="9d9beba6-c052-407a-8599-c781a677a996" providerId="ADAL" clId="{E52AF215-E047-473C-8BD8-09C52860CC58}" dt="2022-01-13T08:39:32.894" v="3213" actId="20577"/>
          <ac:spMkLst>
            <pc:docMk/>
            <pc:sldMk cId="1749779748" sldId="774"/>
            <ac:spMk id="181" creationId="{00000000-0000-0000-0000-000000000000}"/>
          </ac:spMkLst>
        </pc:spChg>
        <pc:picChg chg="add del">
          <ac:chgData name="Koksrud Andreas" userId="9d9beba6-c052-407a-8599-c781a677a996" providerId="ADAL" clId="{E52AF215-E047-473C-8BD8-09C52860CC58}" dt="2022-01-13T08:39:13.734" v="3205"/>
          <ac:picMkLst>
            <pc:docMk/>
            <pc:sldMk cId="1749779748" sldId="774"/>
            <ac:picMk id="5122" creationId="{6EA8D7FC-3263-430D-A7F9-4DA797F25AA8}"/>
          </ac:picMkLst>
        </pc:picChg>
        <pc:picChg chg="add mod">
          <ac:chgData name="Koksrud Andreas" userId="9d9beba6-c052-407a-8599-c781a677a996" providerId="ADAL" clId="{E52AF215-E047-473C-8BD8-09C52860CC58}" dt="2022-01-13T08:39:27.456" v="3210" actId="1076"/>
          <ac:picMkLst>
            <pc:docMk/>
            <pc:sldMk cId="1749779748" sldId="774"/>
            <ac:picMk id="5124" creationId="{5B42D6E8-E261-498D-96D8-EF8A57A5A86F}"/>
          </ac:picMkLst>
        </pc:picChg>
        <pc:picChg chg="add mod">
          <ac:chgData name="Koksrud Andreas" userId="9d9beba6-c052-407a-8599-c781a677a996" providerId="ADAL" clId="{E52AF215-E047-473C-8BD8-09C52860CC58}" dt="2022-01-13T08:39:54.100" v="3217" actId="1076"/>
          <ac:picMkLst>
            <pc:docMk/>
            <pc:sldMk cId="1749779748" sldId="774"/>
            <ac:picMk id="5126" creationId="{6AF8B612-8134-4F55-AE9D-9BB00920BA35}"/>
          </ac:picMkLst>
        </pc:picChg>
      </pc:sldChg>
      <pc:sldChg chg="addSp delSp modSp mod">
        <pc:chgData name="Koksrud Andreas" userId="9d9beba6-c052-407a-8599-c781a677a996" providerId="ADAL" clId="{E52AF215-E047-473C-8BD8-09C52860CC58}" dt="2022-01-13T09:08:22.146" v="3302" actId="1076"/>
        <pc:sldMkLst>
          <pc:docMk/>
          <pc:sldMk cId="2963068298" sldId="775"/>
        </pc:sldMkLst>
        <pc:picChg chg="add mod ord">
          <ac:chgData name="Koksrud Andreas" userId="9d9beba6-c052-407a-8599-c781a677a996" providerId="ADAL" clId="{E52AF215-E047-473C-8BD8-09C52860CC58}" dt="2022-01-13T08:43:09.182" v="3281" actId="14100"/>
          <ac:picMkLst>
            <pc:docMk/>
            <pc:sldMk cId="2963068298" sldId="775"/>
            <ac:picMk id="3" creationId="{85F9F45E-F7D5-4142-A10E-CDDB90608F39}"/>
          </ac:picMkLst>
        </pc:picChg>
        <pc:picChg chg="add mod">
          <ac:chgData name="Koksrud Andreas" userId="9d9beba6-c052-407a-8599-c781a677a996" providerId="ADAL" clId="{E52AF215-E047-473C-8BD8-09C52860CC58}" dt="2022-01-13T09:06:02.889" v="3287" actId="14100"/>
          <ac:picMkLst>
            <pc:docMk/>
            <pc:sldMk cId="2963068298" sldId="775"/>
            <ac:picMk id="5" creationId="{15C82DF5-01DD-4DC0-B814-A5D986255C52}"/>
          </ac:picMkLst>
        </pc:picChg>
        <pc:picChg chg="add mod modCrop">
          <ac:chgData name="Koksrud Andreas" userId="9d9beba6-c052-407a-8599-c781a677a996" providerId="ADAL" clId="{E52AF215-E047-473C-8BD8-09C52860CC58}" dt="2022-01-13T09:07:48.825" v="3297" actId="732"/>
          <ac:picMkLst>
            <pc:docMk/>
            <pc:sldMk cId="2963068298" sldId="775"/>
            <ac:picMk id="7" creationId="{7343A750-44FF-425C-95E7-612C86A851D6}"/>
          </ac:picMkLst>
        </pc:picChg>
        <pc:picChg chg="add mod">
          <ac:chgData name="Koksrud Andreas" userId="9d9beba6-c052-407a-8599-c781a677a996" providerId="ADAL" clId="{E52AF215-E047-473C-8BD8-09C52860CC58}" dt="2022-01-13T09:08:22.146" v="3302" actId="1076"/>
          <ac:picMkLst>
            <pc:docMk/>
            <pc:sldMk cId="2963068298" sldId="775"/>
            <ac:picMk id="9" creationId="{67CEA740-3146-45A8-A253-590058BF0B8B}"/>
          </ac:picMkLst>
        </pc:picChg>
        <pc:picChg chg="add del mod">
          <ac:chgData name="Koksrud Andreas" userId="9d9beba6-c052-407a-8599-c781a677a996" providerId="ADAL" clId="{E52AF215-E047-473C-8BD8-09C52860CC58}" dt="2022-01-13T08:43:01.577" v="3278" actId="478"/>
          <ac:picMkLst>
            <pc:docMk/>
            <pc:sldMk cId="2963068298" sldId="775"/>
            <ac:picMk id="6146" creationId="{9A8938B4-6A48-42EC-AF22-649B036CA655}"/>
          </ac:picMkLst>
        </pc:picChg>
      </pc:sldChg>
      <pc:sldChg chg="addSp modSp mod">
        <pc:chgData name="Koksrud Andreas" userId="9d9beba6-c052-407a-8599-c781a677a996" providerId="ADAL" clId="{E52AF215-E047-473C-8BD8-09C52860CC58}" dt="2022-01-13T09:21:51.128" v="3381" actId="1076"/>
        <pc:sldMkLst>
          <pc:docMk/>
          <pc:sldMk cId="2831047971" sldId="776"/>
        </pc:sldMkLst>
        <pc:spChg chg="mod">
          <ac:chgData name="Koksrud Andreas" userId="9d9beba6-c052-407a-8599-c781a677a996" providerId="ADAL" clId="{E52AF215-E047-473C-8BD8-09C52860CC58}" dt="2022-01-13T09:17:37.472" v="3361" actId="20577"/>
          <ac:spMkLst>
            <pc:docMk/>
            <pc:sldMk cId="2831047971" sldId="776"/>
            <ac:spMk id="180" creationId="{00000000-0000-0000-0000-000000000000}"/>
          </ac:spMkLst>
        </pc:spChg>
        <pc:spChg chg="mod">
          <ac:chgData name="Koksrud Andreas" userId="9d9beba6-c052-407a-8599-c781a677a996" providerId="ADAL" clId="{E52AF215-E047-473C-8BD8-09C52860CC58}" dt="2022-01-13T09:18:00.147" v="3373" actId="20577"/>
          <ac:spMkLst>
            <pc:docMk/>
            <pc:sldMk cId="2831047971" sldId="776"/>
            <ac:spMk id="181" creationId="{00000000-0000-0000-0000-000000000000}"/>
          </ac:spMkLst>
        </pc:spChg>
        <pc:picChg chg="add mod modCrop">
          <ac:chgData name="Koksrud Andreas" userId="9d9beba6-c052-407a-8599-c781a677a996" providerId="ADAL" clId="{E52AF215-E047-473C-8BD8-09C52860CC58}" dt="2022-01-13T09:21:51.128" v="3381" actId="1076"/>
          <ac:picMkLst>
            <pc:docMk/>
            <pc:sldMk cId="2831047971" sldId="776"/>
            <ac:picMk id="3" creationId="{11D96017-4683-4EA7-8338-CB14A3C6A78B}"/>
          </ac:picMkLst>
        </pc:picChg>
      </pc:sldChg>
      <pc:sldChg chg="addSp modSp mod">
        <pc:chgData name="Koksrud Andreas" userId="9d9beba6-c052-407a-8599-c781a677a996" providerId="ADAL" clId="{E52AF215-E047-473C-8BD8-09C52860CC58}" dt="2022-01-13T09:58:27.399" v="3774" actId="1076"/>
        <pc:sldMkLst>
          <pc:docMk/>
          <pc:sldMk cId="1447749266" sldId="777"/>
        </pc:sldMkLst>
        <pc:spChg chg="add mod">
          <ac:chgData name="Koksrud Andreas" userId="9d9beba6-c052-407a-8599-c781a677a996" providerId="ADAL" clId="{E52AF215-E047-473C-8BD8-09C52860CC58}" dt="2022-01-13T09:56:42.460" v="3744" actId="14100"/>
          <ac:spMkLst>
            <pc:docMk/>
            <pc:sldMk cId="1447749266" sldId="777"/>
            <ac:spMk id="8" creationId="{7E7FA496-1702-4376-A6B2-72E053A5EE4B}"/>
          </ac:spMkLst>
        </pc:spChg>
        <pc:spChg chg="add mod">
          <ac:chgData name="Koksrud Andreas" userId="9d9beba6-c052-407a-8599-c781a677a996" providerId="ADAL" clId="{E52AF215-E047-473C-8BD8-09C52860CC58}" dt="2022-01-13T09:56:42.460" v="3744" actId="14100"/>
          <ac:spMkLst>
            <pc:docMk/>
            <pc:sldMk cId="1447749266" sldId="777"/>
            <ac:spMk id="9" creationId="{CABFDFC9-A0FF-4792-AAAD-D7E9A29CFAA8}"/>
          </ac:spMkLst>
        </pc:spChg>
        <pc:spChg chg="add mod">
          <ac:chgData name="Koksrud Andreas" userId="9d9beba6-c052-407a-8599-c781a677a996" providerId="ADAL" clId="{E52AF215-E047-473C-8BD8-09C52860CC58}" dt="2022-01-13T09:56:42.460" v="3744" actId="14100"/>
          <ac:spMkLst>
            <pc:docMk/>
            <pc:sldMk cId="1447749266" sldId="777"/>
            <ac:spMk id="10" creationId="{6191245A-69F8-4C43-8AE6-53AD07302FBD}"/>
          </ac:spMkLst>
        </pc:spChg>
        <pc:spChg chg="add mod">
          <ac:chgData name="Koksrud Andreas" userId="9d9beba6-c052-407a-8599-c781a677a996" providerId="ADAL" clId="{E52AF215-E047-473C-8BD8-09C52860CC58}" dt="2022-01-13T09:56:58.112" v="3757" actId="1076"/>
          <ac:spMkLst>
            <pc:docMk/>
            <pc:sldMk cId="1447749266" sldId="777"/>
            <ac:spMk id="19" creationId="{F81A58AE-E479-4C69-946B-00C29AD9C499}"/>
          </ac:spMkLst>
        </pc:spChg>
        <pc:spChg chg="add mod">
          <ac:chgData name="Koksrud Andreas" userId="9d9beba6-c052-407a-8599-c781a677a996" providerId="ADAL" clId="{E52AF215-E047-473C-8BD8-09C52860CC58}" dt="2022-01-13T09:58:27.399" v="3774" actId="1076"/>
          <ac:spMkLst>
            <pc:docMk/>
            <pc:sldMk cId="1447749266" sldId="777"/>
            <ac:spMk id="20" creationId="{7995F902-1092-4458-91F8-9EE3AE50ECFF}"/>
          </ac:spMkLst>
        </pc:spChg>
        <pc:spChg chg="mod">
          <ac:chgData name="Koksrud Andreas" userId="9d9beba6-c052-407a-8599-c781a677a996" providerId="ADAL" clId="{E52AF215-E047-473C-8BD8-09C52860CC58}" dt="2022-01-13T09:56:37.622" v="3742"/>
          <ac:spMkLst>
            <pc:docMk/>
            <pc:sldMk cId="1447749266" sldId="777"/>
            <ac:spMk id="181" creationId="{00000000-0000-0000-0000-000000000000}"/>
          </ac:spMkLst>
        </pc:spChg>
        <pc:picChg chg="add mod">
          <ac:chgData name="Koksrud Andreas" userId="9d9beba6-c052-407a-8599-c781a677a996" providerId="ADAL" clId="{E52AF215-E047-473C-8BD8-09C52860CC58}" dt="2022-01-13T09:56:42.460" v="3744" actId="14100"/>
          <ac:picMkLst>
            <pc:docMk/>
            <pc:sldMk cId="1447749266" sldId="777"/>
            <ac:picMk id="3" creationId="{F1CC7C0E-9C43-4004-A4C2-661D484C9929}"/>
          </ac:picMkLst>
        </pc:picChg>
        <pc:picChg chg="add mod">
          <ac:chgData name="Koksrud Andreas" userId="9d9beba6-c052-407a-8599-c781a677a996" providerId="ADAL" clId="{E52AF215-E047-473C-8BD8-09C52860CC58}" dt="2022-01-13T09:56:12.017" v="3736" actId="1076"/>
          <ac:picMkLst>
            <pc:docMk/>
            <pc:sldMk cId="1447749266" sldId="777"/>
            <ac:picMk id="12" creationId="{21BF7AF2-DCC4-45D3-9A4C-8F6F472D7E70}"/>
          </ac:picMkLst>
        </pc:picChg>
        <pc:picChg chg="add mod">
          <ac:chgData name="Koksrud Andreas" userId="9d9beba6-c052-407a-8599-c781a677a996" providerId="ADAL" clId="{E52AF215-E047-473C-8BD8-09C52860CC58}" dt="2022-01-13T09:58:22.908" v="3773" actId="1076"/>
          <ac:picMkLst>
            <pc:docMk/>
            <pc:sldMk cId="1447749266" sldId="777"/>
            <ac:picMk id="16" creationId="{0B067CA2-FF25-474A-8412-A2C9BABBE774}"/>
          </ac:picMkLst>
        </pc:picChg>
        <pc:cxnChg chg="add mod">
          <ac:chgData name="Koksrud Andreas" userId="9d9beba6-c052-407a-8599-c781a677a996" providerId="ADAL" clId="{E52AF215-E047-473C-8BD8-09C52860CC58}" dt="2022-01-13T09:56:42.460" v="3744" actId="14100"/>
          <ac:cxnSpMkLst>
            <pc:docMk/>
            <pc:sldMk cId="1447749266" sldId="777"/>
            <ac:cxnSpMk id="5" creationId="{595E27D7-7678-4C96-B013-A18348C68427}"/>
          </ac:cxnSpMkLst>
        </pc:cxnChg>
        <pc:cxnChg chg="add mod">
          <ac:chgData name="Koksrud Andreas" userId="9d9beba6-c052-407a-8599-c781a677a996" providerId="ADAL" clId="{E52AF215-E047-473C-8BD8-09C52860CC58}" dt="2022-01-13T09:56:42.460" v="3744" actId="14100"/>
          <ac:cxnSpMkLst>
            <pc:docMk/>
            <pc:sldMk cId="1447749266" sldId="777"/>
            <ac:cxnSpMk id="13" creationId="{D44EB26A-9958-4DE7-B20E-8234BE7C7FFF}"/>
          </ac:cxnSpMkLst>
        </pc:cxnChg>
      </pc:sldChg>
      <pc:sldChg chg="del">
        <pc:chgData name="Koksrud Andreas" userId="9d9beba6-c052-407a-8599-c781a677a996" providerId="ADAL" clId="{E52AF215-E047-473C-8BD8-09C52860CC58}" dt="2022-01-13T10:00:07.190" v="3778" actId="47"/>
        <pc:sldMkLst>
          <pc:docMk/>
          <pc:sldMk cId="988087066" sldId="778"/>
        </pc:sldMkLst>
      </pc:sldChg>
      <pc:sldChg chg="addSp modSp mod ord">
        <pc:chgData name="Koksrud Andreas" userId="9d9beba6-c052-407a-8599-c781a677a996" providerId="ADAL" clId="{E52AF215-E047-473C-8BD8-09C52860CC58}" dt="2022-01-13T10:23:08.806" v="4009" actId="1076"/>
        <pc:sldMkLst>
          <pc:docMk/>
          <pc:sldMk cId="286125317" sldId="779"/>
        </pc:sldMkLst>
        <pc:spChg chg="mod">
          <ac:chgData name="Koksrud Andreas" userId="9d9beba6-c052-407a-8599-c781a677a996" providerId="ADAL" clId="{E52AF215-E047-473C-8BD8-09C52860CC58}" dt="2022-01-13T10:22:38.340" v="4007" actId="20577"/>
          <ac:spMkLst>
            <pc:docMk/>
            <pc:sldMk cId="286125317" sldId="779"/>
            <ac:spMk id="181" creationId="{00000000-0000-0000-0000-000000000000}"/>
          </ac:spMkLst>
        </pc:spChg>
        <pc:picChg chg="add mod">
          <ac:chgData name="Koksrud Andreas" userId="9d9beba6-c052-407a-8599-c781a677a996" providerId="ADAL" clId="{E52AF215-E047-473C-8BD8-09C52860CC58}" dt="2022-01-13T10:23:08.806" v="4009" actId="1076"/>
          <ac:picMkLst>
            <pc:docMk/>
            <pc:sldMk cId="286125317" sldId="779"/>
            <ac:picMk id="3" creationId="{CC5D53F6-C828-4130-A981-0BA3AD92E4F6}"/>
          </ac:picMkLst>
        </pc:picChg>
        <pc:picChg chg="add mod">
          <ac:chgData name="Koksrud Andreas" userId="9d9beba6-c052-407a-8599-c781a677a996" providerId="ADAL" clId="{E52AF215-E047-473C-8BD8-09C52860CC58}" dt="2022-01-13T10:23:05.650" v="4008" actId="1076"/>
          <ac:picMkLst>
            <pc:docMk/>
            <pc:sldMk cId="286125317" sldId="779"/>
            <ac:picMk id="5" creationId="{D121B548-E0A1-4D27-BA13-D7EDEC38732B}"/>
          </ac:picMkLst>
        </pc:picChg>
      </pc:sldChg>
      <pc:sldChg chg="addSp modSp mod">
        <pc:chgData name="Koksrud Andreas" userId="9d9beba6-c052-407a-8599-c781a677a996" providerId="ADAL" clId="{E52AF215-E047-473C-8BD8-09C52860CC58}" dt="2022-01-13T09:28:06.082" v="3443" actId="14100"/>
        <pc:sldMkLst>
          <pc:docMk/>
          <pc:sldMk cId="2127300312" sldId="780"/>
        </pc:sldMkLst>
        <pc:spChg chg="add mod">
          <ac:chgData name="Koksrud Andreas" userId="9d9beba6-c052-407a-8599-c781a677a996" providerId="ADAL" clId="{E52AF215-E047-473C-8BD8-09C52860CC58}" dt="2022-01-13T09:27:58.768" v="3442" actId="20577"/>
          <ac:spMkLst>
            <pc:docMk/>
            <pc:sldMk cId="2127300312" sldId="780"/>
            <ac:spMk id="8" creationId="{A5A96638-F154-4E71-B450-BAFE481C53F6}"/>
          </ac:spMkLst>
        </pc:spChg>
        <pc:spChg chg="mod">
          <ac:chgData name="Koksrud Andreas" userId="9d9beba6-c052-407a-8599-c781a677a996" providerId="ADAL" clId="{E52AF215-E047-473C-8BD8-09C52860CC58}" dt="2022-01-13T09:28:06.082" v="3443" actId="14100"/>
          <ac:spMkLst>
            <pc:docMk/>
            <pc:sldMk cId="2127300312" sldId="780"/>
            <ac:spMk id="181" creationId="{00000000-0000-0000-0000-000000000000}"/>
          </ac:spMkLst>
        </pc:spChg>
        <pc:picChg chg="add mod">
          <ac:chgData name="Koksrud Andreas" userId="9d9beba6-c052-407a-8599-c781a677a996" providerId="ADAL" clId="{E52AF215-E047-473C-8BD8-09C52860CC58}" dt="2022-01-13T09:27:08.718" v="3384" actId="962"/>
          <ac:picMkLst>
            <pc:docMk/>
            <pc:sldMk cId="2127300312" sldId="780"/>
            <ac:picMk id="3" creationId="{E60459E0-5B19-499A-BD24-58DDDBE84F64}"/>
          </ac:picMkLst>
        </pc:picChg>
      </pc:sldChg>
      <pc:sldChg chg="addSp delSp modSp add mod">
        <pc:chgData name="Koksrud Andreas" userId="9d9beba6-c052-407a-8599-c781a677a996" providerId="ADAL" clId="{E52AF215-E047-473C-8BD8-09C52860CC58}" dt="2022-01-12T09:29:31.889" v="653" actId="14100"/>
        <pc:sldMkLst>
          <pc:docMk/>
          <pc:sldMk cId="2324317775" sldId="781"/>
        </pc:sldMkLst>
        <pc:spChg chg="add mod">
          <ac:chgData name="Koksrud Andreas" userId="9d9beba6-c052-407a-8599-c781a677a996" providerId="ADAL" clId="{E52AF215-E047-473C-8BD8-09C52860CC58}" dt="2022-01-12T09:26:02.504" v="614" actId="14100"/>
          <ac:spMkLst>
            <pc:docMk/>
            <pc:sldMk cId="2324317775" sldId="781"/>
            <ac:spMk id="10" creationId="{66A11654-60F2-4AAA-823E-3EDD655C707B}"/>
          </ac:spMkLst>
        </pc:spChg>
        <pc:spChg chg="add mod">
          <ac:chgData name="Koksrud Andreas" userId="9d9beba6-c052-407a-8599-c781a677a996" providerId="ADAL" clId="{E52AF215-E047-473C-8BD8-09C52860CC58}" dt="2022-01-12T09:26:12.636" v="617" actId="14100"/>
          <ac:spMkLst>
            <pc:docMk/>
            <pc:sldMk cId="2324317775" sldId="781"/>
            <ac:spMk id="16" creationId="{191D718A-7B18-4839-9708-CE52821B3A85}"/>
          </ac:spMkLst>
        </pc:spChg>
        <pc:spChg chg="add del mod">
          <ac:chgData name="Koksrud Andreas" userId="9d9beba6-c052-407a-8599-c781a677a996" providerId="ADAL" clId="{E52AF215-E047-473C-8BD8-09C52860CC58}" dt="2022-01-12T09:28:16.686" v="638" actId="478"/>
          <ac:spMkLst>
            <pc:docMk/>
            <pc:sldMk cId="2324317775" sldId="781"/>
            <ac:spMk id="22" creationId="{B70E1F91-771D-4F7A-AD21-8987401F7600}"/>
          </ac:spMkLst>
        </pc:spChg>
        <pc:spChg chg="add mod">
          <ac:chgData name="Koksrud Andreas" userId="9d9beba6-c052-407a-8599-c781a677a996" providerId="ADAL" clId="{E52AF215-E047-473C-8BD8-09C52860CC58}" dt="2022-01-12T09:29:20.220" v="650" actId="14100"/>
          <ac:spMkLst>
            <pc:docMk/>
            <pc:sldMk cId="2324317775" sldId="781"/>
            <ac:spMk id="25" creationId="{2E49D3B9-07E5-4D1C-850B-7085C1A1A1D8}"/>
          </ac:spMkLst>
        </pc:spChg>
        <pc:spChg chg="mod">
          <ac:chgData name="Koksrud Andreas" userId="9d9beba6-c052-407a-8599-c781a677a996" providerId="ADAL" clId="{E52AF215-E047-473C-8BD8-09C52860CC58}" dt="2022-01-12T09:27:30.486" v="630" actId="15"/>
          <ac:spMkLst>
            <pc:docMk/>
            <pc:sldMk cId="2324317775" sldId="781"/>
            <ac:spMk id="181" creationId="{00000000-0000-0000-0000-000000000000}"/>
          </ac:spMkLst>
        </pc:spChg>
        <pc:picChg chg="add del mod">
          <ac:chgData name="Koksrud Andreas" userId="9d9beba6-c052-407a-8599-c781a677a996" providerId="ADAL" clId="{E52AF215-E047-473C-8BD8-09C52860CC58}" dt="2022-01-12T09:22:31.419" v="500" actId="478"/>
          <ac:picMkLst>
            <pc:docMk/>
            <pc:sldMk cId="2324317775" sldId="781"/>
            <ac:picMk id="3" creationId="{5F6A7877-F732-4F36-926C-C3F82673B982}"/>
          </ac:picMkLst>
        </pc:picChg>
        <pc:picChg chg="add mod">
          <ac:chgData name="Koksrud Andreas" userId="9d9beba6-c052-407a-8599-c781a677a996" providerId="ADAL" clId="{E52AF215-E047-473C-8BD8-09C52860CC58}" dt="2022-01-12T09:25:39.998" v="595" actId="1036"/>
          <ac:picMkLst>
            <pc:docMk/>
            <pc:sldMk cId="2324317775" sldId="781"/>
            <ac:picMk id="5" creationId="{F15968B3-66CE-4A9C-AEEE-E73BFD16D6D5}"/>
          </ac:picMkLst>
        </pc:picChg>
        <pc:picChg chg="add del mod modCrop">
          <ac:chgData name="Koksrud Andreas" userId="9d9beba6-c052-407a-8599-c781a677a996" providerId="ADAL" clId="{E52AF215-E047-473C-8BD8-09C52860CC58}" dt="2022-01-12T09:25:04.433" v="520" actId="478"/>
          <ac:picMkLst>
            <pc:docMk/>
            <pc:sldMk cId="2324317775" sldId="781"/>
            <ac:picMk id="8" creationId="{554C8C94-7910-4A9D-B131-F4638E63CA99}"/>
          </ac:picMkLst>
        </pc:picChg>
        <pc:picChg chg="add del mod">
          <ac:chgData name="Koksrud Andreas" userId="9d9beba6-c052-407a-8599-c781a677a996" providerId="ADAL" clId="{E52AF215-E047-473C-8BD8-09C52860CC58}" dt="2022-01-12T09:28:18.623" v="639" actId="478"/>
          <ac:picMkLst>
            <pc:docMk/>
            <pc:sldMk cId="2324317775" sldId="781"/>
            <ac:picMk id="15" creationId="{A696E535-6099-4199-98B5-076E3BC218E8}"/>
          </ac:picMkLst>
        </pc:picChg>
        <pc:picChg chg="add mod">
          <ac:chgData name="Koksrud Andreas" userId="9d9beba6-c052-407a-8599-c781a677a996" providerId="ADAL" clId="{E52AF215-E047-473C-8BD8-09C52860CC58}" dt="2022-01-12T09:28:59.783" v="645" actId="1076"/>
          <ac:picMkLst>
            <pc:docMk/>
            <pc:sldMk cId="2324317775" sldId="781"/>
            <ac:picMk id="19" creationId="{53D63198-BA36-4B2E-9B0E-D9A0500DD82B}"/>
          </ac:picMkLst>
        </pc:picChg>
        <pc:cxnChg chg="add mod">
          <ac:chgData name="Koksrud Andreas" userId="9d9beba6-c052-407a-8599-c781a677a996" providerId="ADAL" clId="{E52AF215-E047-473C-8BD8-09C52860CC58}" dt="2022-01-12T09:26:06.058" v="615" actId="14100"/>
          <ac:cxnSpMkLst>
            <pc:docMk/>
            <pc:sldMk cId="2324317775" sldId="781"/>
            <ac:cxnSpMk id="11" creationId="{05877BB4-318F-439C-A4DA-B8A2BD0E8544}"/>
          </ac:cxnSpMkLst>
        </pc:cxnChg>
        <pc:cxnChg chg="add mod">
          <ac:chgData name="Koksrud Andreas" userId="9d9beba6-c052-407a-8599-c781a677a996" providerId="ADAL" clId="{E52AF215-E047-473C-8BD8-09C52860CC58}" dt="2022-01-12T09:26:22.979" v="620" actId="14100"/>
          <ac:cxnSpMkLst>
            <pc:docMk/>
            <pc:sldMk cId="2324317775" sldId="781"/>
            <ac:cxnSpMk id="18" creationId="{1F73803A-43C1-4D14-BCD2-D00661B0ED96}"/>
          </ac:cxnSpMkLst>
        </pc:cxnChg>
        <pc:cxnChg chg="add mod">
          <ac:chgData name="Koksrud Andreas" userId="9d9beba6-c052-407a-8599-c781a677a996" providerId="ADAL" clId="{E52AF215-E047-473C-8BD8-09C52860CC58}" dt="2022-01-12T09:29:31.889" v="653" actId="14100"/>
          <ac:cxnSpMkLst>
            <pc:docMk/>
            <pc:sldMk cId="2324317775" sldId="781"/>
            <ac:cxnSpMk id="26" creationId="{67165F6E-38BC-46A6-BA64-69721F2DBB02}"/>
          </ac:cxnSpMkLst>
        </pc:cxnChg>
      </pc:sldChg>
      <pc:sldChg chg="addSp delSp modSp add mod ord">
        <pc:chgData name="Koksrud Andreas" userId="9d9beba6-c052-407a-8599-c781a677a996" providerId="ADAL" clId="{E52AF215-E047-473C-8BD8-09C52860CC58}" dt="2022-01-12T09:19:18.049" v="355" actId="14100"/>
        <pc:sldMkLst>
          <pc:docMk/>
          <pc:sldMk cId="1584291209" sldId="782"/>
        </pc:sldMkLst>
        <pc:spChg chg="add mod">
          <ac:chgData name="Koksrud Andreas" userId="9d9beba6-c052-407a-8599-c781a677a996" providerId="ADAL" clId="{E52AF215-E047-473C-8BD8-09C52860CC58}" dt="2022-01-12T09:18:04.811" v="339" actId="1076"/>
          <ac:spMkLst>
            <pc:docMk/>
            <pc:sldMk cId="1584291209" sldId="782"/>
            <ac:spMk id="8" creationId="{528CC012-8717-4E4B-AC40-E6E2914AF685}"/>
          </ac:spMkLst>
        </pc:spChg>
        <pc:spChg chg="add mod">
          <ac:chgData name="Koksrud Andreas" userId="9d9beba6-c052-407a-8599-c781a677a996" providerId="ADAL" clId="{E52AF215-E047-473C-8BD8-09C52860CC58}" dt="2022-01-12T09:17:35.071" v="332" actId="20577"/>
          <ac:spMkLst>
            <pc:docMk/>
            <pc:sldMk cId="1584291209" sldId="782"/>
            <ac:spMk id="16" creationId="{3400BD9C-4B8B-47FC-8F6F-07490A4796B3}"/>
          </ac:spMkLst>
        </pc:spChg>
        <pc:spChg chg="add mod">
          <ac:chgData name="Koksrud Andreas" userId="9d9beba6-c052-407a-8599-c781a677a996" providerId="ADAL" clId="{E52AF215-E047-473C-8BD8-09C52860CC58}" dt="2022-01-12T09:18:30.546" v="344" actId="1076"/>
          <ac:spMkLst>
            <pc:docMk/>
            <pc:sldMk cId="1584291209" sldId="782"/>
            <ac:spMk id="17" creationId="{10341B03-5BAC-4396-BE59-3BAA266696D6}"/>
          </ac:spMkLst>
        </pc:spChg>
        <pc:spChg chg="add mod">
          <ac:chgData name="Koksrud Andreas" userId="9d9beba6-c052-407a-8599-c781a677a996" providerId="ADAL" clId="{E52AF215-E047-473C-8BD8-09C52860CC58}" dt="2022-01-12T09:18:25.038" v="343" actId="14100"/>
          <ac:spMkLst>
            <pc:docMk/>
            <pc:sldMk cId="1584291209" sldId="782"/>
            <ac:spMk id="20" creationId="{1FB1FC4B-A954-4F9A-86C2-F4CBAF016775}"/>
          </ac:spMkLst>
        </pc:spChg>
        <pc:spChg chg="add mod">
          <ac:chgData name="Koksrud Andreas" userId="9d9beba6-c052-407a-8599-c781a677a996" providerId="ADAL" clId="{E52AF215-E047-473C-8BD8-09C52860CC58}" dt="2022-01-12T09:17:54.956" v="337" actId="1076"/>
          <ac:spMkLst>
            <pc:docMk/>
            <pc:sldMk cId="1584291209" sldId="782"/>
            <ac:spMk id="23" creationId="{106EA5E1-1960-445D-A6D4-F26B902F1CB7}"/>
          </ac:spMkLst>
        </pc:spChg>
        <pc:spChg chg="add mod">
          <ac:chgData name="Koksrud Andreas" userId="9d9beba6-c052-407a-8599-c781a677a996" providerId="ADAL" clId="{E52AF215-E047-473C-8BD8-09C52860CC58}" dt="2022-01-12T09:19:18.049" v="355" actId="14100"/>
          <ac:spMkLst>
            <pc:docMk/>
            <pc:sldMk cId="1584291209" sldId="782"/>
            <ac:spMk id="24" creationId="{D0096978-9C36-4FCB-846B-C7858E9430FF}"/>
          </ac:spMkLst>
        </pc:spChg>
        <pc:spChg chg="mod">
          <ac:chgData name="Koksrud Andreas" userId="9d9beba6-c052-407a-8599-c781a677a996" providerId="ADAL" clId="{E52AF215-E047-473C-8BD8-09C52860CC58}" dt="2022-01-12T09:17:25.535" v="323" actId="20577"/>
          <ac:spMkLst>
            <pc:docMk/>
            <pc:sldMk cId="1584291209" sldId="782"/>
            <ac:spMk id="181" creationId="{00000000-0000-0000-0000-000000000000}"/>
          </ac:spMkLst>
        </pc:spChg>
        <pc:picChg chg="add del mod">
          <ac:chgData name="Koksrud Andreas" userId="9d9beba6-c052-407a-8599-c781a677a996" providerId="ADAL" clId="{E52AF215-E047-473C-8BD8-09C52860CC58}" dt="2022-01-12T08:48:15.679" v="90" actId="478"/>
          <ac:picMkLst>
            <pc:docMk/>
            <pc:sldMk cId="1584291209" sldId="782"/>
            <ac:picMk id="3" creationId="{83A1C992-6CC1-4B26-B4CF-3D8D033B48B8}"/>
          </ac:picMkLst>
        </pc:picChg>
        <pc:picChg chg="add mod modCrop">
          <ac:chgData name="Koksrud Andreas" userId="9d9beba6-c052-407a-8599-c781a677a996" providerId="ADAL" clId="{E52AF215-E047-473C-8BD8-09C52860CC58}" dt="2022-01-12T09:18:04.811" v="339" actId="1076"/>
          <ac:picMkLst>
            <pc:docMk/>
            <pc:sldMk cId="1584291209" sldId="782"/>
            <ac:picMk id="5" creationId="{2D702523-DB0B-4D92-81B1-6A55069C5196}"/>
          </ac:picMkLst>
        </pc:picChg>
        <pc:picChg chg="add mod">
          <ac:chgData name="Koksrud Andreas" userId="9d9beba6-c052-407a-8599-c781a677a996" providerId="ADAL" clId="{E52AF215-E047-473C-8BD8-09C52860CC58}" dt="2022-01-12T09:18:04.811" v="339" actId="1076"/>
          <ac:picMkLst>
            <pc:docMk/>
            <pc:sldMk cId="1584291209" sldId="782"/>
            <ac:picMk id="7" creationId="{0CD9D5EF-93BB-436F-B5C7-529F2CC6BC2D}"/>
          </ac:picMkLst>
        </pc:picChg>
        <pc:picChg chg="add del mod">
          <ac:chgData name="Koksrud Andreas" userId="9d9beba6-c052-407a-8599-c781a677a996" providerId="ADAL" clId="{E52AF215-E047-473C-8BD8-09C52860CC58}" dt="2022-01-12T09:16:28.029" v="316" actId="478"/>
          <ac:picMkLst>
            <pc:docMk/>
            <pc:sldMk cId="1584291209" sldId="782"/>
            <ac:picMk id="11" creationId="{E4724CC7-6BC5-49DE-AD49-EF23946C288D}"/>
          </ac:picMkLst>
        </pc:picChg>
        <pc:picChg chg="add mod">
          <ac:chgData name="Koksrud Andreas" userId="9d9beba6-c052-407a-8599-c781a677a996" providerId="ADAL" clId="{E52AF215-E047-473C-8BD8-09C52860CC58}" dt="2022-01-12T09:18:46.949" v="349" actId="1076"/>
          <ac:picMkLst>
            <pc:docMk/>
            <pc:sldMk cId="1584291209" sldId="782"/>
            <ac:picMk id="13" creationId="{80196717-40F5-4BD0-B897-979F6E3CA9FE}"/>
          </ac:picMkLst>
        </pc:picChg>
        <pc:picChg chg="add del mod">
          <ac:chgData name="Koksrud Andreas" userId="9d9beba6-c052-407a-8599-c781a677a996" providerId="ADAL" clId="{E52AF215-E047-473C-8BD8-09C52860CC58}" dt="2022-01-12T08:56:22.507" v="164"/>
          <ac:picMkLst>
            <pc:docMk/>
            <pc:sldMk cId="1584291209" sldId="782"/>
            <ac:picMk id="1026" creationId="{3E49FF88-B680-475D-A6FE-DB85B924EC9C}"/>
          </ac:picMkLst>
        </pc:picChg>
        <pc:picChg chg="add mod">
          <ac:chgData name="Koksrud Andreas" userId="9d9beba6-c052-407a-8599-c781a677a996" providerId="ADAL" clId="{E52AF215-E047-473C-8BD8-09C52860CC58}" dt="2022-01-12T09:18:12.703" v="340" actId="1076"/>
          <ac:picMkLst>
            <pc:docMk/>
            <pc:sldMk cId="1584291209" sldId="782"/>
            <ac:picMk id="1027" creationId="{D0D9C86A-09D6-4F61-94DC-01F472CFE614}"/>
          </ac:picMkLst>
        </pc:picChg>
      </pc:sldChg>
      <pc:sldChg chg="addSp delSp modSp add mod">
        <pc:chgData name="Koksrud Andreas" userId="9d9beba6-c052-407a-8599-c781a677a996" providerId="ADAL" clId="{E52AF215-E047-473C-8BD8-09C52860CC58}" dt="2022-01-12T12:09:47.124" v="1290" actId="6549"/>
        <pc:sldMkLst>
          <pc:docMk/>
          <pc:sldMk cId="2272527178" sldId="783"/>
        </pc:sldMkLst>
        <pc:spChg chg="add mod">
          <ac:chgData name="Koksrud Andreas" userId="9d9beba6-c052-407a-8599-c781a677a996" providerId="ADAL" clId="{E52AF215-E047-473C-8BD8-09C52860CC58}" dt="2022-01-12T12:07:37.500" v="1045" actId="208"/>
          <ac:spMkLst>
            <pc:docMk/>
            <pc:sldMk cId="2272527178" sldId="783"/>
            <ac:spMk id="18" creationId="{710EDFE2-FB57-4AFC-B1B4-1806C92FDA7B}"/>
          </ac:spMkLst>
        </pc:spChg>
        <pc:spChg chg="add mod">
          <ac:chgData name="Koksrud Andreas" userId="9d9beba6-c052-407a-8599-c781a677a996" providerId="ADAL" clId="{E52AF215-E047-473C-8BD8-09C52860CC58}" dt="2022-01-12T12:07:25.567" v="1039" actId="1076"/>
          <ac:spMkLst>
            <pc:docMk/>
            <pc:sldMk cId="2272527178" sldId="783"/>
            <ac:spMk id="19" creationId="{0F441A98-E4CA-4177-AE42-F7899FE22B06}"/>
          </ac:spMkLst>
        </pc:spChg>
        <pc:spChg chg="mod">
          <ac:chgData name="Koksrud Andreas" userId="9d9beba6-c052-407a-8599-c781a677a996" providerId="ADAL" clId="{E52AF215-E047-473C-8BD8-09C52860CC58}" dt="2022-01-12T12:09:47.124" v="1290" actId="6549"/>
          <ac:spMkLst>
            <pc:docMk/>
            <pc:sldMk cId="2272527178" sldId="783"/>
            <ac:spMk id="181" creationId="{00000000-0000-0000-0000-000000000000}"/>
          </ac:spMkLst>
        </pc:spChg>
        <pc:picChg chg="add del mod">
          <ac:chgData name="Koksrud Andreas" userId="9d9beba6-c052-407a-8599-c781a677a996" providerId="ADAL" clId="{E52AF215-E047-473C-8BD8-09C52860CC58}" dt="2022-01-12T12:06:15.740" v="1024" actId="478"/>
          <ac:picMkLst>
            <pc:docMk/>
            <pc:sldMk cId="2272527178" sldId="783"/>
            <ac:picMk id="3" creationId="{0D75EA88-FCFE-4A13-84C3-4C25AB78A627}"/>
          </ac:picMkLst>
        </pc:picChg>
        <pc:picChg chg="add mod">
          <ac:chgData name="Koksrud Andreas" userId="9d9beba6-c052-407a-8599-c781a677a996" providerId="ADAL" clId="{E52AF215-E047-473C-8BD8-09C52860CC58}" dt="2022-01-12T12:04:59.644" v="1016" actId="1076"/>
          <ac:picMkLst>
            <pc:docMk/>
            <pc:sldMk cId="2272527178" sldId="783"/>
            <ac:picMk id="5" creationId="{F125ACE5-412A-4007-8485-894F013E00C9}"/>
          </ac:picMkLst>
        </pc:picChg>
        <pc:picChg chg="add mod modCrop">
          <ac:chgData name="Koksrud Andreas" userId="9d9beba6-c052-407a-8599-c781a677a996" providerId="ADAL" clId="{E52AF215-E047-473C-8BD8-09C52860CC58}" dt="2022-01-12T12:06:55.323" v="1034" actId="1076"/>
          <ac:picMkLst>
            <pc:docMk/>
            <pc:sldMk cId="2272527178" sldId="783"/>
            <ac:picMk id="13" creationId="{8F2CB808-3B58-4AF3-982D-E1DF129B08E3}"/>
          </ac:picMkLst>
        </pc:picChg>
        <pc:cxnChg chg="add mod">
          <ac:chgData name="Koksrud Andreas" userId="9d9beba6-c052-407a-8599-c781a677a996" providerId="ADAL" clId="{E52AF215-E047-473C-8BD8-09C52860CC58}" dt="2022-01-12T12:05:35.079" v="1019" actId="14100"/>
          <ac:cxnSpMkLst>
            <pc:docMk/>
            <pc:sldMk cId="2272527178" sldId="783"/>
            <ac:cxnSpMk id="10" creationId="{7F9CB4B8-A8B8-4998-8D72-F864EB3D284B}"/>
          </ac:cxnSpMkLst>
        </pc:cxnChg>
        <pc:cxnChg chg="add mod">
          <ac:chgData name="Koksrud Andreas" userId="9d9beba6-c052-407a-8599-c781a677a996" providerId="ADAL" clId="{E52AF215-E047-473C-8BD8-09C52860CC58}" dt="2022-01-12T12:05:55.635" v="1023" actId="14100"/>
          <ac:cxnSpMkLst>
            <pc:docMk/>
            <pc:sldMk cId="2272527178" sldId="783"/>
            <ac:cxnSpMk id="12" creationId="{2817CFB3-E1E5-4D12-938C-BF818D8DEA92}"/>
          </ac:cxnSpMkLst>
        </pc:cxnChg>
      </pc:sldChg>
      <pc:sldChg chg="delSp modSp add del mod">
        <pc:chgData name="Koksrud Andreas" userId="9d9beba6-c052-407a-8599-c781a677a996" providerId="ADAL" clId="{E52AF215-E047-473C-8BD8-09C52860CC58}" dt="2022-01-12T09:30:28.302" v="654" actId="2696"/>
        <pc:sldMkLst>
          <pc:docMk/>
          <pc:sldMk cId="2820914973" sldId="783"/>
        </pc:sldMkLst>
        <pc:spChg chg="del">
          <ac:chgData name="Koksrud Andreas" userId="9d9beba6-c052-407a-8599-c781a677a996" providerId="ADAL" clId="{E52AF215-E047-473C-8BD8-09C52860CC58}" dt="2022-01-12T09:27:16.314" v="628" actId="478"/>
          <ac:spMkLst>
            <pc:docMk/>
            <pc:sldMk cId="2820914973" sldId="783"/>
            <ac:spMk id="10" creationId="{66A11654-60F2-4AAA-823E-3EDD655C707B}"/>
          </ac:spMkLst>
        </pc:spChg>
        <pc:spChg chg="del">
          <ac:chgData name="Koksrud Andreas" userId="9d9beba6-c052-407a-8599-c781a677a996" providerId="ADAL" clId="{E52AF215-E047-473C-8BD8-09C52860CC58}" dt="2022-01-12T09:27:13.941" v="625" actId="478"/>
          <ac:spMkLst>
            <pc:docMk/>
            <pc:sldMk cId="2820914973" sldId="783"/>
            <ac:spMk id="16" creationId="{191D718A-7B18-4839-9708-CE52821B3A85}"/>
          </ac:spMkLst>
        </pc:spChg>
        <pc:spChg chg="mod">
          <ac:chgData name="Koksrud Andreas" userId="9d9beba6-c052-407a-8599-c781a677a996" providerId="ADAL" clId="{E52AF215-E047-473C-8BD8-09C52860CC58}" dt="2022-01-12T09:27:10.875" v="623" actId="6549"/>
          <ac:spMkLst>
            <pc:docMk/>
            <pc:sldMk cId="2820914973" sldId="783"/>
            <ac:spMk id="181" creationId="{00000000-0000-0000-0000-000000000000}"/>
          </ac:spMkLst>
        </pc:spChg>
        <pc:picChg chg="del">
          <ac:chgData name="Koksrud Andreas" userId="9d9beba6-c052-407a-8599-c781a677a996" providerId="ADAL" clId="{E52AF215-E047-473C-8BD8-09C52860CC58}" dt="2022-01-12T09:27:11.833" v="624" actId="478"/>
          <ac:picMkLst>
            <pc:docMk/>
            <pc:sldMk cId="2820914973" sldId="783"/>
            <ac:picMk id="5" creationId="{F15968B3-66CE-4A9C-AEEE-E73BFD16D6D5}"/>
          </ac:picMkLst>
        </pc:picChg>
        <pc:cxnChg chg="del">
          <ac:chgData name="Koksrud Andreas" userId="9d9beba6-c052-407a-8599-c781a677a996" providerId="ADAL" clId="{E52AF215-E047-473C-8BD8-09C52860CC58}" dt="2022-01-12T09:27:15.615" v="627" actId="478"/>
          <ac:cxnSpMkLst>
            <pc:docMk/>
            <pc:sldMk cId="2820914973" sldId="783"/>
            <ac:cxnSpMk id="11" creationId="{05877BB4-318F-439C-A4DA-B8A2BD0E8544}"/>
          </ac:cxnSpMkLst>
        </pc:cxnChg>
        <pc:cxnChg chg="del">
          <ac:chgData name="Koksrud Andreas" userId="9d9beba6-c052-407a-8599-c781a677a996" providerId="ADAL" clId="{E52AF215-E047-473C-8BD8-09C52860CC58}" dt="2022-01-12T09:27:14.550" v="626" actId="478"/>
          <ac:cxnSpMkLst>
            <pc:docMk/>
            <pc:sldMk cId="2820914973" sldId="783"/>
            <ac:cxnSpMk id="18" creationId="{1F73803A-43C1-4D14-BCD2-D00661B0ED96}"/>
          </ac:cxnSpMkLst>
        </pc:cxnChg>
      </pc:sldChg>
      <pc:sldChg chg="addSp modSp add mod">
        <pc:chgData name="Koksrud Andreas" userId="9d9beba6-c052-407a-8599-c781a677a996" providerId="ADAL" clId="{E52AF215-E047-473C-8BD8-09C52860CC58}" dt="2022-01-12T12:19:26.247" v="1396" actId="1076"/>
        <pc:sldMkLst>
          <pc:docMk/>
          <pc:sldMk cId="2035997049" sldId="784"/>
        </pc:sldMkLst>
        <pc:spChg chg="mod">
          <ac:chgData name="Koksrud Andreas" userId="9d9beba6-c052-407a-8599-c781a677a996" providerId="ADAL" clId="{E52AF215-E047-473C-8BD8-09C52860CC58}" dt="2022-01-12T12:18:46.440" v="1392" actId="20577"/>
          <ac:spMkLst>
            <pc:docMk/>
            <pc:sldMk cId="2035997049" sldId="784"/>
            <ac:spMk id="181" creationId="{00000000-0000-0000-0000-000000000000}"/>
          </ac:spMkLst>
        </pc:spChg>
        <pc:picChg chg="add mod">
          <ac:chgData name="Koksrud Andreas" userId="9d9beba6-c052-407a-8599-c781a677a996" providerId="ADAL" clId="{E52AF215-E047-473C-8BD8-09C52860CC58}" dt="2022-01-12T12:19:26.247" v="1396" actId="1076"/>
          <ac:picMkLst>
            <pc:docMk/>
            <pc:sldMk cId="2035997049" sldId="784"/>
            <ac:picMk id="3" creationId="{D586ED15-E11C-4421-AB73-C873E7E0F5F2}"/>
          </ac:picMkLst>
        </pc:picChg>
      </pc:sldChg>
      <pc:sldChg chg="addSp modSp add mod">
        <pc:chgData name="Koksrud Andreas" userId="9d9beba6-c052-407a-8599-c781a677a996" providerId="ADAL" clId="{E52AF215-E047-473C-8BD8-09C52860CC58}" dt="2022-01-12T12:30:11.120" v="1427" actId="732"/>
        <pc:sldMkLst>
          <pc:docMk/>
          <pc:sldMk cId="1437315232" sldId="785"/>
        </pc:sldMkLst>
        <pc:spChg chg="mod">
          <ac:chgData name="Koksrud Andreas" userId="9d9beba6-c052-407a-8599-c781a677a996" providerId="ADAL" clId="{E52AF215-E047-473C-8BD8-09C52860CC58}" dt="2022-01-12T12:27:34.434" v="1415" actId="20577"/>
          <ac:spMkLst>
            <pc:docMk/>
            <pc:sldMk cId="1437315232" sldId="785"/>
            <ac:spMk id="181" creationId="{00000000-0000-0000-0000-000000000000}"/>
          </ac:spMkLst>
        </pc:spChg>
        <pc:picChg chg="add mod modCrop">
          <ac:chgData name="Koksrud Andreas" userId="9d9beba6-c052-407a-8599-c781a677a996" providerId="ADAL" clId="{E52AF215-E047-473C-8BD8-09C52860CC58}" dt="2022-01-12T12:30:11.120" v="1427" actId="732"/>
          <ac:picMkLst>
            <pc:docMk/>
            <pc:sldMk cId="1437315232" sldId="785"/>
            <ac:picMk id="3" creationId="{C73ABB62-AA78-44A4-B2E9-E981E41B5E85}"/>
          </ac:picMkLst>
        </pc:picChg>
        <pc:picChg chg="add mod modCrop">
          <ac:chgData name="Koksrud Andreas" userId="9d9beba6-c052-407a-8599-c781a677a996" providerId="ADAL" clId="{E52AF215-E047-473C-8BD8-09C52860CC58}" dt="2022-01-12T12:30:03.199" v="1426" actId="732"/>
          <ac:picMkLst>
            <pc:docMk/>
            <pc:sldMk cId="1437315232" sldId="785"/>
            <ac:picMk id="5" creationId="{21F2DB1D-0C34-447E-B0DF-4D09A292F8CF}"/>
          </ac:picMkLst>
        </pc:picChg>
      </pc:sldChg>
      <pc:sldChg chg="addSp modSp add mod">
        <pc:chgData name="Koksrud Andreas" userId="9d9beba6-c052-407a-8599-c781a677a996" providerId="ADAL" clId="{E52AF215-E047-473C-8BD8-09C52860CC58}" dt="2022-01-12T12:31:33.946" v="1435" actId="732"/>
        <pc:sldMkLst>
          <pc:docMk/>
          <pc:sldMk cId="439586449" sldId="786"/>
        </pc:sldMkLst>
        <pc:spChg chg="mod">
          <ac:chgData name="Koksrud Andreas" userId="9d9beba6-c052-407a-8599-c781a677a996" providerId="ADAL" clId="{E52AF215-E047-473C-8BD8-09C52860CC58}" dt="2022-01-12T12:31:21.314" v="1429" actId="6549"/>
          <ac:spMkLst>
            <pc:docMk/>
            <pc:sldMk cId="439586449" sldId="786"/>
            <ac:spMk id="181" creationId="{00000000-0000-0000-0000-000000000000}"/>
          </ac:spMkLst>
        </pc:spChg>
        <pc:picChg chg="add mod modCrop">
          <ac:chgData name="Koksrud Andreas" userId="9d9beba6-c052-407a-8599-c781a677a996" providerId="ADAL" clId="{E52AF215-E047-473C-8BD8-09C52860CC58}" dt="2022-01-12T12:31:33.946" v="1435" actId="732"/>
          <ac:picMkLst>
            <pc:docMk/>
            <pc:sldMk cId="439586449" sldId="786"/>
            <ac:picMk id="3" creationId="{3CF30AA2-4F3F-426A-8EDA-C881038EF1CC}"/>
          </ac:picMkLst>
        </pc:picChg>
      </pc:sldChg>
      <pc:sldChg chg="addSp modSp add mod">
        <pc:chgData name="Koksrud Andreas" userId="9d9beba6-c052-407a-8599-c781a677a996" providerId="ADAL" clId="{E52AF215-E047-473C-8BD8-09C52860CC58}" dt="2022-01-12T12:33:29.533" v="1447" actId="14100"/>
        <pc:sldMkLst>
          <pc:docMk/>
          <pc:sldMk cId="3919586401" sldId="787"/>
        </pc:sldMkLst>
        <pc:spChg chg="mod">
          <ac:chgData name="Koksrud Andreas" userId="9d9beba6-c052-407a-8599-c781a677a996" providerId="ADAL" clId="{E52AF215-E047-473C-8BD8-09C52860CC58}" dt="2022-01-12T12:31:59.892" v="1439" actId="6549"/>
          <ac:spMkLst>
            <pc:docMk/>
            <pc:sldMk cId="3919586401" sldId="787"/>
            <ac:spMk id="181" creationId="{00000000-0000-0000-0000-000000000000}"/>
          </ac:spMkLst>
        </pc:spChg>
        <pc:picChg chg="add mod">
          <ac:chgData name="Koksrud Andreas" userId="9d9beba6-c052-407a-8599-c781a677a996" providerId="ADAL" clId="{E52AF215-E047-473C-8BD8-09C52860CC58}" dt="2022-01-12T12:33:29.533" v="1447" actId="14100"/>
          <ac:picMkLst>
            <pc:docMk/>
            <pc:sldMk cId="3919586401" sldId="787"/>
            <ac:picMk id="3" creationId="{431D034C-1D06-47D1-88C7-21CC20B685E8}"/>
          </ac:picMkLst>
        </pc:picChg>
      </pc:sldChg>
      <pc:sldChg chg="addSp modSp add mod">
        <pc:chgData name="Koksrud Andreas" userId="9d9beba6-c052-407a-8599-c781a677a996" providerId="ADAL" clId="{E52AF215-E047-473C-8BD8-09C52860CC58}" dt="2022-01-12T12:35:03.923" v="1461" actId="14100"/>
        <pc:sldMkLst>
          <pc:docMk/>
          <pc:sldMk cId="463834088" sldId="788"/>
        </pc:sldMkLst>
        <pc:spChg chg="mod">
          <ac:chgData name="Koksrud Andreas" userId="9d9beba6-c052-407a-8599-c781a677a996" providerId="ADAL" clId="{E52AF215-E047-473C-8BD8-09C52860CC58}" dt="2022-01-12T12:34:25.440" v="1451" actId="20577"/>
          <ac:spMkLst>
            <pc:docMk/>
            <pc:sldMk cId="463834088" sldId="788"/>
            <ac:spMk id="181" creationId="{00000000-0000-0000-0000-000000000000}"/>
          </ac:spMkLst>
        </pc:spChg>
        <pc:picChg chg="add mod modCrop">
          <ac:chgData name="Koksrud Andreas" userId="9d9beba6-c052-407a-8599-c781a677a996" providerId="ADAL" clId="{E52AF215-E047-473C-8BD8-09C52860CC58}" dt="2022-01-12T12:35:03.923" v="1461" actId="14100"/>
          <ac:picMkLst>
            <pc:docMk/>
            <pc:sldMk cId="463834088" sldId="788"/>
            <ac:picMk id="3" creationId="{CF3E8DA7-7D7B-4287-B66E-A14C3D3765A4}"/>
          </ac:picMkLst>
        </pc:picChg>
      </pc:sldChg>
      <pc:sldChg chg="addSp modSp add mod">
        <pc:chgData name="Koksrud Andreas" userId="9d9beba6-c052-407a-8599-c781a677a996" providerId="ADAL" clId="{E52AF215-E047-473C-8BD8-09C52860CC58}" dt="2022-01-12T12:37:29.259" v="1495" actId="1076"/>
        <pc:sldMkLst>
          <pc:docMk/>
          <pc:sldMk cId="1168678729" sldId="789"/>
        </pc:sldMkLst>
        <pc:spChg chg="mod">
          <ac:chgData name="Koksrud Andreas" userId="9d9beba6-c052-407a-8599-c781a677a996" providerId="ADAL" clId="{E52AF215-E047-473C-8BD8-09C52860CC58}" dt="2022-01-12T12:37:10.812" v="1490" actId="20577"/>
          <ac:spMkLst>
            <pc:docMk/>
            <pc:sldMk cId="1168678729" sldId="789"/>
            <ac:spMk id="181" creationId="{00000000-0000-0000-0000-000000000000}"/>
          </ac:spMkLst>
        </pc:spChg>
        <pc:picChg chg="add mod">
          <ac:chgData name="Koksrud Andreas" userId="9d9beba6-c052-407a-8599-c781a677a996" providerId="ADAL" clId="{E52AF215-E047-473C-8BD8-09C52860CC58}" dt="2022-01-12T12:37:29.259" v="1495" actId="1076"/>
          <ac:picMkLst>
            <pc:docMk/>
            <pc:sldMk cId="1168678729" sldId="789"/>
            <ac:picMk id="3" creationId="{BBB1361F-D2B9-44EE-935B-47FEA609BC31}"/>
          </ac:picMkLst>
        </pc:picChg>
      </pc:sldChg>
      <pc:sldChg chg="addSp delSp modSp add mod">
        <pc:chgData name="Koksrud Andreas" userId="9d9beba6-c052-407a-8599-c781a677a996" providerId="ADAL" clId="{E52AF215-E047-473C-8BD8-09C52860CC58}" dt="2022-01-12T13:18:46.495" v="2072" actId="962"/>
        <pc:sldMkLst>
          <pc:docMk/>
          <pc:sldMk cId="2352117430" sldId="790"/>
        </pc:sldMkLst>
        <pc:spChg chg="mod">
          <ac:chgData name="Koksrud Andreas" userId="9d9beba6-c052-407a-8599-c781a677a996" providerId="ADAL" clId="{E52AF215-E047-473C-8BD8-09C52860CC58}" dt="2022-01-12T13:18:25.632" v="2068" actId="20577"/>
          <ac:spMkLst>
            <pc:docMk/>
            <pc:sldMk cId="2352117430" sldId="790"/>
            <ac:spMk id="181" creationId="{00000000-0000-0000-0000-000000000000}"/>
          </ac:spMkLst>
        </pc:spChg>
        <pc:picChg chg="del">
          <ac:chgData name="Koksrud Andreas" userId="9d9beba6-c052-407a-8599-c781a677a996" providerId="ADAL" clId="{E52AF215-E047-473C-8BD8-09C52860CC58}" dt="2022-01-12T13:18:16.743" v="2039" actId="478"/>
          <ac:picMkLst>
            <pc:docMk/>
            <pc:sldMk cId="2352117430" sldId="790"/>
            <ac:picMk id="3" creationId="{2C264051-1B5B-441B-9E81-2D5D65FB9DEB}"/>
          </ac:picMkLst>
        </pc:picChg>
        <pc:picChg chg="add mod">
          <ac:chgData name="Koksrud Andreas" userId="9d9beba6-c052-407a-8599-c781a677a996" providerId="ADAL" clId="{E52AF215-E047-473C-8BD8-09C52860CC58}" dt="2022-01-12T13:18:46.495" v="2072" actId="962"/>
          <ac:picMkLst>
            <pc:docMk/>
            <pc:sldMk cId="2352117430" sldId="790"/>
            <ac:picMk id="4" creationId="{383C1008-F758-4A4D-9BD7-AFD94B4A630A}"/>
          </ac:picMkLst>
        </pc:picChg>
        <pc:picChg chg="del">
          <ac:chgData name="Koksrud Andreas" userId="9d9beba6-c052-407a-8599-c781a677a996" providerId="ADAL" clId="{E52AF215-E047-473C-8BD8-09C52860CC58}" dt="2022-01-12T13:18:16.014" v="2038" actId="478"/>
          <ac:picMkLst>
            <pc:docMk/>
            <pc:sldMk cId="2352117430" sldId="790"/>
            <ac:picMk id="5" creationId="{DF3FF874-F6AA-4745-A042-751C31DA95D6}"/>
          </ac:picMkLst>
        </pc:picChg>
      </pc:sldChg>
      <pc:sldChg chg="addSp modSp add mod">
        <pc:chgData name="Koksrud Andreas" userId="9d9beba6-c052-407a-8599-c781a677a996" providerId="ADAL" clId="{E52AF215-E047-473C-8BD8-09C52860CC58}" dt="2022-01-13T07:39:17.946" v="3027" actId="20577"/>
        <pc:sldMkLst>
          <pc:docMk/>
          <pc:sldMk cId="1582857246" sldId="791"/>
        </pc:sldMkLst>
        <pc:spChg chg="add mod">
          <ac:chgData name="Koksrud Andreas" userId="9d9beba6-c052-407a-8599-c781a677a996" providerId="ADAL" clId="{E52AF215-E047-473C-8BD8-09C52860CC58}" dt="2022-01-13T07:35:20.873" v="2953" actId="14100"/>
          <ac:spMkLst>
            <pc:docMk/>
            <pc:sldMk cId="1582857246" sldId="791"/>
            <ac:spMk id="8" creationId="{94AD9D46-A267-4ABB-A0CE-927CA5FD5892}"/>
          </ac:spMkLst>
        </pc:spChg>
        <pc:spChg chg="mod">
          <ac:chgData name="Koksrud Andreas" userId="9d9beba6-c052-407a-8599-c781a677a996" providerId="ADAL" clId="{E52AF215-E047-473C-8BD8-09C52860CC58}" dt="2022-01-13T07:39:17.946" v="3027" actId="20577"/>
          <ac:spMkLst>
            <pc:docMk/>
            <pc:sldMk cId="1582857246" sldId="791"/>
            <ac:spMk id="181" creationId="{00000000-0000-0000-0000-000000000000}"/>
          </ac:spMkLst>
        </pc:spChg>
        <pc:picChg chg="add mod">
          <ac:chgData name="Koksrud Andreas" userId="9d9beba6-c052-407a-8599-c781a677a996" providerId="ADAL" clId="{E52AF215-E047-473C-8BD8-09C52860CC58}" dt="2022-01-13T07:34:39.037" v="2949" actId="1076"/>
          <ac:picMkLst>
            <pc:docMk/>
            <pc:sldMk cId="1582857246" sldId="791"/>
            <ac:picMk id="3" creationId="{3E12D5D4-6E70-4241-A580-34CAD7E62E57}"/>
          </ac:picMkLst>
        </pc:picChg>
      </pc:sldChg>
      <pc:sldChg chg="addSp modSp add mod">
        <pc:chgData name="Koksrud Andreas" userId="9d9beba6-c052-407a-8599-c781a677a996" providerId="ADAL" clId="{E52AF215-E047-473C-8BD8-09C52860CC58}" dt="2022-01-13T09:47:31.703" v="3704" actId="1036"/>
        <pc:sldMkLst>
          <pc:docMk/>
          <pc:sldMk cId="95454940" sldId="792"/>
        </pc:sldMkLst>
        <pc:spChg chg="add mod">
          <ac:chgData name="Koksrud Andreas" userId="9d9beba6-c052-407a-8599-c781a677a996" providerId="ADAL" clId="{E52AF215-E047-473C-8BD8-09C52860CC58}" dt="2022-01-13T09:43:03.005" v="3681" actId="14100"/>
          <ac:spMkLst>
            <pc:docMk/>
            <pc:sldMk cId="95454940" sldId="792"/>
            <ac:spMk id="10" creationId="{140F3AD6-0FE8-45C3-808E-D3A05ACC11D0}"/>
          </ac:spMkLst>
        </pc:spChg>
        <pc:spChg chg="mod">
          <ac:chgData name="Koksrud Andreas" userId="9d9beba6-c052-407a-8599-c781a677a996" providerId="ADAL" clId="{E52AF215-E047-473C-8BD8-09C52860CC58}" dt="2022-01-13T09:47:27.108" v="3702" actId="20577"/>
          <ac:spMkLst>
            <pc:docMk/>
            <pc:sldMk cId="95454940" sldId="792"/>
            <ac:spMk id="181" creationId="{00000000-0000-0000-0000-000000000000}"/>
          </ac:spMkLst>
        </pc:spChg>
        <pc:picChg chg="add mod modCrop">
          <ac:chgData name="Koksrud Andreas" userId="9d9beba6-c052-407a-8599-c781a677a996" providerId="ADAL" clId="{E52AF215-E047-473C-8BD8-09C52860CC58}" dt="2022-01-13T09:39:25.570" v="3636" actId="1035"/>
          <ac:picMkLst>
            <pc:docMk/>
            <pc:sldMk cId="95454940" sldId="792"/>
            <ac:picMk id="3" creationId="{AC7014D7-98FE-4D47-A62F-979FDF92EC8B}"/>
          </ac:picMkLst>
        </pc:picChg>
        <pc:picChg chg="add mod">
          <ac:chgData name="Koksrud Andreas" userId="9d9beba6-c052-407a-8599-c781a677a996" providerId="ADAL" clId="{E52AF215-E047-473C-8BD8-09C52860CC58}" dt="2022-01-13T09:42:25.914" v="3647" actId="1036"/>
          <ac:picMkLst>
            <pc:docMk/>
            <pc:sldMk cId="95454940" sldId="792"/>
            <ac:picMk id="5" creationId="{5926915C-05D7-466A-9558-78B7057F127B}"/>
          </ac:picMkLst>
        </pc:picChg>
        <pc:picChg chg="add mod">
          <ac:chgData name="Koksrud Andreas" userId="9d9beba6-c052-407a-8599-c781a677a996" providerId="ADAL" clId="{E52AF215-E047-473C-8BD8-09C52860CC58}" dt="2022-01-13T09:45:29.854" v="3685" actId="1076"/>
          <ac:picMkLst>
            <pc:docMk/>
            <pc:sldMk cId="95454940" sldId="792"/>
            <ac:picMk id="7" creationId="{02FC3D8F-4579-422C-A5AB-94FD920F2F6E}"/>
          </ac:picMkLst>
        </pc:picChg>
        <pc:picChg chg="add mod">
          <ac:chgData name="Koksrud Andreas" userId="9d9beba6-c052-407a-8599-c781a677a996" providerId="ADAL" clId="{E52AF215-E047-473C-8BD8-09C52860CC58}" dt="2022-01-13T09:47:31.703" v="3704" actId="1036"/>
          <ac:picMkLst>
            <pc:docMk/>
            <pc:sldMk cId="95454940" sldId="792"/>
            <ac:picMk id="9" creationId="{C0827C10-B728-4DB4-87D6-54594D39723B}"/>
          </ac:picMkLst>
        </pc:picChg>
      </pc:sldChg>
      <pc:sldChg chg="addSp delSp modSp add mod ord">
        <pc:chgData name="Koksrud Andreas" userId="9d9beba6-c052-407a-8599-c781a677a996" providerId="ADAL" clId="{E52AF215-E047-473C-8BD8-09C52860CC58}" dt="2022-01-13T10:04:38.993" v="3813" actId="478"/>
        <pc:sldMkLst>
          <pc:docMk/>
          <pc:sldMk cId="2873046022" sldId="793"/>
        </pc:sldMkLst>
        <pc:spChg chg="del">
          <ac:chgData name="Koksrud Andreas" userId="9d9beba6-c052-407a-8599-c781a677a996" providerId="ADAL" clId="{E52AF215-E047-473C-8BD8-09C52860CC58}" dt="2022-01-13T10:04:29.638" v="3807" actId="478"/>
          <ac:spMkLst>
            <pc:docMk/>
            <pc:sldMk cId="2873046022" sldId="793"/>
            <ac:spMk id="14" creationId="{FA8A2802-E3EA-468F-8B21-46F72456FABA}"/>
          </ac:spMkLst>
        </pc:spChg>
        <pc:spChg chg="del">
          <ac:chgData name="Koksrud Andreas" userId="9d9beba6-c052-407a-8599-c781a677a996" providerId="ADAL" clId="{E52AF215-E047-473C-8BD8-09C52860CC58}" dt="2022-01-13T10:04:35.215" v="3811" actId="478"/>
          <ac:spMkLst>
            <pc:docMk/>
            <pc:sldMk cId="2873046022" sldId="793"/>
            <ac:spMk id="16" creationId="{D6BC44B5-DD0F-44B4-B151-7222B77BF6F0}"/>
          </ac:spMkLst>
        </pc:spChg>
        <pc:spChg chg="del">
          <ac:chgData name="Koksrud Andreas" userId="9d9beba6-c052-407a-8599-c781a677a996" providerId="ADAL" clId="{E52AF215-E047-473C-8BD8-09C52860CC58}" dt="2022-01-13T10:04:38.993" v="3813" actId="478"/>
          <ac:spMkLst>
            <pc:docMk/>
            <pc:sldMk cId="2873046022" sldId="793"/>
            <ac:spMk id="19" creationId="{5D456D15-BECC-4AA9-909E-81B3C7B91D77}"/>
          </ac:spMkLst>
        </pc:spChg>
        <pc:spChg chg="mod">
          <ac:chgData name="Koksrud Andreas" userId="9d9beba6-c052-407a-8599-c781a677a996" providerId="ADAL" clId="{E52AF215-E047-473C-8BD8-09C52860CC58}" dt="2022-01-13T10:03:52.134" v="3804" actId="20577"/>
          <ac:spMkLst>
            <pc:docMk/>
            <pc:sldMk cId="2873046022" sldId="793"/>
            <ac:spMk id="180" creationId="{00000000-0000-0000-0000-000000000000}"/>
          </ac:spMkLst>
        </pc:spChg>
        <pc:picChg chg="add del mod modCrop">
          <ac:chgData name="Koksrud Andreas" userId="9d9beba6-c052-407a-8599-c781a677a996" providerId="ADAL" clId="{E52AF215-E047-473C-8BD8-09C52860CC58}" dt="2022-01-13T10:04:32.965" v="3810" actId="478"/>
          <ac:picMkLst>
            <pc:docMk/>
            <pc:sldMk cId="2873046022" sldId="793"/>
            <ac:picMk id="3" creationId="{0EB07F1A-0579-48E0-9FB1-3362147C34B4}"/>
          </ac:picMkLst>
        </pc:picChg>
        <pc:picChg chg="del">
          <ac:chgData name="Koksrud Andreas" userId="9d9beba6-c052-407a-8599-c781a677a996" providerId="ADAL" clId="{E52AF215-E047-473C-8BD8-09C52860CC58}" dt="2022-01-13T10:04:37.065" v="3812" actId="478"/>
          <ac:picMkLst>
            <pc:docMk/>
            <pc:sldMk cId="2873046022" sldId="793"/>
            <ac:picMk id="18" creationId="{82FBB2CF-FD0D-468E-A54F-86B9E9FE8D36}"/>
          </ac:picMkLst>
        </pc:picChg>
        <pc:cxnChg chg="del mod">
          <ac:chgData name="Koksrud Andreas" userId="9d9beba6-c052-407a-8599-c781a677a996" providerId="ADAL" clId="{E52AF215-E047-473C-8BD8-09C52860CC58}" dt="2022-01-13T10:04:30.451" v="3808" actId="478"/>
          <ac:cxnSpMkLst>
            <pc:docMk/>
            <pc:sldMk cId="2873046022" sldId="793"/>
            <ac:cxnSpMk id="17" creationId="{7519B5C2-7D81-4925-8953-0549C33CE3DB}"/>
          </ac:cxnSpMkLst>
        </pc:cxnChg>
      </pc:sldChg>
    </pc:docChg>
  </pc:docChgLst>
  <pc:docChgLst>
    <pc:chgData name="Kjetil Teigen Hansen (KTH)" userId="S::kth_conscia.com#ext#@telenorgroup.onmicrosoft.com::f8a0f255-21b8-4c53-aace-7d9a45a4c72e" providerId="AD" clId="Web-{1189B7AA-9A34-F099-E439-C5204E4522F1}"/>
    <pc:docChg chg="modSld">
      <pc:chgData name="Kjetil Teigen Hansen (KTH)" userId="S::kth_conscia.com#ext#@telenorgroup.onmicrosoft.com::f8a0f255-21b8-4c53-aace-7d9a45a4c72e" providerId="AD" clId="Web-{1189B7AA-9A34-F099-E439-C5204E4522F1}" dt="2024-08-31T14:09:19.118" v="3" actId="20577"/>
      <pc:docMkLst>
        <pc:docMk/>
      </pc:docMkLst>
      <pc:sldChg chg="modSp">
        <pc:chgData name="Kjetil Teigen Hansen (KTH)" userId="S::kth_conscia.com#ext#@telenorgroup.onmicrosoft.com::f8a0f255-21b8-4c53-aace-7d9a45a4c72e" providerId="AD" clId="Web-{1189B7AA-9A34-F099-E439-C5204E4522F1}" dt="2024-08-31T14:09:19.118" v="3" actId="20577"/>
        <pc:sldMkLst>
          <pc:docMk/>
          <pc:sldMk cId="3684540684" sldId="1044"/>
        </pc:sldMkLst>
        <pc:spChg chg="mod">
          <ac:chgData name="Kjetil Teigen Hansen (KTH)" userId="S::kth_conscia.com#ext#@telenorgroup.onmicrosoft.com::f8a0f255-21b8-4c53-aace-7d9a45a4c72e" providerId="AD" clId="Web-{1189B7AA-9A34-F099-E439-C5204E4522F1}" dt="2024-08-31T14:09:19.118" v="3" actId="20577"/>
          <ac:spMkLst>
            <pc:docMk/>
            <pc:sldMk cId="3684540684" sldId="1044"/>
            <ac:spMk id="180" creationId="{00000000-0000-0000-0000-000000000000}"/>
          </ac:spMkLst>
        </pc:spChg>
      </pc:sldChg>
    </pc:docChg>
  </pc:docChgLst>
  <pc:docChgLst>
    <pc:chgData name="Koksrud Andreas" userId="9d9beba6-c052-407a-8599-c781a677a996" providerId="ADAL" clId="{99DCF58A-61FD-4A82-B407-E5D0DF551B20}"/>
    <pc:docChg chg="undo custSel addSld delSld modSld sldOrd addSection delSection modSection">
      <pc:chgData name="Koksrud Andreas" userId="9d9beba6-c052-407a-8599-c781a677a996" providerId="ADAL" clId="{99DCF58A-61FD-4A82-B407-E5D0DF551B20}" dt="2024-01-09T05:44:07.475" v="5614" actId="20577"/>
      <pc:docMkLst>
        <pc:docMk/>
      </pc:docMkLst>
      <pc:sldChg chg="modSp mod">
        <pc:chgData name="Koksrud Andreas" userId="9d9beba6-c052-407a-8599-c781a677a996" providerId="ADAL" clId="{99DCF58A-61FD-4A82-B407-E5D0DF551B20}" dt="2023-12-23T13:41:56.035" v="76" actId="20577"/>
        <pc:sldMkLst>
          <pc:docMk/>
          <pc:sldMk cId="697137886" sldId="679"/>
        </pc:sldMkLst>
        <pc:spChg chg="mod">
          <ac:chgData name="Koksrud Andreas" userId="9d9beba6-c052-407a-8599-c781a677a996" providerId="ADAL" clId="{99DCF58A-61FD-4A82-B407-E5D0DF551B20}" dt="2023-12-23T13:41:50.114" v="75" actId="20577"/>
          <ac:spMkLst>
            <pc:docMk/>
            <pc:sldMk cId="697137886" sldId="679"/>
            <ac:spMk id="2" creationId="{00000000-0000-0000-0000-000000000000}"/>
          </ac:spMkLst>
        </pc:spChg>
        <pc:spChg chg="mod">
          <ac:chgData name="Koksrud Andreas" userId="9d9beba6-c052-407a-8599-c781a677a996" providerId="ADAL" clId="{99DCF58A-61FD-4A82-B407-E5D0DF551B20}" dt="2023-12-23T13:41:56.035" v="76" actId="20577"/>
          <ac:spMkLst>
            <pc:docMk/>
            <pc:sldMk cId="697137886" sldId="679"/>
            <ac:spMk id="3" creationId="{00000000-0000-0000-0000-000000000000}"/>
          </ac:spMkLst>
        </pc:spChg>
      </pc:sldChg>
      <pc:sldChg chg="modSp mod">
        <pc:chgData name="Koksrud Andreas" userId="9d9beba6-c052-407a-8599-c781a677a996" providerId="ADAL" clId="{99DCF58A-61FD-4A82-B407-E5D0DF551B20}" dt="2023-12-23T13:42:17.483" v="86" actId="6549"/>
        <pc:sldMkLst>
          <pc:docMk/>
          <pc:sldMk cId="2087783305" sldId="730"/>
        </pc:sldMkLst>
        <pc:spChg chg="mod">
          <ac:chgData name="Koksrud Andreas" userId="9d9beba6-c052-407a-8599-c781a677a996" providerId="ADAL" clId="{99DCF58A-61FD-4A82-B407-E5D0DF551B20}" dt="2023-12-23T13:42:17.483" v="86" actId="6549"/>
          <ac:spMkLst>
            <pc:docMk/>
            <pc:sldMk cId="2087783305" sldId="730"/>
            <ac:spMk id="2" creationId="{E83F8947-299D-4698-B80E-56B8E23125F0}"/>
          </ac:spMkLst>
        </pc:spChg>
      </pc:sldChg>
      <pc:sldChg chg="modSp mod">
        <pc:chgData name="Koksrud Andreas" userId="9d9beba6-c052-407a-8599-c781a677a996" providerId="ADAL" clId="{99DCF58A-61FD-4A82-B407-E5D0DF551B20}" dt="2023-12-23T13:50:26.250" v="861" actId="20577"/>
        <pc:sldMkLst>
          <pc:docMk/>
          <pc:sldMk cId="4184721091" sldId="775"/>
        </pc:sldMkLst>
        <pc:spChg chg="mod">
          <ac:chgData name="Koksrud Andreas" userId="9d9beba6-c052-407a-8599-c781a677a996" providerId="ADAL" clId="{99DCF58A-61FD-4A82-B407-E5D0DF551B20}" dt="2023-12-23T13:50:26.250" v="861" actId="20577"/>
          <ac:spMkLst>
            <pc:docMk/>
            <pc:sldMk cId="4184721091" sldId="775"/>
            <ac:spMk id="181" creationId="{00000000-0000-0000-0000-000000000000}"/>
          </ac:spMkLst>
        </pc:spChg>
      </pc:sldChg>
      <pc:sldChg chg="del">
        <pc:chgData name="Koksrud Andreas" userId="9d9beba6-c052-407a-8599-c781a677a996" providerId="ADAL" clId="{99DCF58A-61FD-4A82-B407-E5D0DF551B20}" dt="2023-12-23T17:02:56.444" v="1899" actId="47"/>
        <pc:sldMkLst>
          <pc:docMk/>
          <pc:sldMk cId="267941889" sldId="776"/>
        </pc:sldMkLst>
      </pc:sldChg>
      <pc:sldChg chg="del">
        <pc:chgData name="Koksrud Andreas" userId="9d9beba6-c052-407a-8599-c781a677a996" providerId="ADAL" clId="{99DCF58A-61FD-4A82-B407-E5D0DF551B20}" dt="2023-12-25T11:56:06.978" v="4626" actId="47"/>
        <pc:sldMkLst>
          <pc:docMk/>
          <pc:sldMk cId="3268319793" sldId="777"/>
        </pc:sldMkLst>
      </pc:sldChg>
      <pc:sldChg chg="del">
        <pc:chgData name="Koksrud Andreas" userId="9d9beba6-c052-407a-8599-c781a677a996" providerId="ADAL" clId="{99DCF58A-61FD-4A82-B407-E5D0DF551B20}" dt="2023-12-25T11:56:06.978" v="4626" actId="47"/>
        <pc:sldMkLst>
          <pc:docMk/>
          <pc:sldMk cId="2866642472" sldId="778"/>
        </pc:sldMkLst>
      </pc:sldChg>
      <pc:sldChg chg="del">
        <pc:chgData name="Koksrud Andreas" userId="9d9beba6-c052-407a-8599-c781a677a996" providerId="ADAL" clId="{99DCF58A-61FD-4A82-B407-E5D0DF551B20}" dt="2023-12-25T11:56:06.978" v="4626" actId="47"/>
        <pc:sldMkLst>
          <pc:docMk/>
          <pc:sldMk cId="2950788596" sldId="780"/>
        </pc:sldMkLst>
      </pc:sldChg>
      <pc:sldChg chg="del">
        <pc:chgData name="Koksrud Andreas" userId="9d9beba6-c052-407a-8599-c781a677a996" providerId="ADAL" clId="{99DCF58A-61FD-4A82-B407-E5D0DF551B20}" dt="2023-12-25T11:56:06.978" v="4626" actId="47"/>
        <pc:sldMkLst>
          <pc:docMk/>
          <pc:sldMk cId="1603511548" sldId="781"/>
        </pc:sldMkLst>
      </pc:sldChg>
      <pc:sldChg chg="del">
        <pc:chgData name="Koksrud Andreas" userId="9d9beba6-c052-407a-8599-c781a677a996" providerId="ADAL" clId="{99DCF58A-61FD-4A82-B407-E5D0DF551B20}" dt="2023-12-25T11:56:06.978" v="4626" actId="47"/>
        <pc:sldMkLst>
          <pc:docMk/>
          <pc:sldMk cId="1881751481" sldId="782"/>
        </pc:sldMkLst>
      </pc:sldChg>
      <pc:sldChg chg="del">
        <pc:chgData name="Koksrud Andreas" userId="9d9beba6-c052-407a-8599-c781a677a996" providerId="ADAL" clId="{99DCF58A-61FD-4A82-B407-E5D0DF551B20}" dt="2023-12-25T11:56:06.978" v="4626" actId="47"/>
        <pc:sldMkLst>
          <pc:docMk/>
          <pc:sldMk cId="1079463624" sldId="797"/>
        </pc:sldMkLst>
      </pc:sldChg>
      <pc:sldChg chg="delSp modSp mod">
        <pc:chgData name="Koksrud Andreas" userId="9d9beba6-c052-407a-8599-c781a677a996" providerId="ADAL" clId="{99DCF58A-61FD-4A82-B407-E5D0DF551B20}" dt="2023-12-23T17:05:15.932" v="2018" actId="478"/>
        <pc:sldMkLst>
          <pc:docMk/>
          <pc:sldMk cId="590634226" sldId="798"/>
        </pc:sldMkLst>
        <pc:spChg chg="del">
          <ac:chgData name="Koksrud Andreas" userId="9d9beba6-c052-407a-8599-c781a677a996" providerId="ADAL" clId="{99DCF58A-61FD-4A82-B407-E5D0DF551B20}" dt="2023-12-23T17:05:15.932" v="2018" actId="478"/>
          <ac:spMkLst>
            <pc:docMk/>
            <pc:sldMk cId="590634226" sldId="798"/>
            <ac:spMk id="2" creationId="{E5D5B057-1D39-AC88-396C-0D888288A2E9}"/>
          </ac:spMkLst>
        </pc:spChg>
        <pc:spChg chg="mod">
          <ac:chgData name="Koksrud Andreas" userId="9d9beba6-c052-407a-8599-c781a677a996" providerId="ADAL" clId="{99DCF58A-61FD-4A82-B407-E5D0DF551B20}" dt="2023-12-23T17:03:18.018" v="1931" actId="20577"/>
          <ac:spMkLst>
            <pc:docMk/>
            <pc:sldMk cId="590634226" sldId="798"/>
            <ac:spMk id="180" creationId="{00000000-0000-0000-0000-000000000000}"/>
          </ac:spMkLst>
        </pc:spChg>
        <pc:spChg chg="mod">
          <ac:chgData name="Koksrud Andreas" userId="9d9beba6-c052-407a-8599-c781a677a996" providerId="ADAL" clId="{99DCF58A-61FD-4A82-B407-E5D0DF551B20}" dt="2023-12-23T17:05:10.328" v="2017" actId="20577"/>
          <ac:spMkLst>
            <pc:docMk/>
            <pc:sldMk cId="590634226" sldId="798"/>
            <ac:spMk id="181" creationId="{00000000-0000-0000-0000-000000000000}"/>
          </ac:spMkLst>
        </pc:spChg>
        <pc:picChg chg="del">
          <ac:chgData name="Koksrud Andreas" userId="9d9beba6-c052-407a-8599-c781a677a996" providerId="ADAL" clId="{99DCF58A-61FD-4A82-B407-E5D0DF551B20}" dt="2023-12-23T17:04:11.161" v="1975" actId="478"/>
          <ac:picMkLst>
            <pc:docMk/>
            <pc:sldMk cId="590634226" sldId="798"/>
            <ac:picMk id="4" creationId="{3268E2CD-034A-0355-88E6-A9987142F20D}"/>
          </ac:picMkLst>
        </pc:picChg>
      </pc:sldChg>
      <pc:sldChg chg="del">
        <pc:chgData name="Koksrud Andreas" userId="9d9beba6-c052-407a-8599-c781a677a996" providerId="ADAL" clId="{99DCF58A-61FD-4A82-B407-E5D0DF551B20}" dt="2023-12-25T11:56:06.978" v="4626" actId="47"/>
        <pc:sldMkLst>
          <pc:docMk/>
          <pc:sldMk cId="1792322963" sldId="799"/>
        </pc:sldMkLst>
      </pc:sldChg>
      <pc:sldChg chg="modSp mod">
        <pc:chgData name="Koksrud Andreas" userId="9d9beba6-c052-407a-8599-c781a677a996" providerId="ADAL" clId="{99DCF58A-61FD-4A82-B407-E5D0DF551B20}" dt="2023-12-23T13:46:54.082" v="662" actId="20577"/>
        <pc:sldMkLst>
          <pc:docMk/>
          <pc:sldMk cId="2075912972" sldId="800"/>
        </pc:sldMkLst>
        <pc:spChg chg="mod">
          <ac:chgData name="Koksrud Andreas" userId="9d9beba6-c052-407a-8599-c781a677a996" providerId="ADAL" clId="{99DCF58A-61FD-4A82-B407-E5D0DF551B20}" dt="2023-12-23T13:46:54.082" v="662" actId="20577"/>
          <ac:spMkLst>
            <pc:docMk/>
            <pc:sldMk cId="2075912972" sldId="800"/>
            <ac:spMk id="4" creationId="{1F0030D3-C16D-0458-39A0-65E4C91CE228}"/>
          </ac:spMkLst>
        </pc:spChg>
        <pc:graphicFrameChg chg="modGraphic">
          <ac:chgData name="Koksrud Andreas" userId="9d9beba6-c052-407a-8599-c781a677a996" providerId="ADAL" clId="{99DCF58A-61FD-4A82-B407-E5D0DF551B20}" dt="2023-12-23T13:44:40.802" v="262" actId="20577"/>
          <ac:graphicFrameMkLst>
            <pc:docMk/>
            <pc:sldMk cId="2075912972" sldId="800"/>
            <ac:graphicFrameMk id="3" creationId="{9988BFF9-164F-39C7-5576-A1BE9BB1B8AA}"/>
          </ac:graphicFrameMkLst>
        </pc:graphicFrameChg>
      </pc:sldChg>
      <pc:sldChg chg="del">
        <pc:chgData name="Koksrud Andreas" userId="9d9beba6-c052-407a-8599-c781a677a996" providerId="ADAL" clId="{99DCF58A-61FD-4A82-B407-E5D0DF551B20}" dt="2023-12-25T11:56:06.978" v="4626" actId="47"/>
        <pc:sldMkLst>
          <pc:docMk/>
          <pc:sldMk cId="1498060418" sldId="802"/>
        </pc:sldMkLst>
      </pc:sldChg>
      <pc:sldChg chg="del">
        <pc:chgData name="Koksrud Andreas" userId="9d9beba6-c052-407a-8599-c781a677a996" providerId="ADAL" clId="{99DCF58A-61FD-4A82-B407-E5D0DF551B20}" dt="2023-12-25T11:56:06.978" v="4626" actId="47"/>
        <pc:sldMkLst>
          <pc:docMk/>
          <pc:sldMk cId="4143839114" sldId="803"/>
        </pc:sldMkLst>
      </pc:sldChg>
      <pc:sldChg chg="del">
        <pc:chgData name="Koksrud Andreas" userId="9d9beba6-c052-407a-8599-c781a677a996" providerId="ADAL" clId="{99DCF58A-61FD-4A82-B407-E5D0DF551B20}" dt="2023-12-25T11:55:47.592" v="4623" actId="47"/>
        <pc:sldMkLst>
          <pc:docMk/>
          <pc:sldMk cId="650945980" sldId="804"/>
        </pc:sldMkLst>
      </pc:sldChg>
      <pc:sldChg chg="addSp delSp modSp mod">
        <pc:chgData name="Koksrud Andreas" userId="9d9beba6-c052-407a-8599-c781a677a996" providerId="ADAL" clId="{99DCF58A-61FD-4A82-B407-E5D0DF551B20}" dt="2023-12-23T16:57:18.903" v="1803" actId="732"/>
        <pc:sldMkLst>
          <pc:docMk/>
          <pc:sldMk cId="2074140981" sldId="806"/>
        </pc:sldMkLst>
        <pc:spChg chg="add mod">
          <ac:chgData name="Koksrud Andreas" userId="9d9beba6-c052-407a-8599-c781a677a996" providerId="ADAL" clId="{99DCF58A-61FD-4A82-B407-E5D0DF551B20}" dt="2023-12-23T16:54:28.615" v="1792" actId="20577"/>
          <ac:spMkLst>
            <pc:docMk/>
            <pc:sldMk cId="2074140981" sldId="806"/>
            <ac:spMk id="2" creationId="{9796E8C1-5924-9DB3-B51B-75296717F89F}"/>
          </ac:spMkLst>
        </pc:spChg>
        <pc:spChg chg="mod">
          <ac:chgData name="Koksrud Andreas" userId="9d9beba6-c052-407a-8599-c781a677a996" providerId="ADAL" clId="{99DCF58A-61FD-4A82-B407-E5D0DF551B20}" dt="2023-12-23T16:49:15.453" v="1603" actId="20577"/>
          <ac:spMkLst>
            <pc:docMk/>
            <pc:sldMk cId="2074140981" sldId="806"/>
            <ac:spMk id="180" creationId="{00000000-0000-0000-0000-000000000000}"/>
          </ac:spMkLst>
        </pc:spChg>
        <pc:picChg chg="del">
          <ac:chgData name="Koksrud Andreas" userId="9d9beba6-c052-407a-8599-c781a677a996" providerId="ADAL" clId="{99DCF58A-61FD-4A82-B407-E5D0DF551B20}" dt="2023-12-23T16:48:44.945" v="1550" actId="478"/>
          <ac:picMkLst>
            <pc:docMk/>
            <pc:sldMk cId="2074140981" sldId="806"/>
            <ac:picMk id="3" creationId="{CD99786B-35E2-BD35-7C6B-DEDF65490D16}"/>
          </ac:picMkLst>
        </pc:picChg>
        <pc:picChg chg="add mod modCrop">
          <ac:chgData name="Koksrud Andreas" userId="9d9beba6-c052-407a-8599-c781a677a996" providerId="ADAL" clId="{99DCF58A-61FD-4A82-B407-E5D0DF551B20}" dt="2023-12-23T16:56:11.410" v="1795" actId="1076"/>
          <ac:picMkLst>
            <pc:docMk/>
            <pc:sldMk cId="2074140981" sldId="806"/>
            <ac:picMk id="5" creationId="{632AF46E-F399-6B2B-6C7D-7AC32B6F15B1}"/>
          </ac:picMkLst>
        </pc:picChg>
        <pc:picChg chg="add mod modCrop">
          <ac:chgData name="Koksrud Andreas" userId="9d9beba6-c052-407a-8599-c781a677a996" providerId="ADAL" clId="{99DCF58A-61FD-4A82-B407-E5D0DF551B20}" dt="2023-12-23T16:57:18.903" v="1803" actId="732"/>
          <ac:picMkLst>
            <pc:docMk/>
            <pc:sldMk cId="2074140981" sldId="806"/>
            <ac:picMk id="7" creationId="{3D52F378-4BF7-C53D-61E4-B2111DE11E58}"/>
          </ac:picMkLst>
        </pc:picChg>
      </pc:sldChg>
      <pc:sldChg chg="del">
        <pc:chgData name="Koksrud Andreas" userId="9d9beba6-c052-407a-8599-c781a677a996" providerId="ADAL" clId="{99DCF58A-61FD-4A82-B407-E5D0DF551B20}" dt="2023-12-23T17:02:46.402" v="1897" actId="47"/>
        <pc:sldMkLst>
          <pc:docMk/>
          <pc:sldMk cId="3317680748" sldId="807"/>
        </pc:sldMkLst>
      </pc:sldChg>
      <pc:sldChg chg="del">
        <pc:chgData name="Koksrud Andreas" userId="9d9beba6-c052-407a-8599-c781a677a996" providerId="ADAL" clId="{99DCF58A-61FD-4A82-B407-E5D0DF551B20}" dt="2023-12-23T17:02:48.958" v="1898" actId="47"/>
        <pc:sldMkLst>
          <pc:docMk/>
          <pc:sldMk cId="197388729" sldId="808"/>
        </pc:sldMkLst>
      </pc:sldChg>
      <pc:sldChg chg="addSp delSp modSp mod">
        <pc:chgData name="Koksrud Andreas" userId="9d9beba6-c052-407a-8599-c781a677a996" providerId="ADAL" clId="{99DCF58A-61FD-4A82-B407-E5D0DF551B20}" dt="2023-12-23T16:51:44.527" v="1615" actId="13822"/>
        <pc:sldMkLst>
          <pc:docMk/>
          <pc:sldMk cId="1335476865" sldId="813"/>
        </pc:sldMkLst>
        <pc:spChg chg="add mod">
          <ac:chgData name="Koksrud Andreas" userId="9d9beba6-c052-407a-8599-c781a677a996" providerId="ADAL" clId="{99DCF58A-61FD-4A82-B407-E5D0DF551B20}" dt="2023-12-23T16:45:38.756" v="1509" actId="6549"/>
          <ac:spMkLst>
            <pc:docMk/>
            <pc:sldMk cId="1335476865" sldId="813"/>
            <ac:spMk id="5" creationId="{4544DAF9-645F-44E3-08C5-45A5700AF33A}"/>
          </ac:spMkLst>
        </pc:spChg>
        <pc:spChg chg="add mod">
          <ac:chgData name="Koksrud Andreas" userId="9d9beba6-c052-407a-8599-c781a677a996" providerId="ADAL" clId="{99DCF58A-61FD-4A82-B407-E5D0DF551B20}" dt="2023-12-23T16:50:58.385" v="1612" actId="14100"/>
          <ac:spMkLst>
            <pc:docMk/>
            <pc:sldMk cId="1335476865" sldId="813"/>
            <ac:spMk id="6" creationId="{8CB466B1-5D8D-577F-167C-F0D8E426E805}"/>
          </ac:spMkLst>
        </pc:spChg>
        <pc:spChg chg="add mod">
          <ac:chgData name="Koksrud Andreas" userId="9d9beba6-c052-407a-8599-c781a677a996" providerId="ADAL" clId="{99DCF58A-61FD-4A82-B407-E5D0DF551B20}" dt="2023-12-23T16:50:50.293" v="1610" actId="14100"/>
          <ac:spMkLst>
            <pc:docMk/>
            <pc:sldMk cId="1335476865" sldId="813"/>
            <ac:spMk id="7" creationId="{0A2971D7-73A6-15C4-DF47-BE19C2977C19}"/>
          </ac:spMkLst>
        </pc:spChg>
        <pc:spChg chg="add mod">
          <ac:chgData name="Koksrud Andreas" userId="9d9beba6-c052-407a-8599-c781a677a996" providerId="ADAL" clId="{99DCF58A-61FD-4A82-B407-E5D0DF551B20}" dt="2023-12-23T16:50:54.028" v="1611" actId="14100"/>
          <ac:spMkLst>
            <pc:docMk/>
            <pc:sldMk cId="1335476865" sldId="813"/>
            <ac:spMk id="8" creationId="{BC37532E-4FDD-8095-35D0-D09AA5F7FFD9}"/>
          </ac:spMkLst>
        </pc:spChg>
        <pc:spChg chg="mod">
          <ac:chgData name="Koksrud Andreas" userId="9d9beba6-c052-407a-8599-c781a677a996" providerId="ADAL" clId="{99DCF58A-61FD-4A82-B407-E5D0DF551B20}" dt="2023-12-23T13:52:12.996" v="1034" actId="20577"/>
          <ac:spMkLst>
            <pc:docMk/>
            <pc:sldMk cId="1335476865" sldId="813"/>
            <ac:spMk id="180" creationId="{00000000-0000-0000-0000-000000000000}"/>
          </ac:spMkLst>
        </pc:spChg>
        <pc:picChg chg="del">
          <ac:chgData name="Koksrud Andreas" userId="9d9beba6-c052-407a-8599-c781a677a996" providerId="ADAL" clId="{99DCF58A-61FD-4A82-B407-E5D0DF551B20}" dt="2023-12-23T15:55:27.556" v="1035" actId="478"/>
          <ac:picMkLst>
            <pc:docMk/>
            <pc:sldMk cId="1335476865" sldId="813"/>
            <ac:picMk id="2" creationId="{6CD256E6-0C7C-B0D1-6B31-4088F40945C9}"/>
          </ac:picMkLst>
        </pc:picChg>
        <pc:picChg chg="del">
          <ac:chgData name="Koksrud Andreas" userId="9d9beba6-c052-407a-8599-c781a677a996" providerId="ADAL" clId="{99DCF58A-61FD-4A82-B407-E5D0DF551B20}" dt="2023-12-23T15:55:29.244" v="1036" actId="478"/>
          <ac:picMkLst>
            <pc:docMk/>
            <pc:sldMk cId="1335476865" sldId="813"/>
            <ac:picMk id="3" creationId="{057FBA2D-1860-A8AE-0DCA-82E5436510A4}"/>
          </ac:picMkLst>
        </pc:picChg>
        <pc:picChg chg="del">
          <ac:chgData name="Koksrud Andreas" userId="9d9beba6-c052-407a-8599-c781a677a996" providerId="ADAL" clId="{99DCF58A-61FD-4A82-B407-E5D0DF551B20}" dt="2023-12-23T15:55:30.854" v="1037" actId="478"/>
          <ac:picMkLst>
            <pc:docMk/>
            <pc:sldMk cId="1335476865" sldId="813"/>
            <ac:picMk id="4" creationId="{E555DF2B-41C1-BC0F-6C1E-AE908DB7088B}"/>
          </ac:picMkLst>
        </pc:picChg>
        <pc:picChg chg="add mod modCrop">
          <ac:chgData name="Koksrud Andreas" userId="9d9beba6-c052-407a-8599-c781a677a996" providerId="ADAL" clId="{99DCF58A-61FD-4A82-B407-E5D0DF551B20}" dt="2023-12-23T16:51:00.335" v="1613" actId="1076"/>
          <ac:picMkLst>
            <pc:docMk/>
            <pc:sldMk cId="1335476865" sldId="813"/>
            <ac:picMk id="10" creationId="{AA68FF74-1E71-8AC5-422F-D994FA0F2BEE}"/>
          </ac:picMkLst>
        </pc:picChg>
        <pc:cxnChg chg="add mod">
          <ac:chgData name="Koksrud Andreas" userId="9d9beba6-c052-407a-8599-c781a677a996" providerId="ADAL" clId="{99DCF58A-61FD-4A82-B407-E5D0DF551B20}" dt="2023-12-23T16:51:44.527" v="1615" actId="13822"/>
          <ac:cxnSpMkLst>
            <pc:docMk/>
            <pc:sldMk cId="1335476865" sldId="813"/>
            <ac:cxnSpMk id="12" creationId="{571881FC-D844-8847-6B92-E6A6B16E93ED}"/>
          </ac:cxnSpMkLst>
        </pc:cxnChg>
      </pc:sldChg>
      <pc:sldChg chg="del">
        <pc:chgData name="Koksrud Andreas" userId="9d9beba6-c052-407a-8599-c781a677a996" providerId="ADAL" clId="{99DCF58A-61FD-4A82-B407-E5D0DF551B20}" dt="2023-12-25T11:55:46.922" v="4622" actId="47"/>
        <pc:sldMkLst>
          <pc:docMk/>
          <pc:sldMk cId="248187023" sldId="814"/>
        </pc:sldMkLst>
      </pc:sldChg>
      <pc:sldChg chg="del">
        <pc:chgData name="Koksrud Andreas" userId="9d9beba6-c052-407a-8599-c781a677a996" providerId="ADAL" clId="{99DCF58A-61FD-4A82-B407-E5D0DF551B20}" dt="2023-12-25T11:55:48.894" v="4624" actId="47"/>
        <pc:sldMkLst>
          <pc:docMk/>
          <pc:sldMk cId="2920848915" sldId="815"/>
        </pc:sldMkLst>
      </pc:sldChg>
      <pc:sldChg chg="del">
        <pc:chgData name="Koksrud Andreas" userId="9d9beba6-c052-407a-8599-c781a677a996" providerId="ADAL" clId="{99DCF58A-61FD-4A82-B407-E5D0DF551B20}" dt="2023-12-25T11:55:49.889" v="4625" actId="47"/>
        <pc:sldMkLst>
          <pc:docMk/>
          <pc:sldMk cId="2825686732" sldId="816"/>
        </pc:sldMkLst>
      </pc:sldChg>
      <pc:sldChg chg="del">
        <pc:chgData name="Koksrud Andreas" userId="9d9beba6-c052-407a-8599-c781a677a996" providerId="ADAL" clId="{99DCF58A-61FD-4A82-B407-E5D0DF551B20}" dt="2023-12-25T11:56:06.978" v="4626" actId="47"/>
        <pc:sldMkLst>
          <pc:docMk/>
          <pc:sldMk cId="3012956304" sldId="817"/>
        </pc:sldMkLst>
      </pc:sldChg>
      <pc:sldChg chg="del">
        <pc:chgData name="Koksrud Andreas" userId="9d9beba6-c052-407a-8599-c781a677a996" providerId="ADAL" clId="{99DCF58A-61FD-4A82-B407-E5D0DF551B20}" dt="2023-12-25T11:56:06.978" v="4626" actId="47"/>
        <pc:sldMkLst>
          <pc:docMk/>
          <pc:sldMk cId="958133851" sldId="818"/>
        </pc:sldMkLst>
      </pc:sldChg>
      <pc:sldChg chg="del">
        <pc:chgData name="Koksrud Andreas" userId="9d9beba6-c052-407a-8599-c781a677a996" providerId="ADAL" clId="{99DCF58A-61FD-4A82-B407-E5D0DF551B20}" dt="2023-12-25T11:56:06.978" v="4626" actId="47"/>
        <pc:sldMkLst>
          <pc:docMk/>
          <pc:sldMk cId="3123567294" sldId="819"/>
        </pc:sldMkLst>
      </pc:sldChg>
      <pc:sldChg chg="del">
        <pc:chgData name="Koksrud Andreas" userId="9d9beba6-c052-407a-8599-c781a677a996" providerId="ADAL" clId="{99DCF58A-61FD-4A82-B407-E5D0DF551B20}" dt="2023-12-25T11:56:06.978" v="4626" actId="47"/>
        <pc:sldMkLst>
          <pc:docMk/>
          <pc:sldMk cId="2810975730" sldId="820"/>
        </pc:sldMkLst>
      </pc:sldChg>
      <pc:sldChg chg="del">
        <pc:chgData name="Koksrud Andreas" userId="9d9beba6-c052-407a-8599-c781a677a996" providerId="ADAL" clId="{99DCF58A-61FD-4A82-B407-E5D0DF551B20}" dt="2023-12-25T11:56:06.978" v="4626" actId="47"/>
        <pc:sldMkLst>
          <pc:docMk/>
          <pc:sldMk cId="484354108" sldId="821"/>
        </pc:sldMkLst>
      </pc:sldChg>
      <pc:sldChg chg="del">
        <pc:chgData name="Koksrud Andreas" userId="9d9beba6-c052-407a-8599-c781a677a996" providerId="ADAL" clId="{99DCF58A-61FD-4A82-B407-E5D0DF551B20}" dt="2023-12-25T11:56:06.978" v="4626" actId="47"/>
        <pc:sldMkLst>
          <pc:docMk/>
          <pc:sldMk cId="1297674930" sldId="822"/>
        </pc:sldMkLst>
      </pc:sldChg>
      <pc:sldChg chg="del">
        <pc:chgData name="Koksrud Andreas" userId="9d9beba6-c052-407a-8599-c781a677a996" providerId="ADAL" clId="{99DCF58A-61FD-4A82-B407-E5D0DF551B20}" dt="2023-12-25T11:56:06.978" v="4626" actId="47"/>
        <pc:sldMkLst>
          <pc:docMk/>
          <pc:sldMk cId="3521479601" sldId="823"/>
        </pc:sldMkLst>
      </pc:sldChg>
      <pc:sldChg chg="del">
        <pc:chgData name="Koksrud Andreas" userId="9d9beba6-c052-407a-8599-c781a677a996" providerId="ADAL" clId="{99DCF58A-61FD-4A82-B407-E5D0DF551B20}" dt="2023-12-25T11:56:06.978" v="4626" actId="47"/>
        <pc:sldMkLst>
          <pc:docMk/>
          <pc:sldMk cId="2832886649" sldId="824"/>
        </pc:sldMkLst>
      </pc:sldChg>
      <pc:sldChg chg="del">
        <pc:chgData name="Koksrud Andreas" userId="9d9beba6-c052-407a-8599-c781a677a996" providerId="ADAL" clId="{99DCF58A-61FD-4A82-B407-E5D0DF551B20}" dt="2023-12-25T11:56:06.978" v="4626" actId="47"/>
        <pc:sldMkLst>
          <pc:docMk/>
          <pc:sldMk cId="3060428227" sldId="825"/>
        </pc:sldMkLst>
      </pc:sldChg>
      <pc:sldChg chg="del">
        <pc:chgData name="Koksrud Andreas" userId="9d9beba6-c052-407a-8599-c781a677a996" providerId="ADAL" clId="{99DCF58A-61FD-4A82-B407-E5D0DF551B20}" dt="2023-12-25T11:56:06.978" v="4626" actId="47"/>
        <pc:sldMkLst>
          <pc:docMk/>
          <pc:sldMk cId="4106763092" sldId="826"/>
        </pc:sldMkLst>
      </pc:sldChg>
      <pc:sldChg chg="del">
        <pc:chgData name="Koksrud Andreas" userId="9d9beba6-c052-407a-8599-c781a677a996" providerId="ADAL" clId="{99DCF58A-61FD-4A82-B407-E5D0DF551B20}" dt="2023-12-25T11:56:06.978" v="4626" actId="47"/>
        <pc:sldMkLst>
          <pc:docMk/>
          <pc:sldMk cId="3993021773" sldId="827"/>
        </pc:sldMkLst>
      </pc:sldChg>
      <pc:sldChg chg="del">
        <pc:chgData name="Koksrud Andreas" userId="9d9beba6-c052-407a-8599-c781a677a996" providerId="ADAL" clId="{99DCF58A-61FD-4A82-B407-E5D0DF551B20}" dt="2023-12-25T11:56:06.978" v="4626" actId="47"/>
        <pc:sldMkLst>
          <pc:docMk/>
          <pc:sldMk cId="4152257816" sldId="828"/>
        </pc:sldMkLst>
      </pc:sldChg>
      <pc:sldChg chg="del">
        <pc:chgData name="Koksrud Andreas" userId="9d9beba6-c052-407a-8599-c781a677a996" providerId="ADAL" clId="{99DCF58A-61FD-4A82-B407-E5D0DF551B20}" dt="2023-12-25T11:56:06.978" v="4626" actId="47"/>
        <pc:sldMkLst>
          <pc:docMk/>
          <pc:sldMk cId="1118305278" sldId="829"/>
        </pc:sldMkLst>
      </pc:sldChg>
      <pc:sldChg chg="del">
        <pc:chgData name="Koksrud Andreas" userId="9d9beba6-c052-407a-8599-c781a677a996" providerId="ADAL" clId="{99DCF58A-61FD-4A82-B407-E5D0DF551B20}" dt="2023-12-25T11:56:06.978" v="4626" actId="47"/>
        <pc:sldMkLst>
          <pc:docMk/>
          <pc:sldMk cId="1212745208" sldId="830"/>
        </pc:sldMkLst>
      </pc:sldChg>
      <pc:sldChg chg="del">
        <pc:chgData name="Koksrud Andreas" userId="9d9beba6-c052-407a-8599-c781a677a996" providerId="ADAL" clId="{99DCF58A-61FD-4A82-B407-E5D0DF551B20}" dt="2023-12-25T11:56:06.978" v="4626" actId="47"/>
        <pc:sldMkLst>
          <pc:docMk/>
          <pc:sldMk cId="67928958" sldId="831"/>
        </pc:sldMkLst>
      </pc:sldChg>
      <pc:sldChg chg="del">
        <pc:chgData name="Koksrud Andreas" userId="9d9beba6-c052-407a-8599-c781a677a996" providerId="ADAL" clId="{99DCF58A-61FD-4A82-B407-E5D0DF551B20}" dt="2023-12-25T11:56:06.978" v="4626" actId="47"/>
        <pc:sldMkLst>
          <pc:docMk/>
          <pc:sldMk cId="1745852061" sldId="832"/>
        </pc:sldMkLst>
      </pc:sldChg>
      <pc:sldChg chg="del">
        <pc:chgData name="Koksrud Andreas" userId="9d9beba6-c052-407a-8599-c781a677a996" providerId="ADAL" clId="{99DCF58A-61FD-4A82-B407-E5D0DF551B20}" dt="2023-12-25T11:56:06.978" v="4626" actId="47"/>
        <pc:sldMkLst>
          <pc:docMk/>
          <pc:sldMk cId="1408972888" sldId="833"/>
        </pc:sldMkLst>
      </pc:sldChg>
      <pc:sldChg chg="del">
        <pc:chgData name="Koksrud Andreas" userId="9d9beba6-c052-407a-8599-c781a677a996" providerId="ADAL" clId="{99DCF58A-61FD-4A82-B407-E5D0DF551B20}" dt="2023-12-25T11:56:06.978" v="4626" actId="47"/>
        <pc:sldMkLst>
          <pc:docMk/>
          <pc:sldMk cId="4111253885" sldId="834"/>
        </pc:sldMkLst>
      </pc:sldChg>
      <pc:sldChg chg="del">
        <pc:chgData name="Koksrud Andreas" userId="9d9beba6-c052-407a-8599-c781a677a996" providerId="ADAL" clId="{99DCF58A-61FD-4A82-B407-E5D0DF551B20}" dt="2023-12-25T11:56:06.978" v="4626" actId="47"/>
        <pc:sldMkLst>
          <pc:docMk/>
          <pc:sldMk cId="1712697486" sldId="835"/>
        </pc:sldMkLst>
      </pc:sldChg>
      <pc:sldChg chg="del">
        <pc:chgData name="Koksrud Andreas" userId="9d9beba6-c052-407a-8599-c781a677a996" providerId="ADAL" clId="{99DCF58A-61FD-4A82-B407-E5D0DF551B20}" dt="2023-12-25T11:56:06.978" v="4626" actId="47"/>
        <pc:sldMkLst>
          <pc:docMk/>
          <pc:sldMk cId="1864085447" sldId="836"/>
        </pc:sldMkLst>
      </pc:sldChg>
      <pc:sldChg chg="del">
        <pc:chgData name="Koksrud Andreas" userId="9d9beba6-c052-407a-8599-c781a677a996" providerId="ADAL" clId="{99DCF58A-61FD-4A82-B407-E5D0DF551B20}" dt="2023-12-25T11:56:06.978" v="4626" actId="47"/>
        <pc:sldMkLst>
          <pc:docMk/>
          <pc:sldMk cId="2778952537" sldId="837"/>
        </pc:sldMkLst>
      </pc:sldChg>
      <pc:sldChg chg="del">
        <pc:chgData name="Koksrud Andreas" userId="9d9beba6-c052-407a-8599-c781a677a996" providerId="ADAL" clId="{99DCF58A-61FD-4A82-B407-E5D0DF551B20}" dt="2023-12-25T11:56:06.978" v="4626" actId="47"/>
        <pc:sldMkLst>
          <pc:docMk/>
          <pc:sldMk cId="1436840472" sldId="838"/>
        </pc:sldMkLst>
      </pc:sldChg>
      <pc:sldChg chg="del">
        <pc:chgData name="Koksrud Andreas" userId="9d9beba6-c052-407a-8599-c781a677a996" providerId="ADAL" clId="{99DCF58A-61FD-4A82-B407-E5D0DF551B20}" dt="2023-12-25T11:56:06.978" v="4626" actId="47"/>
        <pc:sldMkLst>
          <pc:docMk/>
          <pc:sldMk cId="1070812493" sldId="839"/>
        </pc:sldMkLst>
      </pc:sldChg>
      <pc:sldChg chg="del">
        <pc:chgData name="Koksrud Andreas" userId="9d9beba6-c052-407a-8599-c781a677a996" providerId="ADAL" clId="{99DCF58A-61FD-4A82-B407-E5D0DF551B20}" dt="2023-12-25T11:56:06.978" v="4626" actId="47"/>
        <pc:sldMkLst>
          <pc:docMk/>
          <pc:sldMk cId="2685798531" sldId="840"/>
        </pc:sldMkLst>
      </pc:sldChg>
      <pc:sldChg chg="del">
        <pc:chgData name="Koksrud Andreas" userId="9d9beba6-c052-407a-8599-c781a677a996" providerId="ADAL" clId="{99DCF58A-61FD-4A82-B407-E5D0DF551B20}" dt="2023-12-25T11:56:06.978" v="4626" actId="47"/>
        <pc:sldMkLst>
          <pc:docMk/>
          <pc:sldMk cId="2309282967" sldId="841"/>
        </pc:sldMkLst>
      </pc:sldChg>
      <pc:sldChg chg="del">
        <pc:chgData name="Koksrud Andreas" userId="9d9beba6-c052-407a-8599-c781a677a996" providerId="ADAL" clId="{99DCF58A-61FD-4A82-B407-E5D0DF551B20}" dt="2023-12-25T11:56:06.978" v="4626" actId="47"/>
        <pc:sldMkLst>
          <pc:docMk/>
          <pc:sldMk cId="685011829" sldId="842"/>
        </pc:sldMkLst>
      </pc:sldChg>
      <pc:sldChg chg="modSp mod">
        <pc:chgData name="Koksrud Andreas" userId="9d9beba6-c052-407a-8599-c781a677a996" providerId="ADAL" clId="{99DCF58A-61FD-4A82-B407-E5D0DF551B20}" dt="2023-12-23T17:03:37.350" v="1959" actId="20577"/>
        <pc:sldMkLst>
          <pc:docMk/>
          <pc:sldMk cId="798825500" sldId="844"/>
        </pc:sldMkLst>
        <pc:spChg chg="mod">
          <ac:chgData name="Koksrud Andreas" userId="9d9beba6-c052-407a-8599-c781a677a996" providerId="ADAL" clId="{99DCF58A-61FD-4A82-B407-E5D0DF551B20}" dt="2023-12-23T17:03:37.350" v="1959" actId="20577"/>
          <ac:spMkLst>
            <pc:docMk/>
            <pc:sldMk cId="798825500" sldId="844"/>
            <ac:spMk id="2" creationId="{244AF8B4-0676-DA57-A478-7C2D0FFFC8AA}"/>
          </ac:spMkLst>
        </pc:spChg>
      </pc:sldChg>
      <pc:sldChg chg="del">
        <pc:chgData name="Koksrud Andreas" userId="9d9beba6-c052-407a-8599-c781a677a996" providerId="ADAL" clId="{99DCF58A-61FD-4A82-B407-E5D0DF551B20}" dt="2023-12-25T11:56:06.978" v="4626" actId="47"/>
        <pc:sldMkLst>
          <pc:docMk/>
          <pc:sldMk cId="3245717989" sldId="845"/>
        </pc:sldMkLst>
      </pc:sldChg>
      <pc:sldChg chg="del">
        <pc:chgData name="Koksrud Andreas" userId="9d9beba6-c052-407a-8599-c781a677a996" providerId="ADAL" clId="{99DCF58A-61FD-4A82-B407-E5D0DF551B20}" dt="2023-12-25T11:56:06.978" v="4626" actId="47"/>
        <pc:sldMkLst>
          <pc:docMk/>
          <pc:sldMk cId="3805266284" sldId="846"/>
        </pc:sldMkLst>
      </pc:sldChg>
      <pc:sldChg chg="del">
        <pc:chgData name="Koksrud Andreas" userId="9d9beba6-c052-407a-8599-c781a677a996" providerId="ADAL" clId="{99DCF58A-61FD-4A82-B407-E5D0DF551B20}" dt="2023-12-25T11:56:06.978" v="4626" actId="47"/>
        <pc:sldMkLst>
          <pc:docMk/>
          <pc:sldMk cId="1521086367" sldId="847"/>
        </pc:sldMkLst>
      </pc:sldChg>
      <pc:sldChg chg="modSp add mod">
        <pc:chgData name="Koksrud Andreas" userId="9d9beba6-c052-407a-8599-c781a677a996" providerId="ADAL" clId="{99DCF58A-61FD-4A82-B407-E5D0DF551B20}" dt="2023-12-23T17:02:19.096" v="1896" actId="20577"/>
        <pc:sldMkLst>
          <pc:docMk/>
          <pc:sldMk cId="2885639092" sldId="848"/>
        </pc:sldMkLst>
        <pc:spChg chg="mod">
          <ac:chgData name="Koksrud Andreas" userId="9d9beba6-c052-407a-8599-c781a677a996" providerId="ADAL" clId="{99DCF58A-61FD-4A82-B407-E5D0DF551B20}" dt="2023-12-23T13:50:49.769" v="898" actId="20577"/>
          <ac:spMkLst>
            <pc:docMk/>
            <pc:sldMk cId="2885639092" sldId="848"/>
            <ac:spMk id="180" creationId="{00000000-0000-0000-0000-000000000000}"/>
          </ac:spMkLst>
        </pc:spChg>
        <pc:spChg chg="mod">
          <ac:chgData name="Koksrud Andreas" userId="9d9beba6-c052-407a-8599-c781a677a996" providerId="ADAL" clId="{99DCF58A-61FD-4A82-B407-E5D0DF551B20}" dt="2023-12-23T17:02:19.096" v="1896" actId="20577"/>
          <ac:spMkLst>
            <pc:docMk/>
            <pc:sldMk cId="2885639092" sldId="848"/>
            <ac:spMk id="181" creationId="{00000000-0000-0000-0000-000000000000}"/>
          </ac:spMkLst>
        </pc:spChg>
      </pc:sldChg>
      <pc:sldChg chg="addSp delSp modSp add mod">
        <pc:chgData name="Koksrud Andreas" userId="9d9beba6-c052-407a-8599-c781a677a996" providerId="ADAL" clId="{99DCF58A-61FD-4A82-B407-E5D0DF551B20}" dt="2023-12-23T16:59:59.967" v="1815" actId="1076"/>
        <pc:sldMkLst>
          <pc:docMk/>
          <pc:sldMk cId="1110680622" sldId="849"/>
        </pc:sldMkLst>
        <pc:spChg chg="add del mod">
          <ac:chgData name="Koksrud Andreas" userId="9d9beba6-c052-407a-8599-c781a677a996" providerId="ADAL" clId="{99DCF58A-61FD-4A82-B407-E5D0DF551B20}" dt="2023-12-23T16:59:57.116" v="1813" actId="478"/>
          <ac:spMkLst>
            <pc:docMk/>
            <pc:sldMk cId="1110680622" sldId="849"/>
            <ac:spMk id="3" creationId="{F3DDEA5A-FF9D-F283-0D33-DBFF55611C70}"/>
          </ac:spMkLst>
        </pc:spChg>
        <pc:spChg chg="del mod">
          <ac:chgData name="Koksrud Andreas" userId="9d9beba6-c052-407a-8599-c781a677a996" providerId="ADAL" clId="{99DCF58A-61FD-4A82-B407-E5D0DF551B20}" dt="2023-12-23T16:59:52.556" v="1812" actId="478"/>
          <ac:spMkLst>
            <pc:docMk/>
            <pc:sldMk cId="1110680622" sldId="849"/>
            <ac:spMk id="5" creationId="{4544DAF9-645F-44E3-08C5-45A5700AF33A}"/>
          </ac:spMkLst>
        </pc:spChg>
        <pc:spChg chg="del">
          <ac:chgData name="Koksrud Andreas" userId="9d9beba6-c052-407a-8599-c781a677a996" providerId="ADAL" clId="{99DCF58A-61FD-4A82-B407-E5D0DF551B20}" dt="2023-12-23T16:58:25.552" v="1809" actId="478"/>
          <ac:spMkLst>
            <pc:docMk/>
            <pc:sldMk cId="1110680622" sldId="849"/>
            <ac:spMk id="6" creationId="{8CB466B1-5D8D-577F-167C-F0D8E426E805}"/>
          </ac:spMkLst>
        </pc:spChg>
        <pc:spChg chg="del mod">
          <ac:chgData name="Koksrud Andreas" userId="9d9beba6-c052-407a-8599-c781a677a996" providerId="ADAL" clId="{99DCF58A-61FD-4A82-B407-E5D0DF551B20}" dt="2023-12-23T16:58:22.443" v="1808" actId="478"/>
          <ac:spMkLst>
            <pc:docMk/>
            <pc:sldMk cId="1110680622" sldId="849"/>
            <ac:spMk id="7" creationId="{0A2971D7-73A6-15C4-DF47-BE19C2977C19}"/>
          </ac:spMkLst>
        </pc:spChg>
        <pc:spChg chg="del">
          <ac:chgData name="Koksrud Andreas" userId="9d9beba6-c052-407a-8599-c781a677a996" providerId="ADAL" clId="{99DCF58A-61FD-4A82-B407-E5D0DF551B20}" dt="2023-12-23T16:58:30.427" v="1811" actId="478"/>
          <ac:spMkLst>
            <pc:docMk/>
            <pc:sldMk cId="1110680622" sldId="849"/>
            <ac:spMk id="8" creationId="{BC37532E-4FDD-8095-35D0-D09AA5F7FFD9}"/>
          </ac:spMkLst>
        </pc:spChg>
        <pc:picChg chg="add mod">
          <ac:chgData name="Koksrud Andreas" userId="9d9beba6-c052-407a-8599-c781a677a996" providerId="ADAL" clId="{99DCF58A-61FD-4A82-B407-E5D0DF551B20}" dt="2023-12-23T16:59:59.967" v="1815" actId="1076"/>
          <ac:picMkLst>
            <pc:docMk/>
            <pc:sldMk cId="1110680622" sldId="849"/>
            <ac:picMk id="9" creationId="{A1B7BC37-9C76-1716-BADE-08A1125AAD07}"/>
          </ac:picMkLst>
        </pc:picChg>
        <pc:picChg chg="del">
          <ac:chgData name="Koksrud Andreas" userId="9d9beba6-c052-407a-8599-c781a677a996" providerId="ADAL" clId="{99DCF58A-61FD-4A82-B407-E5D0DF551B20}" dt="2023-12-23T16:58:12.868" v="1806" actId="478"/>
          <ac:picMkLst>
            <pc:docMk/>
            <pc:sldMk cId="1110680622" sldId="849"/>
            <ac:picMk id="10" creationId="{AA68FF74-1E71-8AC5-422F-D994FA0F2BEE}"/>
          </ac:picMkLst>
        </pc:picChg>
        <pc:cxnChg chg="del mod">
          <ac:chgData name="Koksrud Andreas" userId="9d9beba6-c052-407a-8599-c781a677a996" providerId="ADAL" clId="{99DCF58A-61FD-4A82-B407-E5D0DF551B20}" dt="2023-12-23T16:58:28.171" v="1810" actId="478"/>
          <ac:cxnSpMkLst>
            <pc:docMk/>
            <pc:sldMk cId="1110680622" sldId="849"/>
            <ac:cxnSpMk id="12" creationId="{571881FC-D844-8847-6B92-E6A6B16E93ED}"/>
          </ac:cxnSpMkLst>
        </pc:cxnChg>
      </pc:sldChg>
      <pc:sldChg chg="addSp modSp add mod">
        <pc:chgData name="Koksrud Andreas" userId="9d9beba6-c052-407a-8599-c781a677a996" providerId="ADAL" clId="{99DCF58A-61FD-4A82-B407-E5D0DF551B20}" dt="2023-12-25T12:19:14.875" v="4726" actId="20577"/>
        <pc:sldMkLst>
          <pc:docMk/>
          <pc:sldMk cId="468106742" sldId="850"/>
        </pc:sldMkLst>
        <pc:spChg chg="mod">
          <ac:chgData name="Koksrud Andreas" userId="9d9beba6-c052-407a-8599-c781a677a996" providerId="ADAL" clId="{99DCF58A-61FD-4A82-B407-E5D0DF551B20}" dt="2023-12-25T12:19:14.875" v="4726" actId="20577"/>
          <ac:spMkLst>
            <pc:docMk/>
            <pc:sldMk cId="468106742" sldId="850"/>
            <ac:spMk id="2" creationId="{E5D5B057-1D39-AC88-396C-0D888288A2E9}"/>
          </ac:spMkLst>
        </pc:spChg>
        <pc:spChg chg="mod">
          <ac:chgData name="Koksrud Andreas" userId="9d9beba6-c052-407a-8599-c781a677a996" providerId="ADAL" clId="{99DCF58A-61FD-4A82-B407-E5D0DF551B20}" dt="2023-12-23T17:05:30.370" v="2036" actId="20577"/>
          <ac:spMkLst>
            <pc:docMk/>
            <pc:sldMk cId="468106742" sldId="850"/>
            <ac:spMk id="181" creationId="{00000000-0000-0000-0000-000000000000}"/>
          </ac:spMkLst>
        </pc:spChg>
        <pc:picChg chg="add mod">
          <ac:chgData name="Koksrud Andreas" userId="9d9beba6-c052-407a-8599-c781a677a996" providerId="ADAL" clId="{99DCF58A-61FD-4A82-B407-E5D0DF551B20}" dt="2023-12-25T10:31:46.505" v="2947" actId="1076"/>
          <ac:picMkLst>
            <pc:docMk/>
            <pc:sldMk cId="468106742" sldId="850"/>
            <ac:picMk id="4" creationId="{DAFB24D8-8A72-E60E-7452-B30CE6AA11AA}"/>
          </ac:picMkLst>
        </pc:picChg>
      </pc:sldChg>
      <pc:sldChg chg="addSp delSp modSp add mod">
        <pc:chgData name="Koksrud Andreas" userId="9d9beba6-c052-407a-8599-c781a677a996" providerId="ADAL" clId="{99DCF58A-61FD-4A82-B407-E5D0DF551B20}" dt="2023-12-23T17:15:41.989" v="2232" actId="20577"/>
        <pc:sldMkLst>
          <pc:docMk/>
          <pc:sldMk cId="111200460" sldId="851"/>
        </pc:sldMkLst>
        <pc:spChg chg="mod">
          <ac:chgData name="Koksrud Andreas" userId="9d9beba6-c052-407a-8599-c781a677a996" providerId="ADAL" clId="{99DCF58A-61FD-4A82-B407-E5D0DF551B20}" dt="2023-12-23T17:15:41.989" v="2232" actId="20577"/>
          <ac:spMkLst>
            <pc:docMk/>
            <pc:sldMk cId="111200460" sldId="851"/>
            <ac:spMk id="2" creationId="{9796E8C1-5924-9DB3-B51B-75296717F89F}"/>
          </ac:spMkLst>
        </pc:spChg>
        <pc:spChg chg="mod">
          <ac:chgData name="Koksrud Andreas" userId="9d9beba6-c052-407a-8599-c781a677a996" providerId="ADAL" clId="{99DCF58A-61FD-4A82-B407-E5D0DF551B20}" dt="2023-12-23T17:06:36.540" v="2078" actId="20577"/>
          <ac:spMkLst>
            <pc:docMk/>
            <pc:sldMk cId="111200460" sldId="851"/>
            <ac:spMk id="180" creationId="{00000000-0000-0000-0000-000000000000}"/>
          </ac:spMkLst>
        </pc:spChg>
        <pc:picChg chg="add mod">
          <ac:chgData name="Koksrud Andreas" userId="9d9beba6-c052-407a-8599-c781a677a996" providerId="ADAL" clId="{99DCF58A-61FD-4A82-B407-E5D0DF551B20}" dt="2023-12-23T17:07:48.134" v="2148" actId="1076"/>
          <ac:picMkLst>
            <pc:docMk/>
            <pc:sldMk cId="111200460" sldId="851"/>
            <ac:picMk id="4" creationId="{A117DACA-C1A6-275A-7BD1-2360ECC4082D}"/>
          </ac:picMkLst>
        </pc:picChg>
        <pc:picChg chg="del">
          <ac:chgData name="Koksrud Andreas" userId="9d9beba6-c052-407a-8599-c781a677a996" providerId="ADAL" clId="{99DCF58A-61FD-4A82-B407-E5D0DF551B20}" dt="2023-12-23T17:08:06.239" v="2151" actId="478"/>
          <ac:picMkLst>
            <pc:docMk/>
            <pc:sldMk cId="111200460" sldId="851"/>
            <ac:picMk id="5" creationId="{632AF46E-F399-6B2B-6C7D-7AC32B6F15B1}"/>
          </ac:picMkLst>
        </pc:picChg>
        <pc:picChg chg="del">
          <ac:chgData name="Koksrud Andreas" userId="9d9beba6-c052-407a-8599-c781a677a996" providerId="ADAL" clId="{99DCF58A-61FD-4A82-B407-E5D0DF551B20}" dt="2023-12-23T17:06:54.579" v="2146" actId="478"/>
          <ac:picMkLst>
            <pc:docMk/>
            <pc:sldMk cId="111200460" sldId="851"/>
            <ac:picMk id="7" creationId="{3D52F378-4BF7-C53D-61E4-B2111DE11E58}"/>
          </ac:picMkLst>
        </pc:picChg>
        <pc:picChg chg="add mod">
          <ac:chgData name="Koksrud Andreas" userId="9d9beba6-c052-407a-8599-c781a677a996" providerId="ADAL" clId="{99DCF58A-61FD-4A82-B407-E5D0DF551B20}" dt="2023-12-23T17:08:01.911" v="2150" actId="1076"/>
          <ac:picMkLst>
            <pc:docMk/>
            <pc:sldMk cId="111200460" sldId="851"/>
            <ac:picMk id="8" creationId="{4F2E0746-AB7E-8FFA-5EB8-27DC59896E78}"/>
          </ac:picMkLst>
        </pc:picChg>
        <pc:picChg chg="add mod">
          <ac:chgData name="Koksrud Andreas" userId="9d9beba6-c052-407a-8599-c781a677a996" providerId="ADAL" clId="{99DCF58A-61FD-4A82-B407-E5D0DF551B20}" dt="2023-12-23T17:08:34.319" v="2176" actId="1076"/>
          <ac:picMkLst>
            <pc:docMk/>
            <pc:sldMk cId="111200460" sldId="851"/>
            <ac:picMk id="10" creationId="{84B4AB2F-BDD5-CCF8-5A86-07DB001AD76E}"/>
          </ac:picMkLst>
        </pc:picChg>
        <pc:picChg chg="add mod">
          <ac:chgData name="Koksrud Andreas" userId="9d9beba6-c052-407a-8599-c781a677a996" providerId="ADAL" clId="{99DCF58A-61FD-4A82-B407-E5D0DF551B20}" dt="2023-12-23T17:08:58.788" v="2178" actId="1076"/>
          <ac:picMkLst>
            <pc:docMk/>
            <pc:sldMk cId="111200460" sldId="851"/>
            <ac:picMk id="12" creationId="{CFB3BDB7-C0DA-4534-744D-5D638A243444}"/>
          </ac:picMkLst>
        </pc:picChg>
      </pc:sldChg>
      <pc:sldChg chg="addSp delSp modSp add mod">
        <pc:chgData name="Koksrud Andreas" userId="9d9beba6-c052-407a-8599-c781a677a996" providerId="ADAL" clId="{99DCF58A-61FD-4A82-B407-E5D0DF551B20}" dt="2023-12-23T17:24:35.235" v="2689" actId="14100"/>
        <pc:sldMkLst>
          <pc:docMk/>
          <pc:sldMk cId="82959561" sldId="852"/>
        </pc:sldMkLst>
        <pc:spChg chg="mod">
          <ac:chgData name="Koksrud Andreas" userId="9d9beba6-c052-407a-8599-c781a677a996" providerId="ADAL" clId="{99DCF58A-61FD-4A82-B407-E5D0DF551B20}" dt="2023-12-23T17:21:46.912" v="2654" actId="20577"/>
          <ac:spMkLst>
            <pc:docMk/>
            <pc:sldMk cId="82959561" sldId="852"/>
            <ac:spMk id="2" creationId="{9796E8C1-5924-9DB3-B51B-75296717F89F}"/>
          </ac:spMkLst>
        </pc:spChg>
        <pc:spChg chg="add mod">
          <ac:chgData name="Koksrud Andreas" userId="9d9beba6-c052-407a-8599-c781a677a996" providerId="ADAL" clId="{99DCF58A-61FD-4A82-B407-E5D0DF551B20}" dt="2023-12-23T17:20:57.492" v="2650" actId="1036"/>
          <ac:spMkLst>
            <pc:docMk/>
            <pc:sldMk cId="82959561" sldId="852"/>
            <ac:spMk id="3" creationId="{E2FC66EE-6574-DE84-F5EB-CE41D3D9BD4D}"/>
          </ac:spMkLst>
        </pc:spChg>
        <pc:spChg chg="add mod">
          <ac:chgData name="Koksrud Andreas" userId="9d9beba6-c052-407a-8599-c781a677a996" providerId="ADAL" clId="{99DCF58A-61FD-4A82-B407-E5D0DF551B20}" dt="2023-12-23T17:22:26.373" v="2686" actId="1036"/>
          <ac:spMkLst>
            <pc:docMk/>
            <pc:sldMk cId="82959561" sldId="852"/>
            <ac:spMk id="5" creationId="{7036E668-80F1-72C2-4389-0D23C3EB29AE}"/>
          </ac:spMkLst>
        </pc:spChg>
        <pc:spChg chg="mod">
          <ac:chgData name="Koksrud Andreas" userId="9d9beba6-c052-407a-8599-c781a677a996" providerId="ADAL" clId="{99DCF58A-61FD-4A82-B407-E5D0DF551B20}" dt="2023-12-23T17:15:54.295" v="2254" actId="20577"/>
          <ac:spMkLst>
            <pc:docMk/>
            <pc:sldMk cId="82959561" sldId="852"/>
            <ac:spMk id="180" creationId="{00000000-0000-0000-0000-000000000000}"/>
          </ac:spMkLst>
        </pc:spChg>
        <pc:picChg chg="del">
          <ac:chgData name="Koksrud Andreas" userId="9d9beba6-c052-407a-8599-c781a677a996" providerId="ADAL" clId="{99DCF58A-61FD-4A82-B407-E5D0DF551B20}" dt="2023-12-23T17:16:09.388" v="2288" actId="478"/>
          <ac:picMkLst>
            <pc:docMk/>
            <pc:sldMk cId="82959561" sldId="852"/>
            <ac:picMk id="4" creationId="{A117DACA-C1A6-275A-7BD1-2360ECC4082D}"/>
          </ac:picMkLst>
        </pc:picChg>
        <pc:picChg chg="add mod">
          <ac:chgData name="Koksrud Andreas" userId="9d9beba6-c052-407a-8599-c781a677a996" providerId="ADAL" clId="{99DCF58A-61FD-4A82-B407-E5D0DF551B20}" dt="2023-12-23T17:20:49.245" v="2615" actId="1035"/>
          <ac:picMkLst>
            <pc:docMk/>
            <pc:sldMk cId="82959561" sldId="852"/>
            <ac:picMk id="7" creationId="{7AA2FE90-E597-17D6-B03C-47B9566EA174}"/>
          </ac:picMkLst>
        </pc:picChg>
        <pc:picChg chg="del">
          <ac:chgData name="Koksrud Andreas" userId="9d9beba6-c052-407a-8599-c781a677a996" providerId="ADAL" clId="{99DCF58A-61FD-4A82-B407-E5D0DF551B20}" dt="2023-12-23T17:16:07.676" v="2287" actId="478"/>
          <ac:picMkLst>
            <pc:docMk/>
            <pc:sldMk cId="82959561" sldId="852"/>
            <ac:picMk id="8" creationId="{4F2E0746-AB7E-8FFA-5EB8-27DC59896E78}"/>
          </ac:picMkLst>
        </pc:picChg>
        <pc:picChg chg="del">
          <ac:chgData name="Koksrud Andreas" userId="9d9beba6-c052-407a-8599-c781a677a996" providerId="ADAL" clId="{99DCF58A-61FD-4A82-B407-E5D0DF551B20}" dt="2023-12-23T17:16:53.403" v="2289" actId="478"/>
          <ac:picMkLst>
            <pc:docMk/>
            <pc:sldMk cId="82959561" sldId="852"/>
            <ac:picMk id="10" creationId="{84B4AB2F-BDD5-CCF8-5A86-07DB001AD76E}"/>
          </ac:picMkLst>
        </pc:picChg>
        <pc:picChg chg="add mod modCrop">
          <ac:chgData name="Koksrud Andreas" userId="9d9beba6-c052-407a-8599-c781a677a996" providerId="ADAL" clId="{99DCF58A-61FD-4A82-B407-E5D0DF551B20}" dt="2023-12-23T17:22:16.049" v="2667" actId="1036"/>
          <ac:picMkLst>
            <pc:docMk/>
            <pc:sldMk cId="82959561" sldId="852"/>
            <ac:picMk id="11" creationId="{2868BE7C-4B81-D511-B4A8-04F15B2052D0}"/>
          </ac:picMkLst>
        </pc:picChg>
        <pc:picChg chg="del">
          <ac:chgData name="Koksrud Andreas" userId="9d9beba6-c052-407a-8599-c781a677a996" providerId="ADAL" clId="{99DCF58A-61FD-4A82-B407-E5D0DF551B20}" dt="2023-12-23T17:17:13.290" v="2334" actId="478"/>
          <ac:picMkLst>
            <pc:docMk/>
            <pc:sldMk cId="82959561" sldId="852"/>
            <ac:picMk id="12" creationId="{CFB3BDB7-C0DA-4534-744D-5D638A243444}"/>
          </ac:picMkLst>
        </pc:picChg>
        <pc:picChg chg="add mod">
          <ac:chgData name="Koksrud Andreas" userId="9d9beba6-c052-407a-8599-c781a677a996" providerId="ADAL" clId="{99DCF58A-61FD-4A82-B407-E5D0DF551B20}" dt="2023-12-23T17:24:35.235" v="2689" actId="14100"/>
          <ac:picMkLst>
            <pc:docMk/>
            <pc:sldMk cId="82959561" sldId="852"/>
            <ac:picMk id="14" creationId="{03B59CC9-E249-2BE7-157B-EBAF15A10EC7}"/>
          </ac:picMkLst>
        </pc:picChg>
      </pc:sldChg>
      <pc:sldChg chg="addSp delSp modSp add mod ord">
        <pc:chgData name="Koksrud Andreas" userId="9d9beba6-c052-407a-8599-c781a677a996" providerId="ADAL" clId="{99DCF58A-61FD-4A82-B407-E5D0DF551B20}" dt="2023-12-25T11:02:43.820" v="3674" actId="14100"/>
        <pc:sldMkLst>
          <pc:docMk/>
          <pc:sldMk cId="911993613" sldId="853"/>
        </pc:sldMkLst>
        <pc:spChg chg="mod">
          <ac:chgData name="Koksrud Andreas" userId="9d9beba6-c052-407a-8599-c781a677a996" providerId="ADAL" clId="{99DCF58A-61FD-4A82-B407-E5D0DF551B20}" dt="2023-12-25T10:16:44.707" v="2879" actId="6549"/>
          <ac:spMkLst>
            <pc:docMk/>
            <pc:sldMk cId="911993613" sldId="853"/>
            <ac:spMk id="2" creationId="{9796E8C1-5924-9DB3-B51B-75296717F89F}"/>
          </ac:spMkLst>
        </pc:spChg>
        <pc:spChg chg="add mod">
          <ac:chgData name="Koksrud Andreas" userId="9d9beba6-c052-407a-8599-c781a677a996" providerId="ADAL" clId="{99DCF58A-61FD-4A82-B407-E5D0DF551B20}" dt="2023-12-25T11:01:12.508" v="3619" actId="14100"/>
          <ac:spMkLst>
            <pc:docMk/>
            <pc:sldMk cId="911993613" sldId="853"/>
            <ac:spMk id="10" creationId="{54FB830F-DBF4-1B20-3C76-0E40DC07965B}"/>
          </ac:spMkLst>
        </pc:spChg>
        <pc:spChg chg="add mod">
          <ac:chgData name="Koksrud Andreas" userId="9d9beba6-c052-407a-8599-c781a677a996" providerId="ADAL" clId="{99DCF58A-61FD-4A82-B407-E5D0DF551B20}" dt="2023-12-25T11:01:37.348" v="3642" actId="14100"/>
          <ac:spMkLst>
            <pc:docMk/>
            <pc:sldMk cId="911993613" sldId="853"/>
            <ac:spMk id="13" creationId="{252FE080-F115-3517-B2CA-BD200A8AADA8}"/>
          </ac:spMkLst>
        </pc:spChg>
        <pc:spChg chg="add mod">
          <ac:chgData name="Koksrud Andreas" userId="9d9beba6-c052-407a-8599-c781a677a996" providerId="ADAL" clId="{99DCF58A-61FD-4A82-B407-E5D0DF551B20}" dt="2023-12-25T11:02:28.389" v="3670" actId="14100"/>
          <ac:spMkLst>
            <pc:docMk/>
            <pc:sldMk cId="911993613" sldId="853"/>
            <ac:spMk id="18" creationId="{689B3815-DD1B-BFC6-4AC3-949A67D41B7D}"/>
          </ac:spMkLst>
        </pc:spChg>
        <pc:spChg chg="mod">
          <ac:chgData name="Koksrud Andreas" userId="9d9beba6-c052-407a-8599-c781a677a996" providerId="ADAL" clId="{99DCF58A-61FD-4A82-B407-E5D0DF551B20}" dt="2023-12-25T10:16:06.602" v="2875" actId="20577"/>
          <ac:spMkLst>
            <pc:docMk/>
            <pc:sldMk cId="911993613" sldId="853"/>
            <ac:spMk id="180" creationId="{00000000-0000-0000-0000-000000000000}"/>
          </ac:spMkLst>
        </pc:spChg>
        <pc:picChg chg="add del mod">
          <ac:chgData name="Koksrud Andreas" userId="9d9beba6-c052-407a-8599-c781a677a996" providerId="ADAL" clId="{99DCF58A-61FD-4A82-B407-E5D0DF551B20}" dt="2023-12-25T10:18:59.640" v="2885" actId="21"/>
          <ac:picMkLst>
            <pc:docMk/>
            <pc:sldMk cId="911993613" sldId="853"/>
            <ac:picMk id="4" creationId="{B7C7F98A-F1E5-1B87-7A46-311BE4B59810}"/>
          </ac:picMkLst>
        </pc:picChg>
        <pc:picChg chg="del">
          <ac:chgData name="Koksrud Andreas" userId="9d9beba6-c052-407a-8599-c781a677a996" providerId="ADAL" clId="{99DCF58A-61FD-4A82-B407-E5D0DF551B20}" dt="2023-12-25T10:16:47.034" v="2881" actId="478"/>
          <ac:picMkLst>
            <pc:docMk/>
            <pc:sldMk cId="911993613" sldId="853"/>
            <ac:picMk id="5" creationId="{632AF46E-F399-6B2B-6C7D-7AC32B6F15B1}"/>
          </ac:picMkLst>
        </pc:picChg>
        <pc:picChg chg="add del mod">
          <ac:chgData name="Koksrud Andreas" userId="9d9beba6-c052-407a-8599-c781a677a996" providerId="ADAL" clId="{99DCF58A-61FD-4A82-B407-E5D0DF551B20}" dt="2023-12-25T10:19:10.793" v="2888" actId="478"/>
          <ac:picMkLst>
            <pc:docMk/>
            <pc:sldMk cId="911993613" sldId="853"/>
            <ac:picMk id="6" creationId="{E8F7C5EA-972A-1B1C-EE7A-DA3C4CD80932}"/>
          </ac:picMkLst>
        </pc:picChg>
        <pc:picChg chg="del">
          <ac:chgData name="Koksrud Andreas" userId="9d9beba6-c052-407a-8599-c781a677a996" providerId="ADAL" clId="{99DCF58A-61FD-4A82-B407-E5D0DF551B20}" dt="2023-12-25T10:16:46.467" v="2880" actId="478"/>
          <ac:picMkLst>
            <pc:docMk/>
            <pc:sldMk cId="911993613" sldId="853"/>
            <ac:picMk id="7" creationId="{3D52F378-4BF7-C53D-61E4-B2111DE11E58}"/>
          </ac:picMkLst>
        </pc:picChg>
        <pc:picChg chg="add mod">
          <ac:chgData name="Koksrud Andreas" userId="9d9beba6-c052-407a-8599-c781a677a996" providerId="ADAL" clId="{99DCF58A-61FD-4A82-B407-E5D0DF551B20}" dt="2023-12-25T10:58:38.809" v="3505" actId="1076"/>
          <ac:picMkLst>
            <pc:docMk/>
            <pc:sldMk cId="911993613" sldId="853"/>
            <ac:picMk id="9" creationId="{E632C49C-0402-44E0-7A4D-52ABC0883461}"/>
          </ac:picMkLst>
        </pc:picChg>
        <pc:cxnChg chg="add mod">
          <ac:chgData name="Koksrud Andreas" userId="9d9beba6-c052-407a-8599-c781a677a996" providerId="ADAL" clId="{99DCF58A-61FD-4A82-B407-E5D0DF551B20}" dt="2023-12-25T11:01:48.618" v="3646" actId="14100"/>
          <ac:cxnSpMkLst>
            <pc:docMk/>
            <pc:sldMk cId="911993613" sldId="853"/>
            <ac:cxnSpMk id="12" creationId="{9B6E8DAF-67C9-ED70-3B04-3C8637A4A1DF}"/>
          </ac:cxnSpMkLst>
        </pc:cxnChg>
        <pc:cxnChg chg="add mod">
          <ac:chgData name="Koksrud Andreas" userId="9d9beba6-c052-407a-8599-c781a677a996" providerId="ADAL" clId="{99DCF58A-61FD-4A82-B407-E5D0DF551B20}" dt="2023-12-25T11:01:46.567" v="3645" actId="14100"/>
          <ac:cxnSpMkLst>
            <pc:docMk/>
            <pc:sldMk cId="911993613" sldId="853"/>
            <ac:cxnSpMk id="14" creationId="{DBF7F714-869C-033E-BBE2-33225E14A83C}"/>
          </ac:cxnSpMkLst>
        </pc:cxnChg>
        <pc:cxnChg chg="add mod">
          <ac:chgData name="Koksrud Andreas" userId="9d9beba6-c052-407a-8599-c781a677a996" providerId="ADAL" clId="{99DCF58A-61FD-4A82-B407-E5D0DF551B20}" dt="2023-12-25T11:02:43.820" v="3674" actId="14100"/>
          <ac:cxnSpMkLst>
            <pc:docMk/>
            <pc:sldMk cId="911993613" sldId="853"/>
            <ac:cxnSpMk id="19" creationId="{9C699369-623A-3E79-0C3E-04851F5A9734}"/>
          </ac:cxnSpMkLst>
        </pc:cxnChg>
      </pc:sldChg>
      <pc:sldChg chg="delSp modSp add mod ord">
        <pc:chgData name="Koksrud Andreas" userId="9d9beba6-c052-407a-8599-c781a677a996" providerId="ADAL" clId="{99DCF58A-61FD-4A82-B407-E5D0DF551B20}" dt="2023-12-25T10:56:50.771" v="3501" actId="20577"/>
        <pc:sldMkLst>
          <pc:docMk/>
          <pc:sldMk cId="3385289181" sldId="854"/>
        </pc:sldMkLst>
        <pc:spChg chg="del">
          <ac:chgData name="Koksrud Andreas" userId="9d9beba6-c052-407a-8599-c781a677a996" providerId="ADAL" clId="{99DCF58A-61FD-4A82-B407-E5D0DF551B20}" dt="2023-12-25T10:31:02.600" v="2941" actId="478"/>
          <ac:spMkLst>
            <pc:docMk/>
            <pc:sldMk cId="3385289181" sldId="854"/>
            <ac:spMk id="2" creationId="{E5D5B057-1D39-AC88-396C-0D888288A2E9}"/>
          </ac:spMkLst>
        </pc:spChg>
        <pc:spChg chg="mod">
          <ac:chgData name="Koksrud Andreas" userId="9d9beba6-c052-407a-8599-c781a677a996" providerId="ADAL" clId="{99DCF58A-61FD-4A82-B407-E5D0DF551B20}" dt="2023-12-25T10:56:50.771" v="3501" actId="20577"/>
          <ac:spMkLst>
            <pc:docMk/>
            <pc:sldMk cId="3385289181" sldId="854"/>
            <ac:spMk id="181" creationId="{00000000-0000-0000-0000-000000000000}"/>
          </ac:spMkLst>
        </pc:spChg>
      </pc:sldChg>
      <pc:sldChg chg="addSp delSp modSp add mod">
        <pc:chgData name="Koksrud Andreas" userId="9d9beba6-c052-407a-8599-c781a677a996" providerId="ADAL" clId="{99DCF58A-61FD-4A82-B407-E5D0DF551B20}" dt="2023-12-25T10:35:07.436" v="3053" actId="6549"/>
        <pc:sldMkLst>
          <pc:docMk/>
          <pc:sldMk cId="1250772557" sldId="855"/>
        </pc:sldMkLst>
        <pc:spChg chg="add del mod">
          <ac:chgData name="Koksrud Andreas" userId="9d9beba6-c052-407a-8599-c781a677a996" providerId="ADAL" clId="{99DCF58A-61FD-4A82-B407-E5D0DF551B20}" dt="2023-12-25T10:33:38.748" v="3035" actId="478"/>
          <ac:spMkLst>
            <pc:docMk/>
            <pc:sldMk cId="1250772557" sldId="855"/>
            <ac:spMk id="2" creationId="{45A1751D-708A-A648-ACED-AF82E0B5B60E}"/>
          </ac:spMkLst>
        </pc:spChg>
        <pc:spChg chg="mod">
          <ac:chgData name="Koksrud Andreas" userId="9d9beba6-c052-407a-8599-c781a677a996" providerId="ADAL" clId="{99DCF58A-61FD-4A82-B407-E5D0DF551B20}" dt="2023-12-25T10:35:07.436" v="3053" actId="6549"/>
          <ac:spMkLst>
            <pc:docMk/>
            <pc:sldMk cId="1250772557" sldId="855"/>
            <ac:spMk id="181" creationId="{00000000-0000-0000-0000-000000000000}"/>
          </ac:spMkLst>
        </pc:spChg>
        <pc:picChg chg="add mod">
          <ac:chgData name="Koksrud Andreas" userId="9d9beba6-c052-407a-8599-c781a677a996" providerId="ADAL" clId="{99DCF58A-61FD-4A82-B407-E5D0DF551B20}" dt="2023-12-25T10:34:45.547" v="3047" actId="1036"/>
          <ac:picMkLst>
            <pc:docMk/>
            <pc:sldMk cId="1250772557" sldId="855"/>
            <ac:picMk id="4" creationId="{B4BCA014-59EA-FBC9-531C-B503DB7A1835}"/>
          </ac:picMkLst>
        </pc:picChg>
        <pc:picChg chg="add mod">
          <ac:chgData name="Koksrud Andreas" userId="9d9beba6-c052-407a-8599-c781a677a996" providerId="ADAL" clId="{99DCF58A-61FD-4A82-B407-E5D0DF551B20}" dt="2023-12-25T10:34:00.389" v="3039" actId="1076"/>
          <ac:picMkLst>
            <pc:docMk/>
            <pc:sldMk cId="1250772557" sldId="855"/>
            <ac:picMk id="6" creationId="{5CC57537-A1FA-9DB1-6188-74325E50CE93}"/>
          </ac:picMkLst>
        </pc:picChg>
      </pc:sldChg>
      <pc:sldChg chg="addSp delSp modSp add mod">
        <pc:chgData name="Koksrud Andreas" userId="9d9beba6-c052-407a-8599-c781a677a996" providerId="ADAL" clId="{99DCF58A-61FD-4A82-B407-E5D0DF551B20}" dt="2023-12-25T10:46:24.090" v="3078" actId="14100"/>
        <pc:sldMkLst>
          <pc:docMk/>
          <pc:sldMk cId="879097217" sldId="856"/>
        </pc:sldMkLst>
        <pc:picChg chg="add mod modCrop">
          <ac:chgData name="Koksrud Andreas" userId="9d9beba6-c052-407a-8599-c781a677a996" providerId="ADAL" clId="{99DCF58A-61FD-4A82-B407-E5D0DF551B20}" dt="2023-12-25T10:41:02.806" v="3060" actId="732"/>
          <ac:picMkLst>
            <pc:docMk/>
            <pc:sldMk cId="879097217" sldId="856"/>
            <ac:picMk id="3" creationId="{239ACFC8-173D-DC74-B0A3-696A2B66F272}"/>
          </ac:picMkLst>
        </pc:picChg>
        <pc:picChg chg="del">
          <ac:chgData name="Koksrud Andreas" userId="9d9beba6-c052-407a-8599-c781a677a996" providerId="ADAL" clId="{99DCF58A-61FD-4A82-B407-E5D0DF551B20}" dt="2023-12-25T10:40:15.673" v="3055" actId="478"/>
          <ac:picMkLst>
            <pc:docMk/>
            <pc:sldMk cId="879097217" sldId="856"/>
            <ac:picMk id="4" creationId="{B4BCA014-59EA-FBC9-531C-B503DB7A1835}"/>
          </ac:picMkLst>
        </pc:picChg>
        <pc:picChg chg="del">
          <ac:chgData name="Koksrud Andreas" userId="9d9beba6-c052-407a-8599-c781a677a996" providerId="ADAL" clId="{99DCF58A-61FD-4A82-B407-E5D0DF551B20}" dt="2023-12-25T10:40:16.304" v="3056" actId="478"/>
          <ac:picMkLst>
            <pc:docMk/>
            <pc:sldMk cId="879097217" sldId="856"/>
            <ac:picMk id="6" creationId="{5CC57537-A1FA-9DB1-6188-74325E50CE93}"/>
          </ac:picMkLst>
        </pc:picChg>
        <pc:picChg chg="add mod">
          <ac:chgData name="Koksrud Andreas" userId="9d9beba6-c052-407a-8599-c781a677a996" providerId="ADAL" clId="{99DCF58A-61FD-4A82-B407-E5D0DF551B20}" dt="2023-12-25T10:41:59.346" v="3063" actId="1076"/>
          <ac:picMkLst>
            <pc:docMk/>
            <pc:sldMk cId="879097217" sldId="856"/>
            <ac:picMk id="7" creationId="{52A60F10-AEF6-ED03-3095-C22AC630EA84}"/>
          </ac:picMkLst>
        </pc:picChg>
        <pc:picChg chg="add mod">
          <ac:chgData name="Koksrud Andreas" userId="9d9beba6-c052-407a-8599-c781a677a996" providerId="ADAL" clId="{99DCF58A-61FD-4A82-B407-E5D0DF551B20}" dt="2023-12-25T10:44:50.779" v="3066" actId="1076"/>
          <ac:picMkLst>
            <pc:docMk/>
            <pc:sldMk cId="879097217" sldId="856"/>
            <ac:picMk id="9" creationId="{6CFEA48C-1BC9-4C25-2592-55C133B06764}"/>
          </ac:picMkLst>
        </pc:picChg>
        <pc:picChg chg="add mod">
          <ac:chgData name="Koksrud Andreas" userId="9d9beba6-c052-407a-8599-c781a677a996" providerId="ADAL" clId="{99DCF58A-61FD-4A82-B407-E5D0DF551B20}" dt="2023-12-25T10:45:15.375" v="3069" actId="1076"/>
          <ac:picMkLst>
            <pc:docMk/>
            <pc:sldMk cId="879097217" sldId="856"/>
            <ac:picMk id="11" creationId="{048B6A1A-FB79-E01C-84F4-801DB33B13E3}"/>
          </ac:picMkLst>
        </pc:picChg>
        <pc:cxnChg chg="add mod">
          <ac:chgData name="Koksrud Andreas" userId="9d9beba6-c052-407a-8599-c781a677a996" providerId="ADAL" clId="{99DCF58A-61FD-4A82-B407-E5D0DF551B20}" dt="2023-12-25T10:45:45.019" v="3071" actId="13822"/>
          <ac:cxnSpMkLst>
            <pc:docMk/>
            <pc:sldMk cId="879097217" sldId="856"/>
            <ac:cxnSpMk id="13" creationId="{043FDF76-650E-664A-6950-61FF8B625ECD}"/>
          </ac:cxnSpMkLst>
        </pc:cxnChg>
        <pc:cxnChg chg="add mod">
          <ac:chgData name="Koksrud Andreas" userId="9d9beba6-c052-407a-8599-c781a677a996" providerId="ADAL" clId="{99DCF58A-61FD-4A82-B407-E5D0DF551B20}" dt="2023-12-25T10:46:06.685" v="3075" actId="14100"/>
          <ac:cxnSpMkLst>
            <pc:docMk/>
            <pc:sldMk cId="879097217" sldId="856"/>
            <ac:cxnSpMk id="14" creationId="{91DF3D52-1978-598A-4AA7-4F713D9A4DDF}"/>
          </ac:cxnSpMkLst>
        </pc:cxnChg>
        <pc:cxnChg chg="add mod">
          <ac:chgData name="Koksrud Andreas" userId="9d9beba6-c052-407a-8599-c781a677a996" providerId="ADAL" clId="{99DCF58A-61FD-4A82-B407-E5D0DF551B20}" dt="2023-12-25T10:46:24.090" v="3078" actId="14100"/>
          <ac:cxnSpMkLst>
            <pc:docMk/>
            <pc:sldMk cId="879097217" sldId="856"/>
            <ac:cxnSpMk id="18" creationId="{78BF0BEF-AD42-B279-AE4A-B511D401801C}"/>
          </ac:cxnSpMkLst>
        </pc:cxnChg>
      </pc:sldChg>
      <pc:sldChg chg="addSp delSp modSp add mod">
        <pc:chgData name="Koksrud Andreas" userId="9d9beba6-c052-407a-8599-c781a677a996" providerId="ADAL" clId="{99DCF58A-61FD-4A82-B407-E5D0DF551B20}" dt="2023-12-25T11:28:03.533" v="3909" actId="14100"/>
        <pc:sldMkLst>
          <pc:docMk/>
          <pc:sldMk cId="2690209780" sldId="857"/>
        </pc:sldMkLst>
        <pc:spChg chg="mod">
          <ac:chgData name="Koksrud Andreas" userId="9d9beba6-c052-407a-8599-c781a677a996" providerId="ADAL" clId="{99DCF58A-61FD-4A82-B407-E5D0DF551B20}" dt="2023-12-25T11:27:55.188" v="3907" actId="6549"/>
          <ac:spMkLst>
            <pc:docMk/>
            <pc:sldMk cId="2690209780" sldId="857"/>
            <ac:spMk id="2" creationId="{9796E8C1-5924-9DB3-B51B-75296717F89F}"/>
          </ac:spMkLst>
        </pc:spChg>
        <pc:spChg chg="del">
          <ac:chgData name="Koksrud Andreas" userId="9d9beba6-c052-407a-8599-c781a677a996" providerId="ADAL" clId="{99DCF58A-61FD-4A82-B407-E5D0DF551B20}" dt="2023-12-25T11:24:05.924" v="3729" actId="478"/>
          <ac:spMkLst>
            <pc:docMk/>
            <pc:sldMk cId="2690209780" sldId="857"/>
            <ac:spMk id="10" creationId="{54FB830F-DBF4-1B20-3C76-0E40DC07965B}"/>
          </ac:spMkLst>
        </pc:spChg>
        <pc:spChg chg="del">
          <ac:chgData name="Koksrud Andreas" userId="9d9beba6-c052-407a-8599-c781a677a996" providerId="ADAL" clId="{99DCF58A-61FD-4A82-B407-E5D0DF551B20}" dt="2023-12-25T11:24:07.281" v="3730" actId="478"/>
          <ac:spMkLst>
            <pc:docMk/>
            <pc:sldMk cId="2690209780" sldId="857"/>
            <ac:spMk id="13" creationId="{252FE080-F115-3517-B2CA-BD200A8AADA8}"/>
          </ac:spMkLst>
        </pc:spChg>
        <pc:spChg chg="del">
          <ac:chgData name="Koksrud Andreas" userId="9d9beba6-c052-407a-8599-c781a677a996" providerId="ADAL" clId="{99DCF58A-61FD-4A82-B407-E5D0DF551B20}" dt="2023-12-25T11:24:09.168" v="3731" actId="478"/>
          <ac:spMkLst>
            <pc:docMk/>
            <pc:sldMk cId="2690209780" sldId="857"/>
            <ac:spMk id="18" creationId="{689B3815-DD1B-BFC6-4AC3-949A67D41B7D}"/>
          </ac:spMkLst>
        </pc:spChg>
        <pc:picChg chg="add mod">
          <ac:chgData name="Koksrud Andreas" userId="9d9beba6-c052-407a-8599-c781a677a996" providerId="ADAL" clId="{99DCF58A-61FD-4A82-B407-E5D0DF551B20}" dt="2023-12-25T11:24:13.351" v="3734" actId="1076"/>
          <ac:picMkLst>
            <pc:docMk/>
            <pc:sldMk cId="2690209780" sldId="857"/>
            <ac:picMk id="4" creationId="{EE49B416-6D45-D9BB-9236-660E9EFE010E}"/>
          </ac:picMkLst>
        </pc:picChg>
        <pc:picChg chg="del mod">
          <ac:chgData name="Koksrud Andreas" userId="9d9beba6-c052-407a-8599-c781a677a996" providerId="ADAL" clId="{99DCF58A-61FD-4A82-B407-E5D0DF551B20}" dt="2023-12-25T11:24:01.823" v="3726" actId="478"/>
          <ac:picMkLst>
            <pc:docMk/>
            <pc:sldMk cId="2690209780" sldId="857"/>
            <ac:picMk id="9" creationId="{E632C49C-0402-44E0-7A4D-52ABC0883461}"/>
          </ac:picMkLst>
        </pc:picChg>
        <pc:picChg chg="add mod">
          <ac:chgData name="Koksrud Andreas" userId="9d9beba6-c052-407a-8599-c781a677a996" providerId="ADAL" clId="{99DCF58A-61FD-4A82-B407-E5D0DF551B20}" dt="2023-12-25T11:25:40.151" v="3744" actId="14100"/>
          <ac:picMkLst>
            <pc:docMk/>
            <pc:sldMk cId="2690209780" sldId="857"/>
            <ac:picMk id="15" creationId="{1BF73C7B-00A5-0A7B-F9E4-3746C6B79854}"/>
          </ac:picMkLst>
        </pc:picChg>
        <pc:picChg chg="add mod">
          <ac:chgData name="Koksrud Andreas" userId="9d9beba6-c052-407a-8599-c781a677a996" providerId="ADAL" clId="{99DCF58A-61FD-4A82-B407-E5D0DF551B20}" dt="2023-12-25T11:27:09.938" v="3875" actId="1076"/>
          <ac:picMkLst>
            <pc:docMk/>
            <pc:sldMk cId="2690209780" sldId="857"/>
            <ac:picMk id="24" creationId="{6263DC7D-E065-789D-21C4-A9E428D8B9F4}"/>
          </ac:picMkLst>
        </pc:picChg>
        <pc:cxnChg chg="add mod">
          <ac:chgData name="Koksrud Andreas" userId="9d9beba6-c052-407a-8599-c781a677a996" providerId="ADAL" clId="{99DCF58A-61FD-4A82-B407-E5D0DF551B20}" dt="2023-12-25T11:24:31.004" v="3738" actId="14100"/>
          <ac:cxnSpMkLst>
            <pc:docMk/>
            <pc:sldMk cId="2690209780" sldId="857"/>
            <ac:cxnSpMk id="5" creationId="{99EDF0DF-3AE9-13BB-D977-80F04527045E}"/>
          </ac:cxnSpMkLst>
        </pc:cxnChg>
        <pc:cxnChg chg="del">
          <ac:chgData name="Koksrud Andreas" userId="9d9beba6-c052-407a-8599-c781a677a996" providerId="ADAL" clId="{99DCF58A-61FD-4A82-B407-E5D0DF551B20}" dt="2023-12-25T11:24:04.289" v="3728" actId="478"/>
          <ac:cxnSpMkLst>
            <pc:docMk/>
            <pc:sldMk cId="2690209780" sldId="857"/>
            <ac:cxnSpMk id="12" creationId="{9B6E8DAF-67C9-ED70-3B04-3C8637A4A1DF}"/>
          </ac:cxnSpMkLst>
        </pc:cxnChg>
        <pc:cxnChg chg="del">
          <ac:chgData name="Koksrud Andreas" userId="9d9beba6-c052-407a-8599-c781a677a996" providerId="ADAL" clId="{99DCF58A-61FD-4A82-B407-E5D0DF551B20}" dt="2023-12-25T11:24:02.997" v="3727" actId="478"/>
          <ac:cxnSpMkLst>
            <pc:docMk/>
            <pc:sldMk cId="2690209780" sldId="857"/>
            <ac:cxnSpMk id="14" creationId="{DBF7F714-869C-033E-BBE2-33225E14A83C}"/>
          </ac:cxnSpMkLst>
        </pc:cxnChg>
        <pc:cxnChg chg="add mod">
          <ac:chgData name="Koksrud Andreas" userId="9d9beba6-c052-407a-8599-c781a677a996" providerId="ADAL" clId="{99DCF58A-61FD-4A82-B407-E5D0DF551B20}" dt="2023-12-25T11:25:45.048" v="3746" actId="14100"/>
          <ac:cxnSpMkLst>
            <pc:docMk/>
            <pc:sldMk cId="2690209780" sldId="857"/>
            <ac:cxnSpMk id="16" creationId="{7EFC93E0-25A6-B0B4-FB10-D2643CD67A77}"/>
          </ac:cxnSpMkLst>
        </pc:cxnChg>
        <pc:cxnChg chg="del">
          <ac:chgData name="Koksrud Andreas" userId="9d9beba6-c052-407a-8599-c781a677a996" providerId="ADAL" clId="{99DCF58A-61FD-4A82-B407-E5D0DF551B20}" dt="2023-12-25T11:24:09.953" v="3732" actId="478"/>
          <ac:cxnSpMkLst>
            <pc:docMk/>
            <pc:sldMk cId="2690209780" sldId="857"/>
            <ac:cxnSpMk id="19" creationId="{9C699369-623A-3E79-0C3E-04851F5A9734}"/>
          </ac:cxnSpMkLst>
        </pc:cxnChg>
        <pc:cxnChg chg="add mod">
          <ac:chgData name="Koksrud Andreas" userId="9d9beba6-c052-407a-8599-c781a677a996" providerId="ADAL" clId="{99DCF58A-61FD-4A82-B407-E5D0DF551B20}" dt="2023-12-25T11:27:41.909" v="3901" actId="14100"/>
          <ac:cxnSpMkLst>
            <pc:docMk/>
            <pc:sldMk cId="2690209780" sldId="857"/>
            <ac:cxnSpMk id="25" creationId="{B3F0B22A-B8D3-2FF7-FC9C-8A25D093249B}"/>
          </ac:cxnSpMkLst>
        </pc:cxnChg>
        <pc:cxnChg chg="add mod">
          <ac:chgData name="Koksrud Andreas" userId="9d9beba6-c052-407a-8599-c781a677a996" providerId="ADAL" clId="{99DCF58A-61FD-4A82-B407-E5D0DF551B20}" dt="2023-12-25T11:28:03.533" v="3909" actId="14100"/>
          <ac:cxnSpMkLst>
            <pc:docMk/>
            <pc:sldMk cId="2690209780" sldId="857"/>
            <ac:cxnSpMk id="29" creationId="{0600D195-BEEC-493C-C0A2-CE3AD60141DA}"/>
          </ac:cxnSpMkLst>
        </pc:cxnChg>
      </pc:sldChg>
      <pc:sldChg chg="addSp delSp modSp add mod ord">
        <pc:chgData name="Koksrud Andreas" userId="9d9beba6-c052-407a-8599-c781a677a996" providerId="ADAL" clId="{99DCF58A-61FD-4A82-B407-E5D0DF551B20}" dt="2023-12-25T11:35:57.243" v="4158"/>
        <pc:sldMkLst>
          <pc:docMk/>
          <pc:sldMk cId="1987049343" sldId="858"/>
        </pc:sldMkLst>
        <pc:spChg chg="mod">
          <ac:chgData name="Koksrud Andreas" userId="9d9beba6-c052-407a-8599-c781a677a996" providerId="ADAL" clId="{99DCF58A-61FD-4A82-B407-E5D0DF551B20}" dt="2023-12-25T11:34:25.051" v="4153" actId="20577"/>
          <ac:spMkLst>
            <pc:docMk/>
            <pc:sldMk cId="1987049343" sldId="858"/>
            <ac:spMk id="2" creationId="{9796E8C1-5924-9DB3-B51B-75296717F89F}"/>
          </ac:spMkLst>
        </pc:spChg>
        <pc:spChg chg="del">
          <ac:chgData name="Koksrud Andreas" userId="9d9beba6-c052-407a-8599-c781a677a996" providerId="ADAL" clId="{99DCF58A-61FD-4A82-B407-E5D0DF551B20}" dt="2023-12-25T11:31:46.785" v="4053" actId="478"/>
          <ac:spMkLst>
            <pc:docMk/>
            <pc:sldMk cId="1987049343" sldId="858"/>
            <ac:spMk id="3" creationId="{E2FC66EE-6574-DE84-F5EB-CE41D3D9BD4D}"/>
          </ac:spMkLst>
        </pc:spChg>
        <pc:spChg chg="del mod">
          <ac:chgData name="Koksrud Andreas" userId="9d9beba6-c052-407a-8599-c781a677a996" providerId="ADAL" clId="{99DCF58A-61FD-4A82-B407-E5D0DF551B20}" dt="2023-12-25T11:31:53.005" v="4057" actId="478"/>
          <ac:spMkLst>
            <pc:docMk/>
            <pc:sldMk cId="1987049343" sldId="858"/>
            <ac:spMk id="5" creationId="{7036E668-80F1-72C2-4389-0D23C3EB29AE}"/>
          </ac:spMkLst>
        </pc:spChg>
        <pc:spChg chg="mod">
          <ac:chgData name="Koksrud Andreas" userId="9d9beba6-c052-407a-8599-c781a677a996" providerId="ADAL" clId="{99DCF58A-61FD-4A82-B407-E5D0DF551B20}" dt="2023-12-25T11:29:25.293" v="4002" actId="20577"/>
          <ac:spMkLst>
            <pc:docMk/>
            <pc:sldMk cId="1987049343" sldId="858"/>
            <ac:spMk id="180" creationId="{00000000-0000-0000-0000-000000000000}"/>
          </ac:spMkLst>
        </pc:spChg>
        <pc:picChg chg="add mod">
          <ac:chgData name="Koksrud Andreas" userId="9d9beba6-c052-407a-8599-c781a677a996" providerId="ADAL" clId="{99DCF58A-61FD-4A82-B407-E5D0DF551B20}" dt="2023-12-25T11:31:43.314" v="4051" actId="1076"/>
          <ac:picMkLst>
            <pc:docMk/>
            <pc:sldMk cId="1987049343" sldId="858"/>
            <ac:picMk id="6" creationId="{78645D45-8769-81CB-2821-560F3CFF9CBE}"/>
          </ac:picMkLst>
        </pc:picChg>
        <pc:picChg chg="del">
          <ac:chgData name="Koksrud Andreas" userId="9d9beba6-c052-407a-8599-c781a677a996" providerId="ADAL" clId="{99DCF58A-61FD-4A82-B407-E5D0DF551B20}" dt="2023-12-25T11:31:37.700" v="4049" actId="478"/>
          <ac:picMkLst>
            <pc:docMk/>
            <pc:sldMk cId="1987049343" sldId="858"/>
            <ac:picMk id="7" creationId="{7AA2FE90-E597-17D6-B03C-47B9566EA174}"/>
          </ac:picMkLst>
        </pc:picChg>
        <pc:picChg chg="add mod modCrop">
          <ac:chgData name="Koksrud Andreas" userId="9d9beba6-c052-407a-8599-c781a677a996" providerId="ADAL" clId="{99DCF58A-61FD-4A82-B407-E5D0DF551B20}" dt="2023-12-25T11:33:09.111" v="4065" actId="732"/>
          <ac:picMkLst>
            <pc:docMk/>
            <pc:sldMk cId="1987049343" sldId="858"/>
            <ac:picMk id="9" creationId="{C3019131-6227-C544-E712-F688CDF664B9}"/>
          </ac:picMkLst>
        </pc:picChg>
        <pc:picChg chg="del">
          <ac:chgData name="Koksrud Andreas" userId="9d9beba6-c052-407a-8599-c781a677a996" providerId="ADAL" clId="{99DCF58A-61FD-4A82-B407-E5D0DF551B20}" dt="2023-12-25T11:31:47.967" v="4054" actId="478"/>
          <ac:picMkLst>
            <pc:docMk/>
            <pc:sldMk cId="1987049343" sldId="858"/>
            <ac:picMk id="11" creationId="{2868BE7C-4B81-D511-B4A8-04F15B2052D0}"/>
          </ac:picMkLst>
        </pc:picChg>
        <pc:picChg chg="add mod">
          <ac:chgData name="Koksrud Andreas" userId="9d9beba6-c052-407a-8599-c781a677a996" providerId="ADAL" clId="{99DCF58A-61FD-4A82-B407-E5D0DF551B20}" dt="2023-12-25T11:33:18.387" v="4068" actId="1076"/>
          <ac:picMkLst>
            <pc:docMk/>
            <pc:sldMk cId="1987049343" sldId="858"/>
            <ac:picMk id="12" creationId="{DEE12C32-E793-5A48-C960-3987827D3176}"/>
          </ac:picMkLst>
        </pc:picChg>
        <pc:picChg chg="del">
          <ac:chgData name="Koksrud Andreas" userId="9d9beba6-c052-407a-8599-c781a677a996" providerId="ADAL" clId="{99DCF58A-61FD-4A82-B407-E5D0DF551B20}" dt="2023-12-25T11:31:49.692" v="4055" actId="478"/>
          <ac:picMkLst>
            <pc:docMk/>
            <pc:sldMk cId="1987049343" sldId="858"/>
            <ac:picMk id="14" creationId="{03B59CC9-E249-2BE7-157B-EBAF15A10EC7}"/>
          </ac:picMkLst>
        </pc:picChg>
        <pc:picChg chg="add mod">
          <ac:chgData name="Koksrud Andreas" userId="9d9beba6-c052-407a-8599-c781a677a996" providerId="ADAL" clId="{99DCF58A-61FD-4A82-B407-E5D0DF551B20}" dt="2023-12-25T11:35:07.333" v="4156" actId="1076"/>
          <ac:picMkLst>
            <pc:docMk/>
            <pc:sldMk cId="1987049343" sldId="858"/>
            <ac:picMk id="15" creationId="{DD1F7884-9A7C-5891-012A-EE057168166C}"/>
          </ac:picMkLst>
        </pc:picChg>
        <pc:picChg chg="add del mod">
          <ac:chgData name="Koksrud Andreas" userId="9d9beba6-c052-407a-8599-c781a677a996" providerId="ADAL" clId="{99DCF58A-61FD-4A82-B407-E5D0DF551B20}" dt="2023-12-25T11:35:57.243" v="4158"/>
          <ac:picMkLst>
            <pc:docMk/>
            <pc:sldMk cId="1987049343" sldId="858"/>
            <ac:picMk id="16" creationId="{B676FE33-5397-8BEA-B3CD-9C265CB31B39}"/>
          </ac:picMkLst>
        </pc:picChg>
      </pc:sldChg>
      <pc:sldChg chg="addSp delSp modSp add mod">
        <pc:chgData name="Koksrud Andreas" userId="9d9beba6-c052-407a-8599-c781a677a996" providerId="ADAL" clId="{99DCF58A-61FD-4A82-B407-E5D0DF551B20}" dt="2023-12-25T11:41:23.196" v="4382" actId="14100"/>
        <pc:sldMkLst>
          <pc:docMk/>
          <pc:sldMk cId="2034020006" sldId="859"/>
        </pc:sldMkLst>
        <pc:spChg chg="mod">
          <ac:chgData name="Koksrud Andreas" userId="9d9beba6-c052-407a-8599-c781a677a996" providerId="ADAL" clId="{99DCF58A-61FD-4A82-B407-E5D0DF551B20}" dt="2023-12-25T11:39:01.192" v="4357" actId="20577"/>
          <ac:spMkLst>
            <pc:docMk/>
            <pc:sldMk cId="2034020006" sldId="859"/>
            <ac:spMk id="2" creationId="{9796E8C1-5924-9DB3-B51B-75296717F89F}"/>
          </ac:spMkLst>
        </pc:spChg>
        <pc:spChg chg="mod">
          <ac:chgData name="Koksrud Andreas" userId="9d9beba6-c052-407a-8599-c781a677a996" providerId="ADAL" clId="{99DCF58A-61FD-4A82-B407-E5D0DF551B20}" dt="2023-12-25T11:36:20.804" v="4228" actId="20577"/>
          <ac:spMkLst>
            <pc:docMk/>
            <pc:sldMk cId="2034020006" sldId="859"/>
            <ac:spMk id="180" creationId="{00000000-0000-0000-0000-000000000000}"/>
          </ac:spMkLst>
        </pc:spChg>
        <pc:picChg chg="add mod modCrop">
          <ac:chgData name="Koksrud Andreas" userId="9d9beba6-c052-407a-8599-c781a677a996" providerId="ADAL" clId="{99DCF58A-61FD-4A82-B407-E5D0DF551B20}" dt="2023-12-25T11:39:10.531" v="4362" actId="1036"/>
          <ac:picMkLst>
            <pc:docMk/>
            <pc:sldMk cId="2034020006" sldId="859"/>
            <ac:picMk id="4" creationId="{FDD42404-EF64-D2C3-11DA-3A932B4CFCB8}"/>
          </ac:picMkLst>
        </pc:picChg>
        <pc:picChg chg="del">
          <ac:chgData name="Koksrud Andreas" userId="9d9beba6-c052-407a-8599-c781a677a996" providerId="ADAL" clId="{99DCF58A-61FD-4A82-B407-E5D0DF551B20}" dt="2023-12-25T11:36:22.820" v="4229" actId="478"/>
          <ac:picMkLst>
            <pc:docMk/>
            <pc:sldMk cId="2034020006" sldId="859"/>
            <ac:picMk id="6" creationId="{78645D45-8769-81CB-2821-560F3CFF9CBE}"/>
          </ac:picMkLst>
        </pc:picChg>
        <pc:picChg chg="add del mod">
          <ac:chgData name="Koksrud Andreas" userId="9d9beba6-c052-407a-8599-c781a677a996" providerId="ADAL" clId="{99DCF58A-61FD-4A82-B407-E5D0DF551B20}" dt="2023-12-25T11:39:27.166" v="4365" actId="478"/>
          <ac:picMkLst>
            <pc:docMk/>
            <pc:sldMk cId="2034020006" sldId="859"/>
            <ac:picMk id="7" creationId="{FF1C2B15-FDBC-95D0-9372-E75C0B39A703}"/>
          </ac:picMkLst>
        </pc:picChg>
        <pc:picChg chg="del">
          <ac:chgData name="Koksrud Andreas" userId="9d9beba6-c052-407a-8599-c781a677a996" providerId="ADAL" clId="{99DCF58A-61FD-4A82-B407-E5D0DF551B20}" dt="2023-12-25T11:36:23.406" v="4230" actId="478"/>
          <ac:picMkLst>
            <pc:docMk/>
            <pc:sldMk cId="2034020006" sldId="859"/>
            <ac:picMk id="9" creationId="{C3019131-6227-C544-E712-F688CDF664B9}"/>
          </ac:picMkLst>
        </pc:picChg>
        <pc:picChg chg="add mod">
          <ac:chgData name="Koksrud Andreas" userId="9d9beba6-c052-407a-8599-c781a677a996" providerId="ADAL" clId="{99DCF58A-61FD-4A82-B407-E5D0DF551B20}" dt="2023-12-25T11:39:36.957" v="4367" actId="1076"/>
          <ac:picMkLst>
            <pc:docMk/>
            <pc:sldMk cId="2034020006" sldId="859"/>
            <ac:picMk id="10" creationId="{89AD7208-33E1-786F-68C4-B07CE69D9B90}"/>
          </ac:picMkLst>
        </pc:picChg>
        <pc:picChg chg="del">
          <ac:chgData name="Koksrud Andreas" userId="9d9beba6-c052-407a-8599-c781a677a996" providerId="ADAL" clId="{99DCF58A-61FD-4A82-B407-E5D0DF551B20}" dt="2023-12-25T11:36:24.780" v="4232" actId="478"/>
          <ac:picMkLst>
            <pc:docMk/>
            <pc:sldMk cId="2034020006" sldId="859"/>
            <ac:picMk id="12" creationId="{DEE12C32-E793-5A48-C960-3987827D3176}"/>
          </ac:picMkLst>
        </pc:picChg>
        <pc:picChg chg="add mod">
          <ac:chgData name="Koksrud Andreas" userId="9d9beba6-c052-407a-8599-c781a677a996" providerId="ADAL" clId="{99DCF58A-61FD-4A82-B407-E5D0DF551B20}" dt="2023-12-25T11:39:49.713" v="4369" actId="1076"/>
          <ac:picMkLst>
            <pc:docMk/>
            <pc:sldMk cId="2034020006" sldId="859"/>
            <ac:picMk id="13" creationId="{64C063CB-5F33-4B77-965C-B90C6AE27B39}"/>
          </ac:picMkLst>
        </pc:picChg>
        <pc:picChg chg="del">
          <ac:chgData name="Koksrud Andreas" userId="9d9beba6-c052-407a-8599-c781a677a996" providerId="ADAL" clId="{99DCF58A-61FD-4A82-B407-E5D0DF551B20}" dt="2023-12-25T11:36:24.126" v="4231" actId="478"/>
          <ac:picMkLst>
            <pc:docMk/>
            <pc:sldMk cId="2034020006" sldId="859"/>
            <ac:picMk id="15" creationId="{DD1F7884-9A7C-5891-012A-EE057168166C}"/>
          </ac:picMkLst>
        </pc:picChg>
        <pc:picChg chg="add mod">
          <ac:chgData name="Koksrud Andreas" userId="9d9beba6-c052-407a-8599-c781a677a996" providerId="ADAL" clId="{99DCF58A-61FD-4A82-B407-E5D0DF551B20}" dt="2023-12-25T11:40:47.216" v="4374" actId="1076"/>
          <ac:picMkLst>
            <pc:docMk/>
            <pc:sldMk cId="2034020006" sldId="859"/>
            <ac:picMk id="19" creationId="{16102E3D-30A8-E8EE-D800-B326185287B8}"/>
          </ac:picMkLst>
        </pc:picChg>
        <pc:picChg chg="add mod">
          <ac:chgData name="Koksrud Andreas" userId="9d9beba6-c052-407a-8599-c781a677a996" providerId="ADAL" clId="{99DCF58A-61FD-4A82-B407-E5D0DF551B20}" dt="2023-12-25T11:41:04.721" v="4376" actId="1076"/>
          <ac:picMkLst>
            <pc:docMk/>
            <pc:sldMk cId="2034020006" sldId="859"/>
            <ac:picMk id="21" creationId="{F22CFF74-063D-C7C7-71BA-43C9544244B5}"/>
          </ac:picMkLst>
        </pc:picChg>
        <pc:cxnChg chg="add mod">
          <ac:chgData name="Koksrud Andreas" userId="9d9beba6-c052-407a-8599-c781a677a996" providerId="ADAL" clId="{99DCF58A-61FD-4A82-B407-E5D0DF551B20}" dt="2023-12-25T11:40:02.521" v="4372" actId="14100"/>
          <ac:cxnSpMkLst>
            <pc:docMk/>
            <pc:sldMk cId="2034020006" sldId="859"/>
            <ac:cxnSpMk id="14" creationId="{EBD79003-BA5F-9EC4-AB1E-B169474A75BA}"/>
          </ac:cxnSpMkLst>
        </pc:cxnChg>
        <pc:cxnChg chg="add mod">
          <ac:chgData name="Koksrud Andreas" userId="9d9beba6-c052-407a-8599-c781a677a996" providerId="ADAL" clId="{99DCF58A-61FD-4A82-B407-E5D0DF551B20}" dt="2023-12-25T11:41:16.576" v="4379" actId="14100"/>
          <ac:cxnSpMkLst>
            <pc:docMk/>
            <pc:sldMk cId="2034020006" sldId="859"/>
            <ac:cxnSpMk id="22" creationId="{21009E25-D8DE-E975-55FA-12227386461E}"/>
          </ac:cxnSpMkLst>
        </pc:cxnChg>
        <pc:cxnChg chg="add mod">
          <ac:chgData name="Koksrud Andreas" userId="9d9beba6-c052-407a-8599-c781a677a996" providerId="ADAL" clId="{99DCF58A-61FD-4A82-B407-E5D0DF551B20}" dt="2023-12-25T11:41:23.196" v="4382" actId="14100"/>
          <ac:cxnSpMkLst>
            <pc:docMk/>
            <pc:sldMk cId="2034020006" sldId="859"/>
            <ac:cxnSpMk id="25" creationId="{F5E02325-17FA-2F47-48A7-150B22E29FA9}"/>
          </ac:cxnSpMkLst>
        </pc:cxnChg>
      </pc:sldChg>
      <pc:sldChg chg="addSp delSp modSp add mod">
        <pc:chgData name="Koksrud Andreas" userId="9d9beba6-c052-407a-8599-c781a677a996" providerId="ADAL" clId="{99DCF58A-61FD-4A82-B407-E5D0DF551B20}" dt="2023-12-25T11:54:33.223" v="4621" actId="14100"/>
        <pc:sldMkLst>
          <pc:docMk/>
          <pc:sldMk cId="1439612205" sldId="860"/>
        </pc:sldMkLst>
        <pc:spChg chg="mod">
          <ac:chgData name="Koksrud Andreas" userId="9d9beba6-c052-407a-8599-c781a677a996" providerId="ADAL" clId="{99DCF58A-61FD-4A82-B407-E5D0DF551B20}" dt="2023-12-25T11:51:41.810" v="4521" actId="14100"/>
          <ac:spMkLst>
            <pc:docMk/>
            <pc:sldMk cId="1439612205" sldId="860"/>
            <ac:spMk id="2" creationId="{9796E8C1-5924-9DB3-B51B-75296717F89F}"/>
          </ac:spMkLst>
        </pc:spChg>
        <pc:spChg chg="add mod">
          <ac:chgData name="Koksrud Andreas" userId="9d9beba6-c052-407a-8599-c781a677a996" providerId="ADAL" clId="{99DCF58A-61FD-4A82-B407-E5D0DF551B20}" dt="2023-12-25T11:53:09.735" v="4613" actId="20577"/>
          <ac:spMkLst>
            <pc:docMk/>
            <pc:sldMk cId="1439612205" sldId="860"/>
            <ac:spMk id="16" creationId="{0BF20D48-2782-8A09-2215-91CD21C56EFC}"/>
          </ac:spMkLst>
        </pc:spChg>
        <pc:spChg chg="mod">
          <ac:chgData name="Koksrud Andreas" userId="9d9beba6-c052-407a-8599-c781a677a996" providerId="ADAL" clId="{99DCF58A-61FD-4A82-B407-E5D0DF551B20}" dt="2023-12-25T11:50:49.459" v="4471" actId="20577"/>
          <ac:spMkLst>
            <pc:docMk/>
            <pc:sldMk cId="1439612205" sldId="860"/>
            <ac:spMk id="180" creationId="{00000000-0000-0000-0000-000000000000}"/>
          </ac:spMkLst>
        </pc:spChg>
        <pc:picChg chg="del">
          <ac:chgData name="Koksrud Andreas" userId="9d9beba6-c052-407a-8599-c781a677a996" providerId="ADAL" clId="{99DCF58A-61FD-4A82-B407-E5D0DF551B20}" dt="2023-12-25T11:42:19.138" v="4425" actId="478"/>
          <ac:picMkLst>
            <pc:docMk/>
            <pc:sldMk cId="1439612205" sldId="860"/>
            <ac:picMk id="4" creationId="{FDD42404-EF64-D2C3-11DA-3A932B4CFCB8}"/>
          </ac:picMkLst>
        </pc:picChg>
        <pc:picChg chg="add del mod">
          <ac:chgData name="Koksrud Andreas" userId="9d9beba6-c052-407a-8599-c781a677a996" providerId="ADAL" clId="{99DCF58A-61FD-4A82-B407-E5D0DF551B20}" dt="2023-12-25T11:51:07.576" v="4511" actId="478"/>
          <ac:picMkLst>
            <pc:docMk/>
            <pc:sldMk cId="1439612205" sldId="860"/>
            <ac:picMk id="5" creationId="{BA0F6610-8D6A-ACFB-0475-F273EB8CF5F9}"/>
          </ac:picMkLst>
        </pc:picChg>
        <pc:picChg chg="add del mod">
          <ac:chgData name="Koksrud Andreas" userId="9d9beba6-c052-407a-8599-c781a677a996" providerId="ADAL" clId="{99DCF58A-61FD-4A82-B407-E5D0DF551B20}" dt="2023-12-25T11:51:08.658" v="4512" actId="478"/>
          <ac:picMkLst>
            <pc:docMk/>
            <pc:sldMk cId="1439612205" sldId="860"/>
            <ac:picMk id="7" creationId="{FF286106-3A39-9208-0739-1F2684C004C5}"/>
          </ac:picMkLst>
        </pc:picChg>
        <pc:picChg chg="del">
          <ac:chgData name="Koksrud Andreas" userId="9d9beba6-c052-407a-8599-c781a677a996" providerId="ADAL" clId="{99DCF58A-61FD-4A82-B407-E5D0DF551B20}" dt="2023-12-25T11:43:46.765" v="4434" actId="478"/>
          <ac:picMkLst>
            <pc:docMk/>
            <pc:sldMk cId="1439612205" sldId="860"/>
            <ac:picMk id="10" creationId="{89AD7208-33E1-786F-68C4-B07CE69D9B90}"/>
          </ac:picMkLst>
        </pc:picChg>
        <pc:picChg chg="del">
          <ac:chgData name="Koksrud Andreas" userId="9d9beba6-c052-407a-8599-c781a677a996" providerId="ADAL" clId="{99DCF58A-61FD-4A82-B407-E5D0DF551B20}" dt="2023-12-25T11:43:47.283" v="4435" actId="478"/>
          <ac:picMkLst>
            <pc:docMk/>
            <pc:sldMk cId="1439612205" sldId="860"/>
            <ac:picMk id="13" creationId="{64C063CB-5F33-4B77-965C-B90C6AE27B39}"/>
          </ac:picMkLst>
        </pc:picChg>
        <pc:picChg chg="add mod modCrop">
          <ac:chgData name="Koksrud Andreas" userId="9d9beba6-c052-407a-8599-c781a677a996" providerId="ADAL" clId="{99DCF58A-61FD-4A82-B407-E5D0DF551B20}" dt="2023-12-25T11:51:28.903" v="4520" actId="1076"/>
          <ac:picMkLst>
            <pc:docMk/>
            <pc:sldMk cId="1439612205" sldId="860"/>
            <ac:picMk id="15" creationId="{F22105F0-9669-D1EE-A5AB-151AEE19E7D3}"/>
          </ac:picMkLst>
        </pc:picChg>
        <pc:picChg chg="add del mod">
          <ac:chgData name="Koksrud Andreas" userId="9d9beba6-c052-407a-8599-c781a677a996" providerId="ADAL" clId="{99DCF58A-61FD-4A82-B407-E5D0DF551B20}" dt="2023-12-25T11:52:58.416" v="4587" actId="478"/>
          <ac:picMkLst>
            <pc:docMk/>
            <pc:sldMk cId="1439612205" sldId="860"/>
            <ac:picMk id="18" creationId="{1B29BA6E-4C98-07FD-0127-595453AA9B60}"/>
          </ac:picMkLst>
        </pc:picChg>
        <pc:picChg chg="del">
          <ac:chgData name="Koksrud Andreas" userId="9d9beba6-c052-407a-8599-c781a677a996" providerId="ADAL" clId="{99DCF58A-61FD-4A82-B407-E5D0DF551B20}" dt="2023-12-25T11:43:49.366" v="4438" actId="478"/>
          <ac:picMkLst>
            <pc:docMk/>
            <pc:sldMk cId="1439612205" sldId="860"/>
            <ac:picMk id="19" creationId="{16102E3D-30A8-E8EE-D800-B326185287B8}"/>
          </ac:picMkLst>
        </pc:picChg>
        <pc:picChg chg="del">
          <ac:chgData name="Koksrud Andreas" userId="9d9beba6-c052-407a-8599-c781a677a996" providerId="ADAL" clId="{99DCF58A-61FD-4A82-B407-E5D0DF551B20}" dt="2023-12-25T11:43:49.911" v="4439" actId="478"/>
          <ac:picMkLst>
            <pc:docMk/>
            <pc:sldMk cId="1439612205" sldId="860"/>
            <ac:picMk id="21" creationId="{F22CFF74-063D-C7C7-71BA-43C9544244B5}"/>
          </ac:picMkLst>
        </pc:picChg>
        <pc:picChg chg="add mod">
          <ac:chgData name="Koksrud Andreas" userId="9d9beba6-c052-407a-8599-c781a677a996" providerId="ADAL" clId="{99DCF58A-61FD-4A82-B407-E5D0DF551B20}" dt="2023-12-25T11:54:21.352" v="4617" actId="14100"/>
          <ac:picMkLst>
            <pc:docMk/>
            <pc:sldMk cId="1439612205" sldId="860"/>
            <ac:picMk id="23" creationId="{A92DC332-3E85-1F8C-ED9A-B06A412AF841}"/>
          </ac:picMkLst>
        </pc:picChg>
        <pc:cxnChg chg="add mod ord">
          <ac:chgData name="Koksrud Andreas" userId="9d9beba6-c052-407a-8599-c781a677a996" providerId="ADAL" clId="{99DCF58A-61FD-4A82-B407-E5D0DF551B20}" dt="2023-12-25T11:54:33.223" v="4621" actId="14100"/>
          <ac:cxnSpMkLst>
            <pc:docMk/>
            <pc:sldMk cId="1439612205" sldId="860"/>
            <ac:cxnSpMk id="8" creationId="{87407839-F583-F4F8-6870-7596EB34EDF4}"/>
          </ac:cxnSpMkLst>
        </pc:cxnChg>
        <pc:cxnChg chg="del">
          <ac:chgData name="Koksrud Andreas" userId="9d9beba6-c052-407a-8599-c781a677a996" providerId="ADAL" clId="{99DCF58A-61FD-4A82-B407-E5D0DF551B20}" dt="2023-12-25T11:43:48.077" v="4436" actId="478"/>
          <ac:cxnSpMkLst>
            <pc:docMk/>
            <pc:sldMk cId="1439612205" sldId="860"/>
            <ac:cxnSpMk id="14" creationId="{EBD79003-BA5F-9EC4-AB1E-B169474A75BA}"/>
          </ac:cxnSpMkLst>
        </pc:cxnChg>
        <pc:cxnChg chg="del">
          <ac:chgData name="Koksrud Andreas" userId="9d9beba6-c052-407a-8599-c781a677a996" providerId="ADAL" clId="{99DCF58A-61FD-4A82-B407-E5D0DF551B20}" dt="2023-12-25T11:43:48.839" v="4437" actId="478"/>
          <ac:cxnSpMkLst>
            <pc:docMk/>
            <pc:sldMk cId="1439612205" sldId="860"/>
            <ac:cxnSpMk id="22" creationId="{21009E25-D8DE-E975-55FA-12227386461E}"/>
          </ac:cxnSpMkLst>
        </pc:cxnChg>
        <pc:cxnChg chg="del">
          <ac:chgData name="Koksrud Andreas" userId="9d9beba6-c052-407a-8599-c781a677a996" providerId="ADAL" clId="{99DCF58A-61FD-4A82-B407-E5D0DF551B20}" dt="2023-12-25T11:43:50.642" v="4440" actId="478"/>
          <ac:cxnSpMkLst>
            <pc:docMk/>
            <pc:sldMk cId="1439612205" sldId="860"/>
            <ac:cxnSpMk id="25" creationId="{F5E02325-17FA-2F47-48A7-150B22E29FA9}"/>
          </ac:cxnSpMkLst>
        </pc:cxnChg>
      </pc:sldChg>
      <pc:sldChg chg="add del">
        <pc:chgData name="Koksrud Andreas" userId="9d9beba6-c052-407a-8599-c781a677a996" providerId="ADAL" clId="{99DCF58A-61FD-4A82-B407-E5D0DF551B20}" dt="2023-12-25T11:42:35.068" v="4429" actId="47"/>
        <pc:sldMkLst>
          <pc:docMk/>
          <pc:sldMk cId="236572082" sldId="861"/>
        </pc:sldMkLst>
      </pc:sldChg>
      <pc:sldChg chg="add">
        <pc:chgData name="Koksrud Andreas" userId="9d9beba6-c052-407a-8599-c781a677a996" providerId="ADAL" clId="{99DCF58A-61FD-4A82-B407-E5D0DF551B20}" dt="2023-12-25T11:50:40.153" v="4444" actId="2890"/>
        <pc:sldMkLst>
          <pc:docMk/>
          <pc:sldMk cId="2554802186" sldId="861"/>
        </pc:sldMkLst>
      </pc:sldChg>
      <pc:sldChg chg="add del">
        <pc:chgData name="Koksrud Andreas" userId="9d9beba6-c052-407a-8599-c781a677a996" providerId="ADAL" clId="{99DCF58A-61FD-4A82-B407-E5D0DF551B20}" dt="2023-12-25T11:42:23.343" v="4427"/>
        <pc:sldMkLst>
          <pc:docMk/>
          <pc:sldMk cId="2608200818" sldId="861"/>
        </pc:sldMkLst>
      </pc:sldChg>
      <pc:sldChg chg="addSp delSp modSp add mod">
        <pc:chgData name="Koksrud Andreas" userId="9d9beba6-c052-407a-8599-c781a677a996" providerId="ADAL" clId="{99DCF58A-61FD-4A82-B407-E5D0DF551B20}" dt="2023-12-25T20:52:24.826" v="4737" actId="21"/>
        <pc:sldMkLst>
          <pc:docMk/>
          <pc:sldMk cId="575130139" sldId="862"/>
        </pc:sldMkLst>
        <pc:spChg chg="del">
          <ac:chgData name="Koksrud Andreas" userId="9d9beba6-c052-407a-8599-c781a677a996" providerId="ADAL" clId="{99DCF58A-61FD-4A82-B407-E5D0DF551B20}" dt="2023-12-25T11:57:13.749" v="4645" actId="478"/>
          <ac:spMkLst>
            <pc:docMk/>
            <pc:sldMk cId="575130139" sldId="862"/>
            <ac:spMk id="2" creationId="{244AF8B4-0676-DA57-A478-7C2D0FFFC8AA}"/>
          </ac:spMkLst>
        </pc:spChg>
        <pc:spChg chg="add mod">
          <ac:chgData name="Koksrud Andreas" userId="9d9beba6-c052-407a-8599-c781a677a996" providerId="ADAL" clId="{99DCF58A-61FD-4A82-B407-E5D0DF551B20}" dt="2023-12-25T12:15:15.822" v="4671" actId="14100"/>
          <ac:spMkLst>
            <pc:docMk/>
            <pc:sldMk cId="575130139" sldId="862"/>
            <ac:spMk id="4" creationId="{FEFDFE44-611E-8625-FC2E-FCBBCCD3961B}"/>
          </ac:spMkLst>
        </pc:spChg>
        <pc:spChg chg="mod">
          <ac:chgData name="Koksrud Andreas" userId="9d9beba6-c052-407a-8599-c781a677a996" providerId="ADAL" clId="{99DCF58A-61FD-4A82-B407-E5D0DF551B20}" dt="2023-12-25T12:16:02.143" v="4680" actId="20577"/>
          <ac:spMkLst>
            <pc:docMk/>
            <pc:sldMk cId="575130139" sldId="862"/>
            <ac:spMk id="180" creationId="{00000000-0000-0000-0000-000000000000}"/>
          </ac:spMkLst>
        </pc:spChg>
        <pc:picChg chg="add del mod">
          <ac:chgData name="Koksrud Andreas" userId="9d9beba6-c052-407a-8599-c781a677a996" providerId="ADAL" clId="{99DCF58A-61FD-4A82-B407-E5D0DF551B20}" dt="2023-12-25T20:52:24.826" v="4737" actId="21"/>
          <ac:picMkLst>
            <pc:docMk/>
            <pc:sldMk cId="575130139" sldId="862"/>
            <ac:picMk id="6" creationId="{B28A0A82-08AC-0360-DA39-CEB01F3A103E}"/>
          </ac:picMkLst>
        </pc:picChg>
      </pc:sldChg>
      <pc:sldChg chg="addSp delSp modSp add mod">
        <pc:chgData name="Koksrud Andreas" userId="9d9beba6-c052-407a-8599-c781a677a996" providerId="ADAL" clId="{99DCF58A-61FD-4A82-B407-E5D0DF551B20}" dt="2023-12-25T20:55:22.392" v="4860" actId="20577"/>
        <pc:sldMkLst>
          <pc:docMk/>
          <pc:sldMk cId="3027998341" sldId="863"/>
        </pc:sldMkLst>
        <pc:spChg chg="del">
          <ac:chgData name="Koksrud Andreas" userId="9d9beba6-c052-407a-8599-c781a677a996" providerId="ADAL" clId="{99DCF58A-61FD-4A82-B407-E5D0DF551B20}" dt="2023-12-25T12:16:12.871" v="4704" actId="478"/>
          <ac:spMkLst>
            <pc:docMk/>
            <pc:sldMk cId="3027998341" sldId="863"/>
            <ac:spMk id="4" creationId="{FEFDFE44-611E-8625-FC2E-FCBBCCD3961B}"/>
          </ac:spMkLst>
        </pc:spChg>
        <pc:spChg chg="add mod">
          <ac:chgData name="Koksrud Andreas" userId="9d9beba6-c052-407a-8599-c781a677a996" providerId="ADAL" clId="{99DCF58A-61FD-4A82-B407-E5D0DF551B20}" dt="2023-12-25T20:55:11.760" v="4838" actId="1076"/>
          <ac:spMkLst>
            <pc:docMk/>
            <pc:sldMk cId="3027998341" sldId="863"/>
            <ac:spMk id="14" creationId="{C85A9E99-AA4E-C194-FF2A-6C5AC5C1CF94}"/>
          </ac:spMkLst>
        </pc:spChg>
        <pc:spChg chg="mod">
          <ac:chgData name="Koksrud Andreas" userId="9d9beba6-c052-407a-8599-c781a677a996" providerId="ADAL" clId="{99DCF58A-61FD-4A82-B407-E5D0DF551B20}" dt="2023-12-25T20:55:22.392" v="4860" actId="20577"/>
          <ac:spMkLst>
            <pc:docMk/>
            <pc:sldMk cId="3027998341" sldId="863"/>
            <ac:spMk id="180" creationId="{00000000-0000-0000-0000-000000000000}"/>
          </ac:spMkLst>
        </pc:spChg>
        <pc:picChg chg="add del mod">
          <ac:chgData name="Koksrud Andreas" userId="9d9beba6-c052-407a-8599-c781a677a996" providerId="ADAL" clId="{99DCF58A-61FD-4A82-B407-E5D0DF551B20}" dt="2023-12-25T20:51:51.069" v="4734" actId="478"/>
          <ac:picMkLst>
            <pc:docMk/>
            <pc:sldMk cId="3027998341" sldId="863"/>
            <ac:picMk id="3" creationId="{77907BC8-2492-5154-F6AB-FEF15AD4A76D}"/>
          </ac:picMkLst>
        </pc:picChg>
        <pc:picChg chg="del">
          <ac:chgData name="Koksrud Andreas" userId="9d9beba6-c052-407a-8599-c781a677a996" providerId="ADAL" clId="{99DCF58A-61FD-4A82-B407-E5D0DF551B20}" dt="2023-12-25T12:16:14.524" v="4705" actId="478"/>
          <ac:picMkLst>
            <pc:docMk/>
            <pc:sldMk cId="3027998341" sldId="863"/>
            <ac:picMk id="6" creationId="{B28A0A82-08AC-0360-DA39-CEB01F3A103E}"/>
          </ac:picMkLst>
        </pc:picChg>
        <pc:picChg chg="add del mod">
          <ac:chgData name="Koksrud Andreas" userId="9d9beba6-c052-407a-8599-c781a677a996" providerId="ADAL" clId="{99DCF58A-61FD-4A82-B407-E5D0DF551B20}" dt="2023-12-25T20:51:45.027" v="4733" actId="478"/>
          <ac:picMkLst>
            <pc:docMk/>
            <pc:sldMk cId="3027998341" sldId="863"/>
            <ac:picMk id="7" creationId="{6BFC406C-2157-87E6-03BD-F84EC5759415}"/>
          </ac:picMkLst>
        </pc:picChg>
        <pc:picChg chg="add mod">
          <ac:chgData name="Koksrud Andreas" userId="9d9beba6-c052-407a-8599-c781a677a996" providerId="ADAL" clId="{99DCF58A-61FD-4A82-B407-E5D0DF551B20}" dt="2023-12-25T20:55:03.676" v="4837" actId="1076"/>
          <ac:picMkLst>
            <pc:docMk/>
            <pc:sldMk cId="3027998341" sldId="863"/>
            <ac:picMk id="9" creationId="{B39AEE37-E5E1-FD33-5317-53FB4A2C1415}"/>
          </ac:picMkLst>
        </pc:picChg>
        <pc:picChg chg="add mod">
          <ac:chgData name="Koksrud Andreas" userId="9d9beba6-c052-407a-8599-c781a677a996" providerId="ADAL" clId="{99DCF58A-61FD-4A82-B407-E5D0DF551B20}" dt="2023-12-25T20:55:03.676" v="4837" actId="1076"/>
          <ac:picMkLst>
            <pc:docMk/>
            <pc:sldMk cId="3027998341" sldId="863"/>
            <ac:picMk id="10" creationId="{D53ABFBC-DDEE-E0B1-EBD7-A03E15A1AD96}"/>
          </ac:picMkLst>
        </pc:picChg>
        <pc:picChg chg="add mod">
          <ac:chgData name="Koksrud Andreas" userId="9d9beba6-c052-407a-8599-c781a677a996" providerId="ADAL" clId="{99DCF58A-61FD-4A82-B407-E5D0DF551B20}" dt="2023-12-25T20:55:03.676" v="4837" actId="1076"/>
          <ac:picMkLst>
            <pc:docMk/>
            <pc:sldMk cId="3027998341" sldId="863"/>
            <ac:picMk id="12" creationId="{36E36D84-4DF4-898C-B0E4-F15DFC15B501}"/>
          </ac:picMkLst>
        </pc:picChg>
      </pc:sldChg>
      <pc:sldChg chg="modSp add del mod">
        <pc:chgData name="Koksrud Andreas" userId="9d9beba6-c052-407a-8599-c781a677a996" providerId="ADAL" clId="{99DCF58A-61FD-4A82-B407-E5D0DF551B20}" dt="2023-12-25T20:55:25.638" v="4861" actId="47"/>
        <pc:sldMkLst>
          <pc:docMk/>
          <pc:sldMk cId="2270815265" sldId="864"/>
        </pc:sldMkLst>
        <pc:spChg chg="mod">
          <ac:chgData name="Koksrud Andreas" userId="9d9beba6-c052-407a-8599-c781a677a996" providerId="ADAL" clId="{99DCF58A-61FD-4A82-B407-E5D0DF551B20}" dt="2023-12-25T20:54:29.040" v="4830" actId="20577"/>
          <ac:spMkLst>
            <pc:docMk/>
            <pc:sldMk cId="2270815265" sldId="864"/>
            <ac:spMk id="180" creationId="{00000000-0000-0000-0000-000000000000}"/>
          </ac:spMkLst>
        </pc:spChg>
      </pc:sldChg>
      <pc:sldChg chg="addSp delSp modSp add mod">
        <pc:chgData name="Koksrud Andreas" userId="9d9beba6-c052-407a-8599-c781a677a996" providerId="ADAL" clId="{99DCF58A-61FD-4A82-B407-E5D0DF551B20}" dt="2023-12-25T20:57:00.829" v="4889" actId="1036"/>
        <pc:sldMkLst>
          <pc:docMk/>
          <pc:sldMk cId="2970237999" sldId="864"/>
        </pc:sldMkLst>
        <pc:spChg chg="mod">
          <ac:chgData name="Koksrud Andreas" userId="9d9beba6-c052-407a-8599-c781a677a996" providerId="ADAL" clId="{99DCF58A-61FD-4A82-B407-E5D0DF551B20}" dt="2023-12-25T20:55:38.074" v="4880" actId="20577"/>
          <ac:spMkLst>
            <pc:docMk/>
            <pc:sldMk cId="2970237999" sldId="864"/>
            <ac:spMk id="14" creationId="{C85A9E99-AA4E-C194-FF2A-6C5AC5C1CF94}"/>
          </ac:spMkLst>
        </pc:spChg>
        <pc:picChg chg="add mod modCrop">
          <ac:chgData name="Koksrud Andreas" userId="9d9beba6-c052-407a-8599-c781a677a996" providerId="ADAL" clId="{99DCF58A-61FD-4A82-B407-E5D0DF551B20}" dt="2023-12-25T20:57:00.829" v="4889" actId="1036"/>
          <ac:picMkLst>
            <pc:docMk/>
            <pc:sldMk cId="2970237999" sldId="864"/>
            <ac:picMk id="3" creationId="{08CDF2F7-7F69-D3A5-6F46-C3549070755D}"/>
          </ac:picMkLst>
        </pc:picChg>
        <pc:picChg chg="del">
          <ac:chgData name="Koksrud Andreas" userId="9d9beba6-c052-407a-8599-c781a677a996" providerId="ADAL" clId="{99DCF58A-61FD-4A82-B407-E5D0DF551B20}" dt="2023-12-25T20:55:42.988" v="4882" actId="478"/>
          <ac:picMkLst>
            <pc:docMk/>
            <pc:sldMk cId="2970237999" sldId="864"/>
            <ac:picMk id="9" creationId="{B39AEE37-E5E1-FD33-5317-53FB4A2C1415}"/>
          </ac:picMkLst>
        </pc:picChg>
        <pc:picChg chg="del">
          <ac:chgData name="Koksrud Andreas" userId="9d9beba6-c052-407a-8599-c781a677a996" providerId="ADAL" clId="{99DCF58A-61FD-4A82-B407-E5D0DF551B20}" dt="2023-12-25T20:55:41.073" v="4881" actId="478"/>
          <ac:picMkLst>
            <pc:docMk/>
            <pc:sldMk cId="2970237999" sldId="864"/>
            <ac:picMk id="10" creationId="{D53ABFBC-DDEE-E0B1-EBD7-A03E15A1AD96}"/>
          </ac:picMkLst>
        </pc:picChg>
        <pc:picChg chg="del">
          <ac:chgData name="Koksrud Andreas" userId="9d9beba6-c052-407a-8599-c781a677a996" providerId="ADAL" clId="{99DCF58A-61FD-4A82-B407-E5D0DF551B20}" dt="2023-12-25T20:55:44.450" v="4883" actId="478"/>
          <ac:picMkLst>
            <pc:docMk/>
            <pc:sldMk cId="2970237999" sldId="864"/>
            <ac:picMk id="12" creationId="{36E36D84-4DF4-898C-B0E4-F15DFC15B501}"/>
          </ac:picMkLst>
        </pc:picChg>
      </pc:sldChg>
      <pc:sldChg chg="addSp delSp modSp add mod">
        <pc:chgData name="Koksrud Andreas" userId="9d9beba6-c052-407a-8599-c781a677a996" providerId="ADAL" clId="{99DCF58A-61FD-4A82-B407-E5D0DF551B20}" dt="2023-12-25T20:58:37.812" v="4932" actId="1076"/>
        <pc:sldMkLst>
          <pc:docMk/>
          <pc:sldMk cId="1445178992" sldId="865"/>
        </pc:sldMkLst>
        <pc:spChg chg="mod">
          <ac:chgData name="Koksrud Andreas" userId="9d9beba6-c052-407a-8599-c781a677a996" providerId="ADAL" clId="{99DCF58A-61FD-4A82-B407-E5D0DF551B20}" dt="2023-12-25T20:58:08.087" v="4929" actId="20577"/>
          <ac:spMkLst>
            <pc:docMk/>
            <pc:sldMk cId="1445178992" sldId="865"/>
            <ac:spMk id="14" creationId="{C85A9E99-AA4E-C194-FF2A-6C5AC5C1CF94}"/>
          </ac:spMkLst>
        </pc:spChg>
        <pc:picChg chg="del">
          <ac:chgData name="Koksrud Andreas" userId="9d9beba6-c052-407a-8599-c781a677a996" providerId="ADAL" clId="{99DCF58A-61FD-4A82-B407-E5D0DF551B20}" dt="2023-12-25T20:58:09.829" v="4930" actId="478"/>
          <ac:picMkLst>
            <pc:docMk/>
            <pc:sldMk cId="1445178992" sldId="865"/>
            <ac:picMk id="3" creationId="{08CDF2F7-7F69-D3A5-6F46-C3549070755D}"/>
          </ac:picMkLst>
        </pc:picChg>
        <pc:picChg chg="add mod">
          <ac:chgData name="Koksrud Andreas" userId="9d9beba6-c052-407a-8599-c781a677a996" providerId="ADAL" clId="{99DCF58A-61FD-4A82-B407-E5D0DF551B20}" dt="2023-12-25T20:58:37.812" v="4932" actId="1076"/>
          <ac:picMkLst>
            <pc:docMk/>
            <pc:sldMk cId="1445178992" sldId="865"/>
            <ac:picMk id="4" creationId="{0EDB0BA9-55B4-EA3B-1D41-37B08DC75373}"/>
          </ac:picMkLst>
        </pc:picChg>
      </pc:sldChg>
      <pc:sldChg chg="delSp modSp add mod">
        <pc:chgData name="Koksrud Andreas" userId="9d9beba6-c052-407a-8599-c781a677a996" providerId="ADAL" clId="{99DCF58A-61FD-4A82-B407-E5D0DF551B20}" dt="2024-01-09T05:39:04.324" v="5203" actId="20577"/>
        <pc:sldMkLst>
          <pc:docMk/>
          <pc:sldMk cId="141793938" sldId="866"/>
        </pc:sldMkLst>
        <pc:spChg chg="mod">
          <ac:chgData name="Koksrud Andreas" userId="9d9beba6-c052-407a-8599-c781a677a996" providerId="ADAL" clId="{99DCF58A-61FD-4A82-B407-E5D0DF551B20}" dt="2024-01-09T05:39:04.324" v="5203" actId="20577"/>
          <ac:spMkLst>
            <pc:docMk/>
            <pc:sldMk cId="141793938" sldId="866"/>
            <ac:spMk id="14" creationId="{C85A9E99-AA4E-C194-FF2A-6C5AC5C1CF94}"/>
          </ac:spMkLst>
        </pc:spChg>
        <pc:picChg chg="del">
          <ac:chgData name="Koksrud Andreas" userId="9d9beba6-c052-407a-8599-c781a677a996" providerId="ADAL" clId="{99DCF58A-61FD-4A82-B407-E5D0DF551B20}" dt="2023-12-25T20:59:18.830" v="5014" actId="478"/>
          <ac:picMkLst>
            <pc:docMk/>
            <pc:sldMk cId="141793938" sldId="866"/>
            <ac:picMk id="4" creationId="{0EDB0BA9-55B4-EA3B-1D41-37B08DC75373}"/>
          </ac:picMkLst>
        </pc:picChg>
      </pc:sldChg>
      <pc:sldChg chg="modSp add mod ord">
        <pc:chgData name="Koksrud Andreas" userId="9d9beba6-c052-407a-8599-c781a677a996" providerId="ADAL" clId="{99DCF58A-61FD-4A82-B407-E5D0DF551B20}" dt="2024-01-09T05:38:40.167" v="5152"/>
        <pc:sldMkLst>
          <pc:docMk/>
          <pc:sldMk cId="3994882627" sldId="867"/>
        </pc:sldMkLst>
        <pc:spChg chg="mod">
          <ac:chgData name="Koksrud Andreas" userId="9d9beba6-c052-407a-8599-c781a677a996" providerId="ADAL" clId="{99DCF58A-61FD-4A82-B407-E5D0DF551B20}" dt="2023-12-25T20:59:59.394" v="5077" actId="20577"/>
          <ac:spMkLst>
            <pc:docMk/>
            <pc:sldMk cId="3994882627" sldId="867"/>
            <ac:spMk id="14" creationId="{C85A9E99-AA4E-C194-FF2A-6C5AC5C1CF94}"/>
          </ac:spMkLst>
        </pc:spChg>
      </pc:sldChg>
      <pc:sldChg chg="new del">
        <pc:chgData name="Koksrud Andreas" userId="9d9beba6-c052-407a-8599-c781a677a996" providerId="ADAL" clId="{99DCF58A-61FD-4A82-B407-E5D0DF551B20}" dt="2024-01-08T15:29:38.016" v="5091" actId="47"/>
        <pc:sldMkLst>
          <pc:docMk/>
          <pc:sldMk cId="2443261058" sldId="868"/>
        </pc:sldMkLst>
      </pc:sldChg>
      <pc:sldChg chg="addSp modSp add mod">
        <pc:chgData name="Koksrud Andreas" userId="9d9beba6-c052-407a-8599-c781a677a996" providerId="ADAL" clId="{99DCF58A-61FD-4A82-B407-E5D0DF551B20}" dt="2024-01-09T05:41:58.607" v="5484" actId="20577"/>
        <pc:sldMkLst>
          <pc:docMk/>
          <pc:sldMk cId="612492956" sldId="869"/>
        </pc:sldMkLst>
        <pc:spChg chg="add mod">
          <ac:chgData name="Koksrud Andreas" userId="9d9beba6-c052-407a-8599-c781a677a996" providerId="ADAL" clId="{99DCF58A-61FD-4A82-B407-E5D0DF551B20}" dt="2024-01-09T05:41:12.484" v="5444" actId="1076"/>
          <ac:spMkLst>
            <pc:docMk/>
            <pc:sldMk cId="612492956" sldId="869"/>
            <ac:spMk id="3" creationId="{F8C25FDC-57EE-1DDE-CCC5-273A2149FEAB}"/>
          </ac:spMkLst>
        </pc:spChg>
        <pc:spChg chg="mod">
          <ac:chgData name="Koksrud Andreas" userId="9d9beba6-c052-407a-8599-c781a677a996" providerId="ADAL" clId="{99DCF58A-61FD-4A82-B407-E5D0DF551B20}" dt="2024-01-09T05:41:53.484" v="5482" actId="20577"/>
          <ac:spMkLst>
            <pc:docMk/>
            <pc:sldMk cId="612492956" sldId="869"/>
            <ac:spMk id="14" creationId="{C85A9E99-AA4E-C194-FF2A-6C5AC5C1CF94}"/>
          </ac:spMkLst>
        </pc:spChg>
        <pc:spChg chg="mod">
          <ac:chgData name="Koksrud Andreas" userId="9d9beba6-c052-407a-8599-c781a677a996" providerId="ADAL" clId="{99DCF58A-61FD-4A82-B407-E5D0DF551B20}" dt="2024-01-09T05:41:58.607" v="5484" actId="20577"/>
          <ac:spMkLst>
            <pc:docMk/>
            <pc:sldMk cId="612492956" sldId="869"/>
            <ac:spMk id="180" creationId="{00000000-0000-0000-0000-000000000000}"/>
          </ac:spMkLst>
        </pc:spChg>
      </pc:sldChg>
      <pc:sldChg chg="modSp add mod">
        <pc:chgData name="Koksrud Andreas" userId="9d9beba6-c052-407a-8599-c781a677a996" providerId="ADAL" clId="{99DCF58A-61FD-4A82-B407-E5D0DF551B20}" dt="2024-01-09T05:40:31.423" v="5409" actId="20577"/>
        <pc:sldMkLst>
          <pc:docMk/>
          <pc:sldMk cId="118550550" sldId="870"/>
        </pc:sldMkLst>
        <pc:spChg chg="mod">
          <ac:chgData name="Koksrud Andreas" userId="9d9beba6-c052-407a-8599-c781a677a996" providerId="ADAL" clId="{99DCF58A-61FD-4A82-B407-E5D0DF551B20}" dt="2024-01-09T05:40:31.423" v="5409" actId="20577"/>
          <ac:spMkLst>
            <pc:docMk/>
            <pc:sldMk cId="118550550" sldId="870"/>
            <ac:spMk id="14" creationId="{C85A9E99-AA4E-C194-FF2A-6C5AC5C1CF94}"/>
          </ac:spMkLst>
        </pc:spChg>
        <pc:spChg chg="mod">
          <ac:chgData name="Koksrud Andreas" userId="9d9beba6-c052-407a-8599-c781a677a996" providerId="ADAL" clId="{99DCF58A-61FD-4A82-B407-E5D0DF551B20}" dt="2024-01-09T05:39:39.616" v="5278" actId="20577"/>
          <ac:spMkLst>
            <pc:docMk/>
            <pc:sldMk cId="118550550" sldId="870"/>
            <ac:spMk id="180" creationId="{00000000-0000-0000-0000-000000000000}"/>
          </ac:spMkLst>
        </pc:spChg>
      </pc:sldChg>
      <pc:sldChg chg="modSp add mod">
        <pc:chgData name="Koksrud Andreas" userId="9d9beba6-c052-407a-8599-c781a677a996" providerId="ADAL" clId="{99DCF58A-61FD-4A82-B407-E5D0DF551B20}" dt="2024-01-09T05:44:07.475" v="5614" actId="20577"/>
        <pc:sldMkLst>
          <pc:docMk/>
          <pc:sldMk cId="548472017" sldId="871"/>
        </pc:sldMkLst>
        <pc:spChg chg="mod">
          <ac:chgData name="Koksrud Andreas" userId="9d9beba6-c052-407a-8599-c781a677a996" providerId="ADAL" clId="{99DCF58A-61FD-4A82-B407-E5D0DF551B20}" dt="2024-01-09T05:43:03.572" v="5584"/>
          <ac:spMkLst>
            <pc:docMk/>
            <pc:sldMk cId="548472017" sldId="871"/>
            <ac:spMk id="3" creationId="{F8C25FDC-57EE-1DDE-CCC5-273A2149FEAB}"/>
          </ac:spMkLst>
        </pc:spChg>
        <pc:spChg chg="mod">
          <ac:chgData name="Koksrud Andreas" userId="9d9beba6-c052-407a-8599-c781a677a996" providerId="ADAL" clId="{99DCF58A-61FD-4A82-B407-E5D0DF551B20}" dt="2024-01-09T05:44:07.475" v="5614" actId="20577"/>
          <ac:spMkLst>
            <pc:docMk/>
            <pc:sldMk cId="548472017" sldId="871"/>
            <ac:spMk id="14" creationId="{C85A9E99-AA4E-C194-FF2A-6C5AC5C1CF94}"/>
          </ac:spMkLst>
        </pc:spChg>
        <pc:spChg chg="mod">
          <ac:chgData name="Koksrud Andreas" userId="9d9beba6-c052-407a-8599-c781a677a996" providerId="ADAL" clId="{99DCF58A-61FD-4A82-B407-E5D0DF551B20}" dt="2024-01-09T05:42:12.723" v="5508" actId="6549"/>
          <ac:spMkLst>
            <pc:docMk/>
            <pc:sldMk cId="548472017" sldId="871"/>
            <ac:spMk id="180" creationId="{00000000-0000-0000-0000-000000000000}"/>
          </ac:spMkLst>
        </pc:spChg>
      </pc:sldChg>
    </pc:docChg>
  </pc:docChgLst>
  <pc:docChgLst>
    <pc:chgData name="Koksrud Andreas" userId="9d9beba6-c052-407a-8599-c781a677a996" providerId="ADAL" clId="{1FB09F4F-CFDF-4D24-98BE-1F875FA776D6}"/>
    <pc:docChg chg="undo custSel addSld delSld modSld sldOrd modSection">
      <pc:chgData name="Koksrud Andreas" userId="9d9beba6-c052-407a-8599-c781a677a996" providerId="ADAL" clId="{1FB09F4F-CFDF-4D24-98BE-1F875FA776D6}" dt="2021-11-18T17:20:51.311" v="2717" actId="20577"/>
      <pc:docMkLst>
        <pc:docMk/>
      </pc:docMkLst>
      <pc:sldChg chg="del">
        <pc:chgData name="Koksrud Andreas" userId="9d9beba6-c052-407a-8599-c781a677a996" providerId="ADAL" clId="{1FB09F4F-CFDF-4D24-98BE-1F875FA776D6}" dt="2021-11-18T09:17:16.380" v="0" actId="47"/>
        <pc:sldMkLst>
          <pc:docMk/>
          <pc:sldMk cId="129742149" sldId="277"/>
        </pc:sldMkLst>
      </pc:sldChg>
      <pc:sldChg chg="modSp">
        <pc:chgData name="Koksrud Andreas" userId="9d9beba6-c052-407a-8599-c781a677a996" providerId="ADAL" clId="{1FB09F4F-CFDF-4D24-98BE-1F875FA776D6}" dt="2021-11-18T09:17:59.239" v="5" actId="20577"/>
        <pc:sldMkLst>
          <pc:docMk/>
          <pc:sldMk cId="3494317797" sldId="280"/>
        </pc:sldMkLst>
        <pc:graphicFrameChg chg="mod">
          <ac:chgData name="Koksrud Andreas" userId="9d9beba6-c052-407a-8599-c781a677a996" providerId="ADAL" clId="{1FB09F4F-CFDF-4D24-98BE-1F875FA776D6}" dt="2021-11-18T09:17:59.239" v="5" actId="20577"/>
          <ac:graphicFrameMkLst>
            <pc:docMk/>
            <pc:sldMk cId="3494317797" sldId="280"/>
            <ac:graphicFrameMk id="168" creationId="{714074E8-7E65-4C8B-B79C-AEF7E52AA35E}"/>
          </ac:graphicFrameMkLst>
        </pc:graphicFrameChg>
      </pc:sldChg>
      <pc:sldChg chg="modSp mod">
        <pc:chgData name="Koksrud Andreas" userId="9d9beba6-c052-407a-8599-c781a677a996" providerId="ADAL" clId="{1FB09F4F-CFDF-4D24-98BE-1F875FA776D6}" dt="2021-11-18T09:23:39.153" v="65" actId="6549"/>
        <pc:sldMkLst>
          <pc:docMk/>
          <pc:sldMk cId="2509195288" sldId="290"/>
        </pc:sldMkLst>
        <pc:spChg chg="mod">
          <ac:chgData name="Koksrud Andreas" userId="9d9beba6-c052-407a-8599-c781a677a996" providerId="ADAL" clId="{1FB09F4F-CFDF-4D24-98BE-1F875FA776D6}" dt="2021-11-18T09:23:39.153" v="65" actId="6549"/>
          <ac:spMkLst>
            <pc:docMk/>
            <pc:sldMk cId="2509195288" sldId="290"/>
            <ac:spMk id="165" creationId="{00000000-0000-0000-0000-000000000000}"/>
          </ac:spMkLst>
        </pc:spChg>
      </pc:sldChg>
      <pc:sldChg chg="modSp mod">
        <pc:chgData name="Koksrud Andreas" userId="9d9beba6-c052-407a-8599-c781a677a996" providerId="ADAL" clId="{1FB09F4F-CFDF-4D24-98BE-1F875FA776D6}" dt="2021-11-18T09:23:43.822" v="66" actId="6549"/>
        <pc:sldMkLst>
          <pc:docMk/>
          <pc:sldMk cId="1911017754" sldId="291"/>
        </pc:sldMkLst>
        <pc:spChg chg="mod">
          <ac:chgData name="Koksrud Andreas" userId="9d9beba6-c052-407a-8599-c781a677a996" providerId="ADAL" clId="{1FB09F4F-CFDF-4D24-98BE-1F875FA776D6}" dt="2021-11-18T09:23:43.822" v="66" actId="6549"/>
          <ac:spMkLst>
            <pc:docMk/>
            <pc:sldMk cId="1911017754" sldId="291"/>
            <ac:spMk id="165" creationId="{00000000-0000-0000-0000-000000000000}"/>
          </ac:spMkLst>
        </pc:spChg>
      </pc:sldChg>
      <pc:sldChg chg="modSp mod">
        <pc:chgData name="Koksrud Andreas" userId="9d9beba6-c052-407a-8599-c781a677a996" providerId="ADAL" clId="{1FB09F4F-CFDF-4D24-98BE-1F875FA776D6}" dt="2021-11-18T09:24:15.644" v="115" actId="20577"/>
        <pc:sldMkLst>
          <pc:docMk/>
          <pc:sldMk cId="905136967" sldId="292"/>
        </pc:sldMkLst>
        <pc:spChg chg="mod">
          <ac:chgData name="Koksrud Andreas" userId="9d9beba6-c052-407a-8599-c781a677a996" providerId="ADAL" clId="{1FB09F4F-CFDF-4D24-98BE-1F875FA776D6}" dt="2021-11-18T09:24:15.644" v="115" actId="20577"/>
          <ac:spMkLst>
            <pc:docMk/>
            <pc:sldMk cId="905136967" sldId="292"/>
            <ac:spMk id="165" creationId="{00000000-0000-0000-0000-000000000000}"/>
          </ac:spMkLst>
        </pc:spChg>
      </pc:sldChg>
      <pc:sldChg chg="del">
        <pc:chgData name="Koksrud Andreas" userId="9d9beba6-c052-407a-8599-c781a677a996" providerId="ADAL" clId="{1FB09F4F-CFDF-4D24-98BE-1F875FA776D6}" dt="2021-11-18T09:24:47.597" v="116" actId="47"/>
        <pc:sldMkLst>
          <pc:docMk/>
          <pc:sldMk cId="76177616" sldId="297"/>
        </pc:sldMkLst>
      </pc:sldChg>
      <pc:sldChg chg="modSp mod">
        <pc:chgData name="Koksrud Andreas" userId="9d9beba6-c052-407a-8599-c781a677a996" providerId="ADAL" clId="{1FB09F4F-CFDF-4D24-98BE-1F875FA776D6}" dt="2021-11-18T09:25:37.252" v="123" actId="14100"/>
        <pc:sldMkLst>
          <pc:docMk/>
          <pc:sldMk cId="1764870061" sldId="302"/>
        </pc:sldMkLst>
        <pc:picChg chg="mod">
          <ac:chgData name="Koksrud Andreas" userId="9d9beba6-c052-407a-8599-c781a677a996" providerId="ADAL" clId="{1FB09F4F-CFDF-4D24-98BE-1F875FA776D6}" dt="2021-11-18T09:25:37.252" v="123" actId="14100"/>
          <ac:picMkLst>
            <pc:docMk/>
            <pc:sldMk cId="1764870061" sldId="302"/>
            <ac:picMk id="188" creationId="{00000000-0000-0000-0000-000000000000}"/>
          </ac:picMkLst>
        </pc:picChg>
      </pc:sldChg>
      <pc:sldChg chg="addSp delSp modSp mod">
        <pc:chgData name="Koksrud Andreas" userId="9d9beba6-c052-407a-8599-c781a677a996" providerId="ADAL" clId="{1FB09F4F-CFDF-4D24-98BE-1F875FA776D6}" dt="2021-11-18T09:25:26.152" v="121" actId="1076"/>
        <pc:sldMkLst>
          <pc:docMk/>
          <pc:sldMk cId="1114236349" sldId="303"/>
        </pc:sldMkLst>
        <pc:spChg chg="add del mod">
          <ac:chgData name="Koksrud Andreas" userId="9d9beba6-c052-407a-8599-c781a677a996" providerId="ADAL" clId="{1FB09F4F-CFDF-4D24-98BE-1F875FA776D6}" dt="2021-11-18T09:25:24.462" v="120" actId="478"/>
          <ac:spMkLst>
            <pc:docMk/>
            <pc:sldMk cId="1114236349" sldId="303"/>
            <ac:spMk id="3" creationId="{D12929B9-1979-4D99-B545-C1E824AD7993}"/>
          </ac:spMkLst>
        </pc:spChg>
        <pc:picChg chg="add mod">
          <ac:chgData name="Koksrud Andreas" userId="9d9beba6-c052-407a-8599-c781a677a996" providerId="ADAL" clId="{1FB09F4F-CFDF-4D24-98BE-1F875FA776D6}" dt="2021-11-18T09:25:26.152" v="121" actId="1076"/>
          <ac:picMkLst>
            <pc:docMk/>
            <pc:sldMk cId="1114236349" sldId="303"/>
            <ac:picMk id="9" creationId="{3B51429A-6032-4C86-BAE9-B4F97F3989C3}"/>
          </ac:picMkLst>
        </pc:picChg>
        <pc:picChg chg="del">
          <ac:chgData name="Koksrud Andreas" userId="9d9beba6-c052-407a-8599-c781a677a996" providerId="ADAL" clId="{1FB09F4F-CFDF-4D24-98BE-1F875FA776D6}" dt="2021-11-18T09:25:19.095" v="117" actId="478"/>
          <ac:picMkLst>
            <pc:docMk/>
            <pc:sldMk cId="1114236349" sldId="303"/>
            <ac:picMk id="188" creationId="{00000000-0000-0000-0000-000000000000}"/>
          </ac:picMkLst>
        </pc:picChg>
      </pc:sldChg>
      <pc:sldChg chg="modSp mod">
        <pc:chgData name="Koksrud Andreas" userId="9d9beba6-c052-407a-8599-c781a677a996" providerId="ADAL" clId="{1FB09F4F-CFDF-4D24-98BE-1F875FA776D6}" dt="2021-11-18T09:37:18.697" v="135" actId="14100"/>
        <pc:sldMkLst>
          <pc:docMk/>
          <pc:sldMk cId="2366142093" sldId="304"/>
        </pc:sldMkLst>
        <pc:spChg chg="mod ord">
          <ac:chgData name="Koksrud Andreas" userId="9d9beba6-c052-407a-8599-c781a677a996" providerId="ADAL" clId="{1FB09F4F-CFDF-4D24-98BE-1F875FA776D6}" dt="2021-11-18T09:37:09.890" v="134" actId="166"/>
          <ac:spMkLst>
            <pc:docMk/>
            <pc:sldMk cId="2366142093" sldId="304"/>
            <ac:spMk id="181" creationId="{00000000-0000-0000-0000-000000000000}"/>
          </ac:spMkLst>
        </pc:spChg>
        <pc:picChg chg="mod">
          <ac:chgData name="Koksrud Andreas" userId="9d9beba6-c052-407a-8599-c781a677a996" providerId="ADAL" clId="{1FB09F4F-CFDF-4D24-98BE-1F875FA776D6}" dt="2021-11-18T09:37:18.697" v="135" actId="14100"/>
          <ac:picMkLst>
            <pc:docMk/>
            <pc:sldMk cId="2366142093" sldId="304"/>
            <ac:picMk id="7" creationId="{C84352A4-AB28-4476-8C99-36C151B2E1AB}"/>
          </ac:picMkLst>
        </pc:picChg>
      </pc:sldChg>
      <pc:sldChg chg="modSp del mod">
        <pc:chgData name="Koksrud Andreas" userId="9d9beba6-c052-407a-8599-c781a677a996" providerId="ADAL" clId="{1FB09F4F-CFDF-4D24-98BE-1F875FA776D6}" dt="2021-11-18T09:37:31.415" v="136" actId="47"/>
        <pc:sldMkLst>
          <pc:docMk/>
          <pc:sldMk cId="2056271996" sldId="305"/>
        </pc:sldMkLst>
        <pc:spChg chg="mod">
          <ac:chgData name="Koksrud Andreas" userId="9d9beba6-c052-407a-8599-c781a677a996" providerId="ADAL" clId="{1FB09F4F-CFDF-4D24-98BE-1F875FA776D6}" dt="2021-11-18T09:36:43.542" v="124" actId="21"/>
          <ac:spMkLst>
            <pc:docMk/>
            <pc:sldMk cId="2056271996" sldId="305"/>
            <ac:spMk id="181" creationId="{00000000-0000-0000-0000-000000000000}"/>
          </ac:spMkLst>
        </pc:spChg>
      </pc:sldChg>
      <pc:sldChg chg="del">
        <pc:chgData name="Koksrud Andreas" userId="9d9beba6-c052-407a-8599-c781a677a996" providerId="ADAL" clId="{1FB09F4F-CFDF-4D24-98BE-1F875FA776D6}" dt="2021-11-18T09:37:51.630" v="137" actId="47"/>
        <pc:sldMkLst>
          <pc:docMk/>
          <pc:sldMk cId="2598687135" sldId="307"/>
        </pc:sldMkLst>
      </pc:sldChg>
      <pc:sldChg chg="del">
        <pc:chgData name="Koksrud Andreas" userId="9d9beba6-c052-407a-8599-c781a677a996" providerId="ADAL" clId="{1FB09F4F-CFDF-4D24-98BE-1F875FA776D6}" dt="2021-11-18T09:38:01.886" v="138" actId="47"/>
        <pc:sldMkLst>
          <pc:docMk/>
          <pc:sldMk cId="2356507422" sldId="308"/>
        </pc:sldMkLst>
      </pc:sldChg>
      <pc:sldChg chg="del">
        <pc:chgData name="Koksrud Andreas" userId="9d9beba6-c052-407a-8599-c781a677a996" providerId="ADAL" clId="{1FB09F4F-CFDF-4D24-98BE-1F875FA776D6}" dt="2021-11-18T09:38:03.749" v="139" actId="47"/>
        <pc:sldMkLst>
          <pc:docMk/>
          <pc:sldMk cId="1079619010" sldId="309"/>
        </pc:sldMkLst>
      </pc:sldChg>
      <pc:sldChg chg="del">
        <pc:chgData name="Koksrud Andreas" userId="9d9beba6-c052-407a-8599-c781a677a996" providerId="ADAL" clId="{1FB09F4F-CFDF-4D24-98BE-1F875FA776D6}" dt="2021-11-18T09:38:05.156" v="140" actId="47"/>
        <pc:sldMkLst>
          <pc:docMk/>
          <pc:sldMk cId="4090527258" sldId="310"/>
        </pc:sldMkLst>
      </pc:sldChg>
      <pc:sldChg chg="del">
        <pc:chgData name="Koksrud Andreas" userId="9d9beba6-c052-407a-8599-c781a677a996" providerId="ADAL" clId="{1FB09F4F-CFDF-4D24-98BE-1F875FA776D6}" dt="2021-11-18T09:38:58.024" v="141" actId="47"/>
        <pc:sldMkLst>
          <pc:docMk/>
          <pc:sldMk cId="2703300525" sldId="314"/>
        </pc:sldMkLst>
      </pc:sldChg>
      <pc:sldChg chg="ord">
        <pc:chgData name="Koksrud Andreas" userId="9d9beba6-c052-407a-8599-c781a677a996" providerId="ADAL" clId="{1FB09F4F-CFDF-4D24-98BE-1F875FA776D6}" dt="2021-11-18T09:40:23.608" v="156"/>
        <pc:sldMkLst>
          <pc:docMk/>
          <pc:sldMk cId="2314019208" sldId="315"/>
        </pc:sldMkLst>
      </pc:sldChg>
      <pc:sldChg chg="modSp mod">
        <pc:chgData name="Koksrud Andreas" userId="9d9beba6-c052-407a-8599-c781a677a996" providerId="ADAL" clId="{1FB09F4F-CFDF-4D24-98BE-1F875FA776D6}" dt="2021-11-18T11:13:08.601" v="2138" actId="20577"/>
        <pc:sldMkLst>
          <pc:docMk/>
          <pc:sldMk cId="541287524" sldId="316"/>
        </pc:sldMkLst>
        <pc:spChg chg="mod">
          <ac:chgData name="Koksrud Andreas" userId="9d9beba6-c052-407a-8599-c781a677a996" providerId="ADAL" clId="{1FB09F4F-CFDF-4D24-98BE-1F875FA776D6}" dt="2021-11-18T09:40:30.273" v="157" actId="6549"/>
          <ac:spMkLst>
            <pc:docMk/>
            <pc:sldMk cId="541287524" sldId="316"/>
            <ac:spMk id="180" creationId="{00000000-0000-0000-0000-000000000000}"/>
          </ac:spMkLst>
        </pc:spChg>
        <pc:spChg chg="mod">
          <ac:chgData name="Koksrud Andreas" userId="9d9beba6-c052-407a-8599-c781a677a996" providerId="ADAL" clId="{1FB09F4F-CFDF-4D24-98BE-1F875FA776D6}" dt="2021-11-18T11:13:08.601" v="2138" actId="20577"/>
          <ac:spMkLst>
            <pc:docMk/>
            <pc:sldMk cId="541287524" sldId="316"/>
            <ac:spMk id="181" creationId="{00000000-0000-0000-0000-000000000000}"/>
          </ac:spMkLst>
        </pc:spChg>
      </pc:sldChg>
      <pc:sldChg chg="del">
        <pc:chgData name="Koksrud Andreas" userId="9d9beba6-c052-407a-8599-c781a677a996" providerId="ADAL" clId="{1FB09F4F-CFDF-4D24-98BE-1F875FA776D6}" dt="2021-11-18T09:39:23.658" v="143" actId="47"/>
        <pc:sldMkLst>
          <pc:docMk/>
          <pc:sldMk cId="3743851044" sldId="317"/>
        </pc:sldMkLst>
      </pc:sldChg>
      <pc:sldChg chg="del">
        <pc:chgData name="Koksrud Andreas" userId="9d9beba6-c052-407a-8599-c781a677a996" providerId="ADAL" clId="{1FB09F4F-CFDF-4D24-98BE-1F875FA776D6}" dt="2021-11-18T09:39:21.851" v="142" actId="47"/>
        <pc:sldMkLst>
          <pc:docMk/>
          <pc:sldMk cId="3642303867" sldId="318"/>
        </pc:sldMkLst>
      </pc:sldChg>
      <pc:sldChg chg="del">
        <pc:chgData name="Koksrud Andreas" userId="9d9beba6-c052-407a-8599-c781a677a996" providerId="ADAL" clId="{1FB09F4F-CFDF-4D24-98BE-1F875FA776D6}" dt="2021-11-18T09:39:25.360" v="144" actId="47"/>
        <pc:sldMkLst>
          <pc:docMk/>
          <pc:sldMk cId="4282291855" sldId="319"/>
        </pc:sldMkLst>
      </pc:sldChg>
      <pc:sldChg chg="del">
        <pc:chgData name="Koksrud Andreas" userId="9d9beba6-c052-407a-8599-c781a677a996" providerId="ADAL" clId="{1FB09F4F-CFDF-4D24-98BE-1F875FA776D6}" dt="2021-11-18T09:39:27.242" v="145" actId="47"/>
        <pc:sldMkLst>
          <pc:docMk/>
          <pc:sldMk cId="1943756776" sldId="320"/>
        </pc:sldMkLst>
      </pc:sldChg>
      <pc:sldChg chg="del">
        <pc:chgData name="Koksrud Andreas" userId="9d9beba6-c052-407a-8599-c781a677a996" providerId="ADAL" clId="{1FB09F4F-CFDF-4D24-98BE-1F875FA776D6}" dt="2021-11-18T09:39:28.412" v="146" actId="47"/>
        <pc:sldMkLst>
          <pc:docMk/>
          <pc:sldMk cId="2193397925" sldId="321"/>
        </pc:sldMkLst>
      </pc:sldChg>
      <pc:sldChg chg="del">
        <pc:chgData name="Koksrud Andreas" userId="9d9beba6-c052-407a-8599-c781a677a996" providerId="ADAL" clId="{1FB09F4F-CFDF-4D24-98BE-1F875FA776D6}" dt="2021-11-18T09:39:33.546" v="147" actId="47"/>
        <pc:sldMkLst>
          <pc:docMk/>
          <pc:sldMk cId="3233079612" sldId="322"/>
        </pc:sldMkLst>
      </pc:sldChg>
      <pc:sldChg chg="del">
        <pc:chgData name="Koksrud Andreas" userId="9d9beba6-c052-407a-8599-c781a677a996" providerId="ADAL" clId="{1FB09F4F-CFDF-4D24-98BE-1F875FA776D6}" dt="2021-11-18T09:39:35.834" v="148" actId="47"/>
        <pc:sldMkLst>
          <pc:docMk/>
          <pc:sldMk cId="1874744215" sldId="323"/>
        </pc:sldMkLst>
      </pc:sldChg>
      <pc:sldChg chg="del">
        <pc:chgData name="Koksrud Andreas" userId="9d9beba6-c052-407a-8599-c781a677a996" providerId="ADAL" clId="{1FB09F4F-CFDF-4D24-98BE-1F875FA776D6}" dt="2021-11-18T09:39:36.741" v="149" actId="47"/>
        <pc:sldMkLst>
          <pc:docMk/>
          <pc:sldMk cId="3593672304" sldId="324"/>
        </pc:sldMkLst>
      </pc:sldChg>
      <pc:sldChg chg="del">
        <pc:chgData name="Koksrud Andreas" userId="9d9beba6-c052-407a-8599-c781a677a996" providerId="ADAL" clId="{1FB09F4F-CFDF-4D24-98BE-1F875FA776D6}" dt="2021-11-18T09:39:38.183" v="150" actId="47"/>
        <pc:sldMkLst>
          <pc:docMk/>
          <pc:sldMk cId="2313639849" sldId="325"/>
        </pc:sldMkLst>
      </pc:sldChg>
      <pc:sldChg chg="del">
        <pc:chgData name="Koksrud Andreas" userId="9d9beba6-c052-407a-8599-c781a677a996" providerId="ADAL" clId="{1FB09F4F-CFDF-4D24-98BE-1F875FA776D6}" dt="2021-11-18T09:39:38.767" v="151" actId="47"/>
        <pc:sldMkLst>
          <pc:docMk/>
          <pc:sldMk cId="519232677" sldId="326"/>
        </pc:sldMkLst>
      </pc:sldChg>
      <pc:sldChg chg="del">
        <pc:chgData name="Koksrud Andreas" userId="9d9beba6-c052-407a-8599-c781a677a996" providerId="ADAL" clId="{1FB09F4F-CFDF-4D24-98BE-1F875FA776D6}" dt="2021-11-18T09:39:40.267" v="152" actId="47"/>
        <pc:sldMkLst>
          <pc:docMk/>
          <pc:sldMk cId="2590330072" sldId="327"/>
        </pc:sldMkLst>
      </pc:sldChg>
      <pc:sldChg chg="modSp mod">
        <pc:chgData name="Koksrud Andreas" userId="9d9beba6-c052-407a-8599-c781a677a996" providerId="ADAL" clId="{1FB09F4F-CFDF-4D24-98BE-1F875FA776D6}" dt="2021-11-18T17:20:51.311" v="2717" actId="20577"/>
        <pc:sldMkLst>
          <pc:docMk/>
          <pc:sldMk cId="697137886" sldId="679"/>
        </pc:sldMkLst>
        <pc:spChg chg="mod">
          <ac:chgData name="Koksrud Andreas" userId="9d9beba6-c052-407a-8599-c781a677a996" providerId="ADAL" clId="{1FB09F4F-CFDF-4D24-98BE-1F875FA776D6}" dt="2021-11-18T17:20:51.311" v="2717" actId="20577"/>
          <ac:spMkLst>
            <pc:docMk/>
            <pc:sldMk cId="697137886" sldId="679"/>
            <ac:spMk id="3" creationId="{00000000-0000-0000-0000-000000000000}"/>
          </ac:spMkLst>
        </pc:spChg>
      </pc:sldChg>
      <pc:sldChg chg="modSp mod">
        <pc:chgData name="Koksrud Andreas" userId="9d9beba6-c052-407a-8599-c781a677a996" providerId="ADAL" clId="{1FB09F4F-CFDF-4D24-98BE-1F875FA776D6}" dt="2021-11-18T09:25:32.026" v="122" actId="14100"/>
        <pc:sldMkLst>
          <pc:docMk/>
          <pc:sldMk cId="1184925497" sldId="732"/>
        </pc:sldMkLst>
        <pc:picChg chg="mod">
          <ac:chgData name="Koksrud Andreas" userId="9d9beba6-c052-407a-8599-c781a677a996" providerId="ADAL" clId="{1FB09F4F-CFDF-4D24-98BE-1F875FA776D6}" dt="2021-11-18T09:25:32.026" v="122" actId="14100"/>
          <ac:picMkLst>
            <pc:docMk/>
            <pc:sldMk cId="1184925497" sldId="732"/>
            <ac:picMk id="3" creationId="{F6EAD927-657C-4A55-A402-716F48D98067}"/>
          </ac:picMkLst>
        </pc:picChg>
      </pc:sldChg>
      <pc:sldChg chg="addSp delSp modSp add mod">
        <pc:chgData name="Koksrud Andreas" userId="9d9beba6-c052-407a-8599-c781a677a996" providerId="ADAL" clId="{1FB09F4F-CFDF-4D24-98BE-1F875FA776D6}" dt="2021-11-18T09:21:12.102" v="64" actId="1076"/>
        <pc:sldMkLst>
          <pc:docMk/>
          <pc:sldMk cId="827763474" sldId="734"/>
        </pc:sldMkLst>
        <pc:spChg chg="add del mod">
          <ac:chgData name="Koksrud Andreas" userId="9d9beba6-c052-407a-8599-c781a677a996" providerId="ADAL" clId="{1FB09F4F-CFDF-4D24-98BE-1F875FA776D6}" dt="2021-11-18T09:20:22.919" v="53" actId="478"/>
          <ac:spMkLst>
            <pc:docMk/>
            <pc:sldMk cId="827763474" sldId="734"/>
            <ac:spMk id="3" creationId="{0AEC7504-00DD-4041-9F9E-C7EADF77911D}"/>
          </ac:spMkLst>
        </pc:spChg>
        <pc:spChg chg="add del mod">
          <ac:chgData name="Koksrud Andreas" userId="9d9beba6-c052-407a-8599-c781a677a996" providerId="ADAL" clId="{1FB09F4F-CFDF-4D24-98BE-1F875FA776D6}" dt="2021-11-18T09:20:20.456" v="52" actId="478"/>
          <ac:spMkLst>
            <pc:docMk/>
            <pc:sldMk cId="827763474" sldId="734"/>
            <ac:spMk id="6" creationId="{53C44B02-7E8C-429B-9E61-819608326DF4}"/>
          </ac:spMkLst>
        </pc:spChg>
        <pc:spChg chg="add del mod">
          <ac:chgData name="Koksrud Andreas" userId="9d9beba6-c052-407a-8599-c781a677a996" providerId="ADAL" clId="{1FB09F4F-CFDF-4D24-98BE-1F875FA776D6}" dt="2021-11-18T09:20:20.456" v="52" actId="478"/>
          <ac:spMkLst>
            <pc:docMk/>
            <pc:sldMk cId="827763474" sldId="734"/>
            <ac:spMk id="110" creationId="{06A7A0C7-564F-4B0D-B3F4-2A5F8D707FB7}"/>
          </ac:spMkLst>
        </pc:spChg>
        <pc:spChg chg="mod">
          <ac:chgData name="Koksrud Andreas" userId="9d9beba6-c052-407a-8599-c781a677a996" providerId="ADAL" clId="{1FB09F4F-CFDF-4D24-98BE-1F875FA776D6}" dt="2021-11-18T09:18:57.971" v="23" actId="20577"/>
          <ac:spMkLst>
            <pc:docMk/>
            <pc:sldMk cId="827763474" sldId="734"/>
            <ac:spMk id="165" creationId="{00000000-0000-0000-0000-000000000000}"/>
          </ac:spMkLst>
        </pc:spChg>
        <pc:picChg chg="del">
          <ac:chgData name="Koksrud Andreas" userId="9d9beba6-c052-407a-8599-c781a677a996" providerId="ADAL" clId="{1FB09F4F-CFDF-4D24-98BE-1F875FA776D6}" dt="2021-11-18T09:20:10.426" v="48" actId="478"/>
          <ac:picMkLst>
            <pc:docMk/>
            <pc:sldMk cId="827763474" sldId="734"/>
            <ac:picMk id="5" creationId="{CA88655F-0FB7-47AB-A632-67B960CE25E9}"/>
          </ac:picMkLst>
        </pc:picChg>
        <pc:picChg chg="add del mod">
          <ac:chgData name="Koksrud Andreas" userId="9d9beba6-c052-407a-8599-c781a677a996" providerId="ADAL" clId="{1FB09F4F-CFDF-4D24-98BE-1F875FA776D6}" dt="2021-11-18T09:20:50.152" v="59" actId="478"/>
          <ac:picMkLst>
            <pc:docMk/>
            <pc:sldMk cId="827763474" sldId="734"/>
            <ac:picMk id="8" creationId="{A2B724E5-4021-4E6B-9E83-E92C33164BE0}"/>
          </ac:picMkLst>
        </pc:picChg>
        <pc:picChg chg="add mod">
          <ac:chgData name="Koksrud Andreas" userId="9d9beba6-c052-407a-8599-c781a677a996" providerId="ADAL" clId="{1FB09F4F-CFDF-4D24-98BE-1F875FA776D6}" dt="2021-11-18T09:21:12.102" v="64" actId="1076"/>
          <ac:picMkLst>
            <pc:docMk/>
            <pc:sldMk cId="827763474" sldId="734"/>
            <ac:picMk id="10" creationId="{F935734D-5083-4099-989F-C411B2C47689}"/>
          </ac:picMkLst>
        </pc:picChg>
      </pc:sldChg>
      <pc:sldChg chg="modSp add del mod">
        <pc:chgData name="Koksrud Andreas" userId="9d9beba6-c052-407a-8599-c781a677a996" providerId="ADAL" clId="{1FB09F4F-CFDF-4D24-98BE-1F875FA776D6}" dt="2021-11-18T11:16:02.827" v="2715" actId="47"/>
        <pc:sldMkLst>
          <pc:docMk/>
          <pc:sldMk cId="676036647" sldId="735"/>
        </pc:sldMkLst>
        <pc:spChg chg="mod">
          <ac:chgData name="Koksrud Andreas" userId="9d9beba6-c052-407a-8599-c781a677a996" providerId="ADAL" clId="{1FB09F4F-CFDF-4D24-98BE-1F875FA776D6}" dt="2021-11-18T09:40:17.767" v="154" actId="6549"/>
          <ac:spMkLst>
            <pc:docMk/>
            <pc:sldMk cId="676036647" sldId="735"/>
            <ac:spMk id="180" creationId="{00000000-0000-0000-0000-000000000000}"/>
          </ac:spMkLst>
        </pc:spChg>
        <pc:spChg chg="mod">
          <ac:chgData name="Koksrud Andreas" userId="9d9beba6-c052-407a-8599-c781a677a996" providerId="ADAL" clId="{1FB09F4F-CFDF-4D24-98BE-1F875FA776D6}" dt="2021-11-18T09:41:39.361" v="307" actId="6549"/>
          <ac:spMkLst>
            <pc:docMk/>
            <pc:sldMk cId="676036647" sldId="735"/>
            <ac:spMk id="181" creationId="{00000000-0000-0000-0000-000000000000}"/>
          </ac:spMkLst>
        </pc:spChg>
      </pc:sldChg>
      <pc:sldChg chg="modSp add mod">
        <pc:chgData name="Koksrud Andreas" userId="9d9beba6-c052-407a-8599-c781a677a996" providerId="ADAL" clId="{1FB09F4F-CFDF-4D24-98BE-1F875FA776D6}" dt="2021-11-18T11:15:24.318" v="2710" actId="20577"/>
        <pc:sldMkLst>
          <pc:docMk/>
          <pc:sldMk cId="1210415694" sldId="736"/>
        </pc:sldMkLst>
        <pc:spChg chg="mod">
          <ac:chgData name="Koksrud Andreas" userId="9d9beba6-c052-407a-8599-c781a677a996" providerId="ADAL" clId="{1FB09F4F-CFDF-4D24-98BE-1F875FA776D6}" dt="2021-11-18T11:13:26.857" v="2168" actId="20577"/>
          <ac:spMkLst>
            <pc:docMk/>
            <pc:sldMk cId="1210415694" sldId="736"/>
            <ac:spMk id="126" creationId="{BD2D9D3E-0A1E-4AC3-979E-48547F484027}"/>
          </ac:spMkLst>
        </pc:spChg>
        <pc:spChg chg="mod">
          <ac:chgData name="Koksrud Andreas" userId="9d9beba6-c052-407a-8599-c781a677a996" providerId="ADAL" clId="{1FB09F4F-CFDF-4D24-98BE-1F875FA776D6}" dt="2021-11-18T11:15:24.318" v="2710" actId="20577"/>
          <ac:spMkLst>
            <pc:docMk/>
            <pc:sldMk cId="1210415694" sldId="736"/>
            <ac:spMk id="181" creationId="{00000000-0000-0000-0000-000000000000}"/>
          </ac:spMkLst>
        </pc:spChg>
      </pc:sldChg>
      <pc:sldChg chg="modSp add mod">
        <pc:chgData name="Koksrud Andreas" userId="9d9beba6-c052-407a-8599-c781a677a996" providerId="ADAL" clId="{1FB09F4F-CFDF-4D24-98BE-1F875FA776D6}" dt="2021-11-18T11:12:04.924" v="2079" actId="15"/>
        <pc:sldMkLst>
          <pc:docMk/>
          <pc:sldMk cId="2671092135" sldId="737"/>
        </pc:sldMkLst>
        <pc:spChg chg="mod">
          <ac:chgData name="Koksrud Andreas" userId="9d9beba6-c052-407a-8599-c781a677a996" providerId="ADAL" clId="{1FB09F4F-CFDF-4D24-98BE-1F875FA776D6}" dt="2021-11-18T10:26:22.564" v="312"/>
          <ac:spMkLst>
            <pc:docMk/>
            <pc:sldMk cId="2671092135" sldId="737"/>
            <ac:spMk id="126" creationId="{BD2D9D3E-0A1E-4AC3-979E-48547F484027}"/>
          </ac:spMkLst>
        </pc:spChg>
        <pc:spChg chg="mod">
          <ac:chgData name="Koksrud Andreas" userId="9d9beba6-c052-407a-8599-c781a677a996" providerId="ADAL" clId="{1FB09F4F-CFDF-4D24-98BE-1F875FA776D6}" dt="2021-11-18T11:12:04.924" v="2079" actId="15"/>
          <ac:spMkLst>
            <pc:docMk/>
            <pc:sldMk cId="2671092135" sldId="737"/>
            <ac:spMk id="181" creationId="{00000000-0000-0000-0000-000000000000}"/>
          </ac:spMkLst>
        </pc:spChg>
      </pc:sldChg>
      <pc:sldChg chg="modSp add mod ord">
        <pc:chgData name="Koksrud Andreas" userId="9d9beba6-c052-407a-8599-c781a677a996" providerId="ADAL" clId="{1FB09F4F-CFDF-4D24-98BE-1F875FA776D6}" dt="2021-11-18T10:53:52.939" v="1690" actId="20577"/>
        <pc:sldMkLst>
          <pc:docMk/>
          <pc:sldMk cId="862304365" sldId="738"/>
        </pc:sldMkLst>
        <pc:spChg chg="mod">
          <ac:chgData name="Koksrud Andreas" userId="9d9beba6-c052-407a-8599-c781a677a996" providerId="ADAL" clId="{1FB09F4F-CFDF-4D24-98BE-1F875FA776D6}" dt="2021-11-18T10:26:48.294" v="327"/>
          <ac:spMkLst>
            <pc:docMk/>
            <pc:sldMk cId="862304365" sldId="738"/>
            <ac:spMk id="126" creationId="{BD2D9D3E-0A1E-4AC3-979E-48547F484027}"/>
          </ac:spMkLst>
        </pc:spChg>
        <pc:spChg chg="mod">
          <ac:chgData name="Koksrud Andreas" userId="9d9beba6-c052-407a-8599-c781a677a996" providerId="ADAL" clId="{1FB09F4F-CFDF-4D24-98BE-1F875FA776D6}" dt="2021-11-18T10:53:52.939" v="1690" actId="20577"/>
          <ac:spMkLst>
            <pc:docMk/>
            <pc:sldMk cId="862304365" sldId="738"/>
            <ac:spMk id="181" creationId="{00000000-0000-0000-0000-000000000000}"/>
          </ac:spMkLst>
        </pc:spChg>
      </pc:sldChg>
      <pc:sldChg chg="modSp add mod">
        <pc:chgData name="Koksrud Andreas" userId="9d9beba6-c052-407a-8599-c781a677a996" providerId="ADAL" clId="{1FB09F4F-CFDF-4D24-98BE-1F875FA776D6}" dt="2021-11-18T11:10:37.605" v="1906" actId="20577"/>
        <pc:sldMkLst>
          <pc:docMk/>
          <pc:sldMk cId="2173740" sldId="739"/>
        </pc:sldMkLst>
        <pc:spChg chg="mod">
          <ac:chgData name="Koksrud Andreas" userId="9d9beba6-c052-407a-8599-c781a677a996" providerId="ADAL" clId="{1FB09F4F-CFDF-4D24-98BE-1F875FA776D6}" dt="2021-11-18T11:10:37.605" v="1906" actId="20577"/>
          <ac:spMkLst>
            <pc:docMk/>
            <pc:sldMk cId="2173740" sldId="739"/>
            <ac:spMk id="181" creationId="{00000000-0000-0000-0000-000000000000}"/>
          </ac:spMkLst>
        </pc:spChg>
      </pc:sldChg>
      <pc:sldChg chg="addSp modSp add mod">
        <pc:chgData name="Koksrud Andreas" userId="9d9beba6-c052-407a-8599-c781a677a996" providerId="ADAL" clId="{1FB09F4F-CFDF-4D24-98BE-1F875FA776D6}" dt="2021-11-18T11:15:57.771" v="2714" actId="20577"/>
        <pc:sldMkLst>
          <pc:docMk/>
          <pc:sldMk cId="4010697748" sldId="740"/>
        </pc:sldMkLst>
        <pc:spChg chg="mod">
          <ac:chgData name="Koksrud Andreas" userId="9d9beba6-c052-407a-8599-c781a677a996" providerId="ADAL" clId="{1FB09F4F-CFDF-4D24-98BE-1F875FA776D6}" dt="2021-11-18T10:27:58.834" v="358" actId="20577"/>
          <ac:spMkLst>
            <pc:docMk/>
            <pc:sldMk cId="4010697748" sldId="740"/>
            <ac:spMk id="126" creationId="{BD2D9D3E-0A1E-4AC3-979E-48547F484027}"/>
          </ac:spMkLst>
        </pc:spChg>
        <pc:spChg chg="mod">
          <ac:chgData name="Koksrud Andreas" userId="9d9beba6-c052-407a-8599-c781a677a996" providerId="ADAL" clId="{1FB09F4F-CFDF-4D24-98BE-1F875FA776D6}" dt="2021-11-18T11:15:57.771" v="2714" actId="20577"/>
          <ac:spMkLst>
            <pc:docMk/>
            <pc:sldMk cId="4010697748" sldId="740"/>
            <ac:spMk id="181" creationId="{00000000-0000-0000-0000-000000000000}"/>
          </ac:spMkLst>
        </pc:spChg>
        <pc:picChg chg="add mod">
          <ac:chgData name="Koksrud Andreas" userId="9d9beba6-c052-407a-8599-c781a677a996" providerId="ADAL" clId="{1FB09F4F-CFDF-4D24-98BE-1F875FA776D6}" dt="2021-11-18T10:32:35.849" v="561" actId="1076"/>
          <ac:picMkLst>
            <pc:docMk/>
            <pc:sldMk cId="4010697748" sldId="740"/>
            <ac:picMk id="3" creationId="{C179D61B-1CCD-4557-BAB0-2D053E4E1C05}"/>
          </ac:picMkLst>
        </pc:picChg>
        <pc:picChg chg="add mod">
          <ac:chgData name="Koksrud Andreas" userId="9d9beba6-c052-407a-8599-c781a677a996" providerId="ADAL" clId="{1FB09F4F-CFDF-4D24-98BE-1F875FA776D6}" dt="2021-11-18T10:33:00.940" v="566" actId="1076"/>
          <ac:picMkLst>
            <pc:docMk/>
            <pc:sldMk cId="4010697748" sldId="740"/>
            <ac:picMk id="5" creationId="{904EC8A3-54AD-42F5-B11B-6DEBD75A17F6}"/>
          </ac:picMkLst>
        </pc:picChg>
      </pc:sldChg>
      <pc:sldChg chg="delSp modSp add mod">
        <pc:chgData name="Koksrud Andreas" userId="9d9beba6-c052-407a-8599-c781a677a996" providerId="ADAL" clId="{1FB09F4F-CFDF-4D24-98BE-1F875FA776D6}" dt="2021-11-18T10:36:14.180" v="976" actId="20577"/>
        <pc:sldMkLst>
          <pc:docMk/>
          <pc:sldMk cId="2876860209" sldId="741"/>
        </pc:sldMkLst>
        <pc:spChg chg="mod">
          <ac:chgData name="Koksrud Andreas" userId="9d9beba6-c052-407a-8599-c781a677a996" providerId="ADAL" clId="{1FB09F4F-CFDF-4D24-98BE-1F875FA776D6}" dt="2021-11-18T10:33:59.062" v="636" actId="20577"/>
          <ac:spMkLst>
            <pc:docMk/>
            <pc:sldMk cId="2876860209" sldId="741"/>
            <ac:spMk id="126" creationId="{BD2D9D3E-0A1E-4AC3-979E-48547F484027}"/>
          </ac:spMkLst>
        </pc:spChg>
        <pc:spChg chg="mod">
          <ac:chgData name="Koksrud Andreas" userId="9d9beba6-c052-407a-8599-c781a677a996" providerId="ADAL" clId="{1FB09F4F-CFDF-4D24-98BE-1F875FA776D6}" dt="2021-11-18T10:36:14.180" v="976" actId="20577"/>
          <ac:spMkLst>
            <pc:docMk/>
            <pc:sldMk cId="2876860209" sldId="741"/>
            <ac:spMk id="181" creationId="{00000000-0000-0000-0000-000000000000}"/>
          </ac:spMkLst>
        </pc:spChg>
        <pc:picChg chg="del">
          <ac:chgData name="Koksrud Andreas" userId="9d9beba6-c052-407a-8599-c781a677a996" providerId="ADAL" clId="{1FB09F4F-CFDF-4D24-98BE-1F875FA776D6}" dt="2021-11-18T10:34:05.133" v="638" actId="478"/>
          <ac:picMkLst>
            <pc:docMk/>
            <pc:sldMk cId="2876860209" sldId="741"/>
            <ac:picMk id="3" creationId="{C179D61B-1CCD-4557-BAB0-2D053E4E1C05}"/>
          </ac:picMkLst>
        </pc:picChg>
        <pc:picChg chg="del">
          <ac:chgData name="Koksrud Andreas" userId="9d9beba6-c052-407a-8599-c781a677a996" providerId="ADAL" clId="{1FB09F4F-CFDF-4D24-98BE-1F875FA776D6}" dt="2021-11-18T10:34:04.457" v="637" actId="478"/>
          <ac:picMkLst>
            <pc:docMk/>
            <pc:sldMk cId="2876860209" sldId="741"/>
            <ac:picMk id="5" creationId="{904EC8A3-54AD-42F5-B11B-6DEBD75A17F6}"/>
          </ac:picMkLst>
        </pc:picChg>
      </pc:sldChg>
      <pc:sldChg chg="addSp delSp modSp add mod">
        <pc:chgData name="Koksrud Andreas" userId="9d9beba6-c052-407a-8599-c781a677a996" providerId="ADAL" clId="{1FB09F4F-CFDF-4D24-98BE-1F875FA776D6}" dt="2021-11-18T11:09:42.333" v="1821" actId="14100"/>
        <pc:sldMkLst>
          <pc:docMk/>
          <pc:sldMk cId="587894895" sldId="742"/>
        </pc:sldMkLst>
        <pc:spChg chg="mod">
          <ac:chgData name="Koksrud Andreas" userId="9d9beba6-c052-407a-8599-c781a677a996" providerId="ADAL" clId="{1FB09F4F-CFDF-4D24-98BE-1F875FA776D6}" dt="2021-11-18T11:00:50.864" v="1814" actId="20577"/>
          <ac:spMkLst>
            <pc:docMk/>
            <pc:sldMk cId="587894895" sldId="742"/>
            <ac:spMk id="126" creationId="{BD2D9D3E-0A1E-4AC3-979E-48547F484027}"/>
          </ac:spMkLst>
        </pc:spChg>
        <pc:spChg chg="del mod">
          <ac:chgData name="Koksrud Andreas" userId="9d9beba6-c052-407a-8599-c781a677a996" providerId="ADAL" clId="{1FB09F4F-CFDF-4D24-98BE-1F875FA776D6}" dt="2021-11-18T11:09:27.270" v="1816"/>
          <ac:spMkLst>
            <pc:docMk/>
            <pc:sldMk cId="587894895" sldId="742"/>
            <ac:spMk id="181" creationId="{00000000-0000-0000-0000-000000000000}"/>
          </ac:spMkLst>
        </pc:spChg>
        <pc:picChg chg="add mod">
          <ac:chgData name="Koksrud Andreas" userId="9d9beba6-c052-407a-8599-c781a677a996" providerId="ADAL" clId="{1FB09F4F-CFDF-4D24-98BE-1F875FA776D6}" dt="2021-11-18T11:09:42.333" v="1821" actId="14100"/>
          <ac:picMkLst>
            <pc:docMk/>
            <pc:sldMk cId="587894895" sldId="742"/>
            <ac:picMk id="3" creationId="{E1077077-59D4-4E0F-9966-E3D778BA2A48}"/>
          </ac:picMkLst>
        </pc:picChg>
      </pc:sldChg>
      <pc:sldMasterChg chg="delSldLayout">
        <pc:chgData name="Koksrud Andreas" userId="9d9beba6-c052-407a-8599-c781a677a996" providerId="ADAL" clId="{1FB09F4F-CFDF-4D24-98BE-1F875FA776D6}" dt="2021-11-18T09:39:23.658" v="143" actId="47"/>
        <pc:sldMasterMkLst>
          <pc:docMk/>
          <pc:sldMasterMk cId="2615922609" sldId="2147483648"/>
        </pc:sldMasterMkLst>
        <pc:sldLayoutChg chg="del">
          <pc:chgData name="Koksrud Andreas" userId="9d9beba6-c052-407a-8599-c781a677a996" providerId="ADAL" clId="{1FB09F4F-CFDF-4D24-98BE-1F875FA776D6}" dt="2021-11-18T09:39:23.658" v="143" actId="47"/>
          <pc:sldLayoutMkLst>
            <pc:docMk/>
            <pc:sldMasterMk cId="2615922609" sldId="2147483648"/>
            <pc:sldLayoutMk cId="4177950706" sldId="2147483916"/>
          </pc:sldLayoutMkLst>
        </pc:sldLayoutChg>
      </pc:sldMasterChg>
    </pc:docChg>
  </pc:docChgLst>
  <pc:docChgLst>
    <pc:chgData name="Kjetil Teigen Hansen (KTH)" userId="S::kth_conscia.com#ext#@telenorgroup.onmicrosoft.com::f8a0f255-21b8-4c53-aace-7d9a45a4c72e" providerId="AD" clId="Web-{A3205F78-4ACB-A0FA-81E7-C52587A7F36C}"/>
    <pc:docChg chg="modSld">
      <pc:chgData name="Kjetil Teigen Hansen (KTH)" userId="S::kth_conscia.com#ext#@telenorgroup.onmicrosoft.com::f8a0f255-21b8-4c53-aace-7d9a45a4c72e" providerId="AD" clId="Web-{A3205F78-4ACB-A0FA-81E7-C52587A7F36C}" dt="2024-09-05T13:16:13.250" v="13" actId="20577"/>
      <pc:docMkLst>
        <pc:docMk/>
      </pc:docMkLst>
      <pc:sldChg chg="modSp">
        <pc:chgData name="Kjetil Teigen Hansen (KTH)" userId="S::kth_conscia.com#ext#@telenorgroup.onmicrosoft.com::f8a0f255-21b8-4c53-aace-7d9a45a4c72e" providerId="AD" clId="Web-{A3205F78-4ACB-A0FA-81E7-C52587A7F36C}" dt="2024-09-05T13:16:13.250" v="13" actId="20577"/>
        <pc:sldMkLst>
          <pc:docMk/>
          <pc:sldMk cId="2014202690" sldId="1030"/>
        </pc:sldMkLst>
        <pc:spChg chg="mod">
          <ac:chgData name="Kjetil Teigen Hansen (KTH)" userId="S::kth_conscia.com#ext#@telenorgroup.onmicrosoft.com::f8a0f255-21b8-4c53-aace-7d9a45a4c72e" providerId="AD" clId="Web-{A3205F78-4ACB-A0FA-81E7-C52587A7F36C}" dt="2024-09-05T13:16:13.250" v="13" actId="20577"/>
          <ac:spMkLst>
            <pc:docMk/>
            <pc:sldMk cId="2014202690" sldId="1030"/>
            <ac:spMk id="24" creationId="{45E9A616-4247-B02C-A519-9265B9C7694C}"/>
          </ac:spMkLst>
        </pc:spChg>
      </pc:sldChg>
    </pc:docChg>
  </pc:docChgLst>
  <pc:docChgLst>
    <pc:chgData name="Kjetil Teigen Hansen (KTH)" userId="b00e1467-cd04-4012-9851-f763aaf02a55" providerId="ADAL" clId="{3E9F7E50-6A12-438B-877C-EFB1F8C65D5C}"/>
    <pc:docChg chg="undo custSel modSld">
      <pc:chgData name="Kjetil Teigen Hansen (KTH)" userId="b00e1467-cd04-4012-9851-f763aaf02a55" providerId="ADAL" clId="{3E9F7E50-6A12-438B-877C-EFB1F8C65D5C}" dt="2024-10-09T13:09:10.384" v="921" actId="14100"/>
      <pc:docMkLst>
        <pc:docMk/>
      </pc:docMkLst>
      <pc:sldChg chg="modSp mod">
        <pc:chgData name="Kjetil Teigen Hansen (KTH)" userId="b00e1467-cd04-4012-9851-f763aaf02a55" providerId="ADAL" clId="{3E9F7E50-6A12-438B-877C-EFB1F8C65D5C}" dt="2024-10-09T12:30:58.999" v="157" actId="1076"/>
        <pc:sldMkLst>
          <pc:docMk/>
          <pc:sldMk cId="1640846257" sldId="936"/>
        </pc:sldMkLst>
        <pc:spChg chg="mod">
          <ac:chgData name="Kjetil Teigen Hansen (KTH)" userId="b00e1467-cd04-4012-9851-f763aaf02a55" providerId="ADAL" clId="{3E9F7E50-6A12-438B-877C-EFB1F8C65D5C}" dt="2024-10-09T12:30:58.999" v="157" actId="1076"/>
          <ac:spMkLst>
            <pc:docMk/>
            <pc:sldMk cId="1640846257" sldId="936"/>
            <ac:spMk id="17" creationId="{002EE65A-6E1F-1E14-FBAE-C1BA20630C8B}"/>
          </ac:spMkLst>
        </pc:spChg>
        <pc:picChg chg="mod">
          <ac:chgData name="Kjetil Teigen Hansen (KTH)" userId="b00e1467-cd04-4012-9851-f763aaf02a55" providerId="ADAL" clId="{3E9F7E50-6A12-438B-877C-EFB1F8C65D5C}" dt="2024-10-09T12:30:52.355" v="156" actId="1076"/>
          <ac:picMkLst>
            <pc:docMk/>
            <pc:sldMk cId="1640846257" sldId="936"/>
            <ac:picMk id="9" creationId="{2AFB3CF7-8CC8-AEDE-D932-089CAF503990}"/>
          </ac:picMkLst>
        </pc:picChg>
      </pc:sldChg>
      <pc:sldChg chg="modSp mod">
        <pc:chgData name="Kjetil Teigen Hansen (KTH)" userId="b00e1467-cd04-4012-9851-f763aaf02a55" providerId="ADAL" clId="{3E9F7E50-6A12-438B-877C-EFB1F8C65D5C}" dt="2024-10-09T12:31:16.031" v="158" actId="1076"/>
        <pc:sldMkLst>
          <pc:docMk/>
          <pc:sldMk cId="2174136788" sldId="1034"/>
        </pc:sldMkLst>
        <pc:picChg chg="mod">
          <ac:chgData name="Kjetil Teigen Hansen (KTH)" userId="b00e1467-cd04-4012-9851-f763aaf02a55" providerId="ADAL" clId="{3E9F7E50-6A12-438B-877C-EFB1F8C65D5C}" dt="2024-10-09T12:31:16.031" v="158" actId="1076"/>
          <ac:picMkLst>
            <pc:docMk/>
            <pc:sldMk cId="2174136788" sldId="1034"/>
            <ac:picMk id="27" creationId="{EF18B9E3-EE15-0B6E-F5BA-008BEC839C3B}"/>
          </ac:picMkLst>
        </pc:picChg>
      </pc:sldChg>
      <pc:sldChg chg="modSp mod">
        <pc:chgData name="Kjetil Teigen Hansen (KTH)" userId="b00e1467-cd04-4012-9851-f763aaf02a55" providerId="ADAL" clId="{3E9F7E50-6A12-438B-877C-EFB1F8C65D5C}" dt="2024-10-09T12:50:17.225" v="918" actId="20577"/>
        <pc:sldMkLst>
          <pc:docMk/>
          <pc:sldMk cId="400240892" sldId="1041"/>
        </pc:sldMkLst>
        <pc:spChg chg="mod">
          <ac:chgData name="Kjetil Teigen Hansen (KTH)" userId="b00e1467-cd04-4012-9851-f763aaf02a55" providerId="ADAL" clId="{3E9F7E50-6A12-438B-877C-EFB1F8C65D5C}" dt="2024-10-09T12:50:17.225" v="918" actId="20577"/>
          <ac:spMkLst>
            <pc:docMk/>
            <pc:sldMk cId="400240892" sldId="1041"/>
            <ac:spMk id="12" creationId="{31139563-055D-5988-9126-2A188F225214}"/>
          </ac:spMkLst>
        </pc:spChg>
      </pc:sldChg>
      <pc:sldChg chg="delSp modSp mod modShow">
        <pc:chgData name="Kjetil Teigen Hansen (KTH)" userId="b00e1467-cd04-4012-9851-f763aaf02a55" providerId="ADAL" clId="{3E9F7E50-6A12-438B-877C-EFB1F8C65D5C}" dt="2024-10-09T12:28:46.599" v="77" actId="729"/>
        <pc:sldMkLst>
          <pc:docMk/>
          <pc:sldMk cId="1412894186" sldId="1045"/>
        </pc:sldMkLst>
        <pc:spChg chg="del">
          <ac:chgData name="Kjetil Teigen Hansen (KTH)" userId="b00e1467-cd04-4012-9851-f763aaf02a55" providerId="ADAL" clId="{3E9F7E50-6A12-438B-877C-EFB1F8C65D5C}" dt="2024-10-09T12:28:15.026" v="59" actId="478"/>
          <ac:spMkLst>
            <pc:docMk/>
            <pc:sldMk cId="1412894186" sldId="1045"/>
            <ac:spMk id="6" creationId="{A2FE60E3-BC7C-7BD4-DBBF-6DCDEF364337}"/>
          </ac:spMkLst>
        </pc:spChg>
        <pc:spChg chg="mod">
          <ac:chgData name="Kjetil Teigen Hansen (KTH)" userId="b00e1467-cd04-4012-9851-f763aaf02a55" providerId="ADAL" clId="{3E9F7E50-6A12-438B-877C-EFB1F8C65D5C}" dt="2024-10-09T12:28:34.415" v="76" actId="1076"/>
          <ac:spMkLst>
            <pc:docMk/>
            <pc:sldMk cId="1412894186" sldId="1045"/>
            <ac:spMk id="180" creationId="{00000000-0000-0000-0000-000000000000}"/>
          </ac:spMkLst>
        </pc:spChg>
      </pc:sldChg>
      <pc:sldChg chg="addSp delSp modSp mod">
        <pc:chgData name="Kjetil Teigen Hansen (KTH)" userId="b00e1467-cd04-4012-9851-f763aaf02a55" providerId="ADAL" clId="{3E9F7E50-6A12-438B-877C-EFB1F8C65D5C}" dt="2024-10-09T12:49:17.667" v="843" actId="14100"/>
        <pc:sldMkLst>
          <pc:docMk/>
          <pc:sldMk cId="1071966877" sldId="1046"/>
        </pc:sldMkLst>
        <pc:spChg chg="mod">
          <ac:chgData name="Kjetil Teigen Hansen (KTH)" userId="b00e1467-cd04-4012-9851-f763aaf02a55" providerId="ADAL" clId="{3E9F7E50-6A12-438B-877C-EFB1F8C65D5C}" dt="2024-10-09T12:48:54.312" v="838" actId="1076"/>
          <ac:spMkLst>
            <pc:docMk/>
            <pc:sldMk cId="1071966877" sldId="1046"/>
            <ac:spMk id="3" creationId="{F617456D-20F2-88A1-F517-729F1294C24B}"/>
          </ac:spMkLst>
        </pc:spChg>
        <pc:spChg chg="mod">
          <ac:chgData name="Kjetil Teigen Hansen (KTH)" userId="b00e1467-cd04-4012-9851-f763aaf02a55" providerId="ADAL" clId="{3E9F7E50-6A12-438B-877C-EFB1F8C65D5C}" dt="2024-10-09T12:48:28.872" v="835" actId="20577"/>
          <ac:spMkLst>
            <pc:docMk/>
            <pc:sldMk cId="1071966877" sldId="1046"/>
            <ac:spMk id="5" creationId="{505A3283-4B3C-5923-55E0-B286F3132295}"/>
          </ac:spMkLst>
        </pc:spChg>
        <pc:spChg chg="mod">
          <ac:chgData name="Kjetil Teigen Hansen (KTH)" userId="b00e1467-cd04-4012-9851-f763aaf02a55" providerId="ADAL" clId="{3E9F7E50-6A12-438B-877C-EFB1F8C65D5C}" dt="2024-10-09T12:47:50.278" v="805" actId="404"/>
          <ac:spMkLst>
            <pc:docMk/>
            <pc:sldMk cId="1071966877" sldId="1046"/>
            <ac:spMk id="6" creationId="{AD93A1DB-7485-E1FF-28C9-17222A32C989}"/>
          </ac:spMkLst>
        </pc:spChg>
        <pc:spChg chg="del">
          <ac:chgData name="Kjetil Teigen Hansen (KTH)" userId="b00e1467-cd04-4012-9851-f763aaf02a55" providerId="ADAL" clId="{3E9F7E50-6A12-438B-877C-EFB1F8C65D5C}" dt="2024-10-09T12:45:15.432" v="727" actId="478"/>
          <ac:spMkLst>
            <pc:docMk/>
            <pc:sldMk cId="1071966877" sldId="1046"/>
            <ac:spMk id="10" creationId="{79E5B35D-E1D0-AF2B-C4D5-15ABCC757B50}"/>
          </ac:spMkLst>
        </pc:spChg>
        <pc:spChg chg="add del">
          <ac:chgData name="Kjetil Teigen Hansen (KTH)" userId="b00e1467-cd04-4012-9851-f763aaf02a55" providerId="ADAL" clId="{3E9F7E50-6A12-438B-877C-EFB1F8C65D5C}" dt="2024-10-09T12:45:51.992" v="765" actId="22"/>
          <ac:spMkLst>
            <pc:docMk/>
            <pc:sldMk cId="1071966877" sldId="1046"/>
            <ac:spMk id="13" creationId="{93E51BB3-68FC-D371-DCE8-8849D905BDD4}"/>
          </ac:spMkLst>
        </pc:spChg>
        <pc:spChg chg="add mod">
          <ac:chgData name="Kjetil Teigen Hansen (KTH)" userId="b00e1467-cd04-4012-9851-f763aaf02a55" providerId="ADAL" clId="{3E9F7E50-6A12-438B-877C-EFB1F8C65D5C}" dt="2024-10-09T12:45:56.648" v="766"/>
          <ac:spMkLst>
            <pc:docMk/>
            <pc:sldMk cId="1071966877" sldId="1046"/>
            <ac:spMk id="14" creationId="{124410B1-2712-1A72-77F6-43B8AE63197C}"/>
          </ac:spMkLst>
        </pc:spChg>
        <pc:spChg chg="add del mod">
          <ac:chgData name="Kjetil Teigen Hansen (KTH)" userId="b00e1467-cd04-4012-9851-f763aaf02a55" providerId="ADAL" clId="{3E9F7E50-6A12-438B-877C-EFB1F8C65D5C}" dt="2024-10-09T12:46:35.087" v="773" actId="478"/>
          <ac:spMkLst>
            <pc:docMk/>
            <pc:sldMk cId="1071966877" sldId="1046"/>
            <ac:spMk id="15" creationId="{3E7CBE3A-9180-1341-CB75-969C28A3B426}"/>
          </ac:spMkLst>
        </pc:spChg>
        <pc:spChg chg="mod">
          <ac:chgData name="Kjetil Teigen Hansen (KTH)" userId="b00e1467-cd04-4012-9851-f763aaf02a55" providerId="ADAL" clId="{3E9F7E50-6A12-438B-877C-EFB1F8C65D5C}" dt="2024-10-09T12:49:10.160" v="841" actId="14100"/>
          <ac:spMkLst>
            <pc:docMk/>
            <pc:sldMk cId="1071966877" sldId="1046"/>
            <ac:spMk id="34" creationId="{3A1CF6D8-F588-D165-D9CC-BB832925A285}"/>
          </ac:spMkLst>
        </pc:spChg>
        <pc:cxnChg chg="add del mod">
          <ac:chgData name="Kjetil Teigen Hansen (KTH)" userId="b00e1467-cd04-4012-9851-f763aaf02a55" providerId="ADAL" clId="{3E9F7E50-6A12-438B-877C-EFB1F8C65D5C}" dt="2024-10-09T12:49:17.667" v="843" actId="14100"/>
          <ac:cxnSpMkLst>
            <pc:docMk/>
            <pc:sldMk cId="1071966877" sldId="1046"/>
            <ac:cxnSpMk id="9" creationId="{F9F8CD7A-B323-B325-558D-17AE7EC8CD29}"/>
          </ac:cxnSpMkLst>
        </pc:cxnChg>
        <pc:cxnChg chg="mod">
          <ac:chgData name="Kjetil Teigen Hansen (KTH)" userId="b00e1467-cd04-4012-9851-f763aaf02a55" providerId="ADAL" clId="{3E9F7E50-6A12-438B-877C-EFB1F8C65D5C}" dt="2024-10-09T12:49:13.558" v="842" actId="14100"/>
          <ac:cxnSpMkLst>
            <pc:docMk/>
            <pc:sldMk cId="1071966877" sldId="1046"/>
            <ac:cxnSpMk id="33" creationId="{3958A235-3EEF-4DDB-4BCF-C190247EEBD8}"/>
          </ac:cxnSpMkLst>
        </pc:cxnChg>
      </pc:sldChg>
      <pc:sldChg chg="delSp modSp mod">
        <pc:chgData name="Kjetil Teigen Hansen (KTH)" userId="b00e1467-cd04-4012-9851-f763aaf02a55" providerId="ADAL" clId="{3E9F7E50-6A12-438B-877C-EFB1F8C65D5C}" dt="2024-10-09T12:44:19.649" v="694" actId="478"/>
        <pc:sldMkLst>
          <pc:docMk/>
          <pc:sldMk cId="1859925297" sldId="1048"/>
        </pc:sldMkLst>
        <pc:spChg chg="del">
          <ac:chgData name="Kjetil Teigen Hansen (KTH)" userId="b00e1467-cd04-4012-9851-f763aaf02a55" providerId="ADAL" clId="{3E9F7E50-6A12-438B-877C-EFB1F8C65D5C}" dt="2024-10-09T12:44:19.649" v="694" actId="478"/>
          <ac:spMkLst>
            <pc:docMk/>
            <pc:sldMk cId="1859925297" sldId="1048"/>
            <ac:spMk id="3" creationId="{DB0CB2E5-785D-2702-E3E0-92F5E4C12572}"/>
          </ac:spMkLst>
        </pc:spChg>
        <pc:spChg chg="mod">
          <ac:chgData name="Kjetil Teigen Hansen (KTH)" userId="b00e1467-cd04-4012-9851-f763aaf02a55" providerId="ADAL" clId="{3E9F7E50-6A12-438B-877C-EFB1F8C65D5C}" dt="2024-10-09T12:26:17.154" v="1"/>
          <ac:spMkLst>
            <pc:docMk/>
            <pc:sldMk cId="1859925297" sldId="1048"/>
            <ac:spMk id="11" creationId="{C721C041-8862-0D84-2115-A62F64AE6AC1}"/>
          </ac:spMkLst>
        </pc:spChg>
      </pc:sldChg>
      <pc:sldChg chg="addSp modSp mod">
        <pc:chgData name="Kjetil Teigen Hansen (KTH)" userId="b00e1467-cd04-4012-9851-f763aaf02a55" providerId="ADAL" clId="{3E9F7E50-6A12-438B-877C-EFB1F8C65D5C}" dt="2024-10-09T12:43:22.715" v="693" actId="14100"/>
        <pc:sldMkLst>
          <pc:docMk/>
          <pc:sldMk cId="3079092685" sldId="1055"/>
        </pc:sldMkLst>
        <pc:spChg chg="mod">
          <ac:chgData name="Kjetil Teigen Hansen (KTH)" userId="b00e1467-cd04-4012-9851-f763aaf02a55" providerId="ADAL" clId="{3E9F7E50-6A12-438B-877C-EFB1F8C65D5C}" dt="2024-10-09T12:42:58.553" v="669" actId="20577"/>
          <ac:spMkLst>
            <pc:docMk/>
            <pc:sldMk cId="3079092685" sldId="1055"/>
            <ac:spMk id="6" creationId="{C9EDCB52-19F7-8070-2D0F-55F7ED455CD2}"/>
          </ac:spMkLst>
        </pc:spChg>
        <pc:spChg chg="add mod">
          <ac:chgData name="Kjetil Teigen Hansen (KTH)" userId="b00e1467-cd04-4012-9851-f763aaf02a55" providerId="ADAL" clId="{3E9F7E50-6A12-438B-877C-EFB1F8C65D5C}" dt="2024-10-09T12:43:11.378" v="689" actId="20577"/>
          <ac:spMkLst>
            <pc:docMk/>
            <pc:sldMk cId="3079092685" sldId="1055"/>
            <ac:spMk id="12" creationId="{781F48AD-8C79-F46C-53BC-4CF5821AFEF5}"/>
          </ac:spMkLst>
        </pc:spChg>
        <pc:spChg chg="add mod">
          <ac:chgData name="Kjetil Teigen Hansen (KTH)" userId="b00e1467-cd04-4012-9851-f763aaf02a55" providerId="ADAL" clId="{3E9F7E50-6A12-438B-877C-EFB1F8C65D5C}" dt="2024-10-09T12:43:22.715" v="693" actId="14100"/>
          <ac:spMkLst>
            <pc:docMk/>
            <pc:sldMk cId="3079092685" sldId="1055"/>
            <ac:spMk id="21" creationId="{BED890D3-040C-9246-6DEF-51C65F401BE1}"/>
          </ac:spMkLst>
        </pc:spChg>
        <pc:picChg chg="mod">
          <ac:chgData name="Kjetil Teigen Hansen (KTH)" userId="b00e1467-cd04-4012-9851-f763aaf02a55" providerId="ADAL" clId="{3E9F7E50-6A12-438B-877C-EFB1F8C65D5C}" dt="2024-10-09T12:41:46.259" v="464" actId="1076"/>
          <ac:picMkLst>
            <pc:docMk/>
            <pc:sldMk cId="3079092685" sldId="1055"/>
            <ac:picMk id="5" creationId="{673B1770-01E3-04EB-9C79-24B0B2E7C1D2}"/>
          </ac:picMkLst>
        </pc:picChg>
        <pc:picChg chg="add mod">
          <ac:chgData name="Kjetil Teigen Hansen (KTH)" userId="b00e1467-cd04-4012-9851-f763aaf02a55" providerId="ADAL" clId="{3E9F7E50-6A12-438B-877C-EFB1F8C65D5C}" dt="2024-10-09T12:42:02.076" v="471" actId="1076"/>
          <ac:picMkLst>
            <pc:docMk/>
            <pc:sldMk cId="3079092685" sldId="1055"/>
            <ac:picMk id="10" creationId="{14A60EC2-EFDD-23D4-4066-60F301C8E08C}"/>
          </ac:picMkLst>
        </pc:picChg>
        <pc:cxnChg chg="mod">
          <ac:chgData name="Kjetil Teigen Hansen (KTH)" userId="b00e1467-cd04-4012-9851-f763aaf02a55" providerId="ADAL" clId="{3E9F7E50-6A12-438B-877C-EFB1F8C65D5C}" dt="2024-10-09T12:43:01.685" v="670" actId="14100"/>
          <ac:cxnSpMkLst>
            <pc:docMk/>
            <pc:sldMk cId="3079092685" sldId="1055"/>
            <ac:cxnSpMk id="7" creationId="{1A22CD9F-4043-CCDD-84D7-5A122BCA4BB7}"/>
          </ac:cxnSpMkLst>
        </pc:cxnChg>
        <pc:cxnChg chg="add mod">
          <ac:chgData name="Kjetil Teigen Hansen (KTH)" userId="b00e1467-cd04-4012-9851-f763aaf02a55" providerId="ADAL" clId="{3E9F7E50-6A12-438B-877C-EFB1F8C65D5C}" dt="2024-10-09T12:42:45.447" v="589" actId="14100"/>
          <ac:cxnSpMkLst>
            <pc:docMk/>
            <pc:sldMk cId="3079092685" sldId="1055"/>
            <ac:cxnSpMk id="14" creationId="{96B50222-3A9E-474D-A3F4-E2D902344E36}"/>
          </ac:cxnSpMkLst>
        </pc:cxnChg>
        <pc:cxnChg chg="add mod">
          <ac:chgData name="Kjetil Teigen Hansen (KTH)" userId="b00e1467-cd04-4012-9851-f763aaf02a55" providerId="ADAL" clId="{3E9F7E50-6A12-438B-877C-EFB1F8C65D5C}" dt="2024-10-09T12:43:13.138" v="690"/>
          <ac:cxnSpMkLst>
            <pc:docMk/>
            <pc:sldMk cId="3079092685" sldId="1055"/>
            <ac:cxnSpMk id="20" creationId="{5D989004-4B81-23BA-951A-D05C26976583}"/>
          </ac:cxnSpMkLst>
        </pc:cxnChg>
      </pc:sldChg>
      <pc:sldChg chg="addSp delSp modSp mod">
        <pc:chgData name="Kjetil Teigen Hansen (KTH)" userId="b00e1467-cd04-4012-9851-f763aaf02a55" providerId="ADAL" clId="{3E9F7E50-6A12-438B-877C-EFB1F8C65D5C}" dt="2024-10-09T12:37:54.547" v="322" actId="20577"/>
        <pc:sldMkLst>
          <pc:docMk/>
          <pc:sldMk cId="3434126760" sldId="1056"/>
        </pc:sldMkLst>
        <pc:spChg chg="del">
          <ac:chgData name="Kjetil Teigen Hansen (KTH)" userId="b00e1467-cd04-4012-9851-f763aaf02a55" providerId="ADAL" clId="{3E9F7E50-6A12-438B-877C-EFB1F8C65D5C}" dt="2024-10-09T12:33:21.612" v="163" actId="478"/>
          <ac:spMkLst>
            <pc:docMk/>
            <pc:sldMk cId="3434126760" sldId="1056"/>
            <ac:spMk id="5" creationId="{C6D01659-1315-8E2C-1C45-C8A546D039D7}"/>
          </ac:spMkLst>
        </pc:spChg>
        <pc:spChg chg="add">
          <ac:chgData name="Kjetil Teigen Hansen (KTH)" userId="b00e1467-cd04-4012-9851-f763aaf02a55" providerId="ADAL" clId="{3E9F7E50-6A12-438B-877C-EFB1F8C65D5C}" dt="2024-10-09T12:37:22.073" v="307" actId="11529"/>
          <ac:spMkLst>
            <pc:docMk/>
            <pc:sldMk cId="3434126760" sldId="1056"/>
            <ac:spMk id="20" creationId="{906BA7F9-5A99-4AB5-20EA-C973DC56749E}"/>
          </ac:spMkLst>
        </pc:spChg>
        <pc:spChg chg="add mod">
          <ac:chgData name="Kjetil Teigen Hansen (KTH)" userId="b00e1467-cd04-4012-9851-f763aaf02a55" providerId="ADAL" clId="{3E9F7E50-6A12-438B-877C-EFB1F8C65D5C}" dt="2024-10-09T12:37:47.088" v="321" actId="1076"/>
          <ac:spMkLst>
            <pc:docMk/>
            <pc:sldMk cId="3434126760" sldId="1056"/>
            <ac:spMk id="21" creationId="{8FCAF6DB-F082-994A-C486-92D68D9B8931}"/>
          </ac:spMkLst>
        </pc:spChg>
        <pc:spChg chg="mod">
          <ac:chgData name="Kjetil Teigen Hansen (KTH)" userId="b00e1467-cd04-4012-9851-f763aaf02a55" providerId="ADAL" clId="{3E9F7E50-6A12-438B-877C-EFB1F8C65D5C}" dt="2024-10-09T12:37:54.547" v="322" actId="20577"/>
          <ac:spMkLst>
            <pc:docMk/>
            <pc:sldMk cId="3434126760" sldId="1056"/>
            <ac:spMk id="181" creationId="{00000000-0000-0000-0000-000000000000}"/>
          </ac:spMkLst>
        </pc:spChg>
        <pc:picChg chg="mod">
          <ac:chgData name="Kjetil Teigen Hansen (KTH)" userId="b00e1467-cd04-4012-9851-f763aaf02a55" providerId="ADAL" clId="{3E9F7E50-6A12-438B-877C-EFB1F8C65D5C}" dt="2024-10-09T12:33:23.312" v="164" actId="1076"/>
          <ac:picMkLst>
            <pc:docMk/>
            <pc:sldMk cId="3434126760" sldId="1056"/>
            <ac:picMk id="6" creationId="{2B84C098-D291-2F9E-2202-2245660284B7}"/>
          </ac:picMkLst>
        </pc:picChg>
        <pc:picChg chg="add mod ord">
          <ac:chgData name="Kjetil Teigen Hansen (KTH)" userId="b00e1467-cd04-4012-9851-f763aaf02a55" providerId="ADAL" clId="{3E9F7E50-6A12-438B-877C-EFB1F8C65D5C}" dt="2024-10-09T12:36:51.342" v="298" actId="1076"/>
          <ac:picMkLst>
            <pc:docMk/>
            <pc:sldMk cId="3434126760" sldId="1056"/>
            <ac:picMk id="11" creationId="{E8B40C26-7848-3AE7-EEF0-ABA2629B36BF}"/>
          </ac:picMkLst>
        </pc:picChg>
        <pc:picChg chg="add mod">
          <ac:chgData name="Kjetil Teigen Hansen (KTH)" userId="b00e1467-cd04-4012-9851-f763aaf02a55" providerId="ADAL" clId="{3E9F7E50-6A12-438B-877C-EFB1F8C65D5C}" dt="2024-10-09T12:37:10.925" v="303" actId="1076"/>
          <ac:picMkLst>
            <pc:docMk/>
            <pc:sldMk cId="3434126760" sldId="1056"/>
            <ac:picMk id="14" creationId="{D0ADFA3D-0822-13A0-59A8-F06C188A51BE}"/>
          </ac:picMkLst>
        </pc:picChg>
        <pc:picChg chg="mod">
          <ac:chgData name="Kjetil Teigen Hansen (KTH)" userId="b00e1467-cd04-4012-9851-f763aaf02a55" providerId="ADAL" clId="{3E9F7E50-6A12-438B-877C-EFB1F8C65D5C}" dt="2024-10-09T12:33:28.374" v="166" actId="1076"/>
          <ac:picMkLst>
            <pc:docMk/>
            <pc:sldMk cId="3434126760" sldId="1056"/>
            <ac:picMk id="19" creationId="{A46106E6-8576-A2A2-4DB6-58115B296A86}"/>
          </ac:picMkLst>
        </pc:picChg>
        <pc:picChg chg="del mod">
          <ac:chgData name="Kjetil Teigen Hansen (KTH)" userId="b00e1467-cd04-4012-9851-f763aaf02a55" providerId="ADAL" clId="{3E9F7E50-6A12-438B-877C-EFB1F8C65D5C}" dt="2024-10-09T12:35:20.844" v="285" actId="478"/>
          <ac:picMkLst>
            <pc:docMk/>
            <pc:sldMk cId="3434126760" sldId="1056"/>
            <ac:picMk id="30" creationId="{B06F44D2-185A-A163-9683-9B1C84C68F09}"/>
          </ac:picMkLst>
        </pc:picChg>
        <pc:cxnChg chg="mod">
          <ac:chgData name="Kjetil Teigen Hansen (KTH)" userId="b00e1467-cd04-4012-9851-f763aaf02a55" providerId="ADAL" clId="{3E9F7E50-6A12-438B-877C-EFB1F8C65D5C}" dt="2024-10-09T12:33:43.186" v="171" actId="14100"/>
          <ac:cxnSpMkLst>
            <pc:docMk/>
            <pc:sldMk cId="3434126760" sldId="1056"/>
            <ac:cxnSpMk id="7" creationId="{5DEC0DC6-C37D-F71C-A406-0B0EEB86BA2E}"/>
          </ac:cxnSpMkLst>
        </pc:cxnChg>
        <pc:cxnChg chg="mod">
          <ac:chgData name="Kjetil Teigen Hansen (KTH)" userId="b00e1467-cd04-4012-9851-f763aaf02a55" providerId="ADAL" clId="{3E9F7E50-6A12-438B-877C-EFB1F8C65D5C}" dt="2024-10-09T12:33:32.499" v="168" actId="1076"/>
          <ac:cxnSpMkLst>
            <pc:docMk/>
            <pc:sldMk cId="3434126760" sldId="1056"/>
            <ac:cxnSpMk id="9" creationId="{0066E16B-10AE-5344-1E17-B9398DFD43F8}"/>
          </ac:cxnSpMkLst>
        </pc:cxnChg>
        <pc:cxnChg chg="add mod">
          <ac:chgData name="Kjetil Teigen Hansen (KTH)" userId="b00e1467-cd04-4012-9851-f763aaf02a55" providerId="ADAL" clId="{3E9F7E50-6A12-438B-877C-EFB1F8C65D5C}" dt="2024-10-09T12:37:18.484" v="306" actId="14100"/>
          <ac:cxnSpMkLst>
            <pc:docMk/>
            <pc:sldMk cId="3434126760" sldId="1056"/>
            <ac:cxnSpMk id="17" creationId="{1ED247BF-34F4-9BBC-1C4E-6F585F1E5866}"/>
          </ac:cxnSpMkLst>
        </pc:cxnChg>
        <pc:cxnChg chg="mod">
          <ac:chgData name="Kjetil Teigen Hansen (KTH)" userId="b00e1467-cd04-4012-9851-f763aaf02a55" providerId="ADAL" clId="{3E9F7E50-6A12-438B-877C-EFB1F8C65D5C}" dt="2024-10-09T12:33:34.719" v="169" actId="1076"/>
          <ac:cxnSpMkLst>
            <pc:docMk/>
            <pc:sldMk cId="3434126760" sldId="1056"/>
            <ac:cxnSpMk id="23" creationId="{03369816-74D5-0E35-1719-74251CA15561}"/>
          </ac:cxnSpMkLst>
        </pc:cxnChg>
        <pc:cxnChg chg="mod">
          <ac:chgData name="Kjetil Teigen Hansen (KTH)" userId="b00e1467-cd04-4012-9851-f763aaf02a55" providerId="ADAL" clId="{3E9F7E50-6A12-438B-877C-EFB1F8C65D5C}" dt="2024-10-09T12:37:07.827" v="302" actId="14100"/>
          <ac:cxnSpMkLst>
            <pc:docMk/>
            <pc:sldMk cId="3434126760" sldId="1056"/>
            <ac:cxnSpMk id="32" creationId="{9A96CED8-A146-3CE1-39B4-E01E6407F1E5}"/>
          </ac:cxnSpMkLst>
        </pc:cxnChg>
      </pc:sldChg>
      <pc:sldChg chg="addSp delSp modSp mod">
        <pc:chgData name="Kjetil Teigen Hansen (KTH)" userId="b00e1467-cd04-4012-9851-f763aaf02a55" providerId="ADAL" clId="{3E9F7E50-6A12-438B-877C-EFB1F8C65D5C}" dt="2024-10-09T12:41:01.334" v="442" actId="14100"/>
        <pc:sldMkLst>
          <pc:docMk/>
          <pc:sldMk cId="369305814" sldId="1057"/>
        </pc:sldMkLst>
        <pc:spChg chg="del">
          <ac:chgData name="Kjetil Teigen Hansen (KTH)" userId="b00e1467-cd04-4012-9851-f763aaf02a55" providerId="ADAL" clId="{3E9F7E50-6A12-438B-877C-EFB1F8C65D5C}" dt="2024-10-09T12:39:35.112" v="405" actId="478"/>
          <ac:spMkLst>
            <pc:docMk/>
            <pc:sldMk cId="369305814" sldId="1057"/>
            <ac:spMk id="5" creationId="{3B006967-3918-C146-5936-796B5F5CE6AE}"/>
          </ac:spMkLst>
        </pc:spChg>
        <pc:spChg chg="add mod">
          <ac:chgData name="Kjetil Teigen Hansen (KTH)" userId="b00e1467-cd04-4012-9851-f763aaf02a55" providerId="ADAL" clId="{3E9F7E50-6A12-438B-877C-EFB1F8C65D5C}" dt="2024-10-09T12:39:28.741" v="402" actId="14100"/>
          <ac:spMkLst>
            <pc:docMk/>
            <pc:sldMk cId="369305814" sldId="1057"/>
            <ac:spMk id="11" creationId="{D4FBED7E-699C-CFBF-DE40-349BED121BDF}"/>
          </ac:spMkLst>
        </pc:spChg>
        <pc:spChg chg="mod">
          <ac:chgData name="Kjetil Teigen Hansen (KTH)" userId="b00e1467-cd04-4012-9851-f763aaf02a55" providerId="ADAL" clId="{3E9F7E50-6A12-438B-877C-EFB1F8C65D5C}" dt="2024-10-09T12:39:51.777" v="418" actId="20577"/>
          <ac:spMkLst>
            <pc:docMk/>
            <pc:sldMk cId="369305814" sldId="1057"/>
            <ac:spMk id="13" creationId="{9BA6C978-19CF-7181-4570-4FCE9A0BD06B}"/>
          </ac:spMkLst>
        </pc:spChg>
        <pc:spChg chg="add mod">
          <ac:chgData name="Kjetil Teigen Hansen (KTH)" userId="b00e1467-cd04-4012-9851-f763aaf02a55" providerId="ADAL" clId="{3E9F7E50-6A12-438B-877C-EFB1F8C65D5C}" dt="2024-10-09T12:39:57.368" v="419" actId="14100"/>
          <ac:spMkLst>
            <pc:docMk/>
            <pc:sldMk cId="369305814" sldId="1057"/>
            <ac:spMk id="15" creationId="{4FD20EE7-B252-5802-C025-93260F0D438E}"/>
          </ac:spMkLst>
        </pc:spChg>
        <pc:spChg chg="add mod">
          <ac:chgData name="Kjetil Teigen Hansen (KTH)" userId="b00e1467-cd04-4012-9851-f763aaf02a55" providerId="ADAL" clId="{3E9F7E50-6A12-438B-877C-EFB1F8C65D5C}" dt="2024-10-09T12:40:29.010" v="428" actId="14100"/>
          <ac:spMkLst>
            <pc:docMk/>
            <pc:sldMk cId="369305814" sldId="1057"/>
            <ac:spMk id="21" creationId="{FD0069BF-5343-B661-E674-92E435591B39}"/>
          </ac:spMkLst>
        </pc:spChg>
        <pc:spChg chg="add mod">
          <ac:chgData name="Kjetil Teigen Hansen (KTH)" userId="b00e1467-cd04-4012-9851-f763aaf02a55" providerId="ADAL" clId="{3E9F7E50-6A12-438B-877C-EFB1F8C65D5C}" dt="2024-10-09T12:40:33.413" v="430" actId="1076"/>
          <ac:spMkLst>
            <pc:docMk/>
            <pc:sldMk cId="369305814" sldId="1057"/>
            <ac:spMk id="23" creationId="{B84D6250-4FEC-997A-5429-28F672100ABA}"/>
          </ac:spMkLst>
        </pc:spChg>
        <pc:spChg chg="add del mod">
          <ac:chgData name="Kjetil Teigen Hansen (KTH)" userId="b00e1467-cd04-4012-9851-f763aaf02a55" providerId="ADAL" clId="{3E9F7E50-6A12-438B-877C-EFB1F8C65D5C}" dt="2024-10-09T12:40:47.275" v="435" actId="478"/>
          <ac:spMkLst>
            <pc:docMk/>
            <pc:sldMk cId="369305814" sldId="1057"/>
            <ac:spMk id="24" creationId="{A020D8D0-3DF5-BCB6-5A5D-BE7D8AD955DF}"/>
          </ac:spMkLst>
        </pc:spChg>
        <pc:spChg chg="add mod">
          <ac:chgData name="Kjetil Teigen Hansen (KTH)" userId="b00e1467-cd04-4012-9851-f763aaf02a55" providerId="ADAL" clId="{3E9F7E50-6A12-438B-877C-EFB1F8C65D5C}" dt="2024-10-09T12:41:01.334" v="442" actId="14100"/>
          <ac:spMkLst>
            <pc:docMk/>
            <pc:sldMk cId="369305814" sldId="1057"/>
            <ac:spMk id="27" creationId="{FC56BBB0-F5A2-4BD2-5904-0607FD9AB7EC}"/>
          </ac:spMkLst>
        </pc:spChg>
        <pc:picChg chg="mod">
          <ac:chgData name="Kjetil Teigen Hansen (KTH)" userId="b00e1467-cd04-4012-9851-f763aaf02a55" providerId="ADAL" clId="{3E9F7E50-6A12-438B-877C-EFB1F8C65D5C}" dt="2024-10-09T12:38:55.614" v="397" actId="1076"/>
          <ac:picMkLst>
            <pc:docMk/>
            <pc:sldMk cId="369305814" sldId="1057"/>
            <ac:picMk id="6" creationId="{6829674F-A9C1-BA29-C8C3-493E32F46454}"/>
          </ac:picMkLst>
        </pc:picChg>
        <pc:picChg chg="mod">
          <ac:chgData name="Kjetil Teigen Hansen (KTH)" userId="b00e1467-cd04-4012-9851-f763aaf02a55" providerId="ADAL" clId="{3E9F7E50-6A12-438B-877C-EFB1F8C65D5C}" dt="2024-10-09T12:38:29.455" v="324" actId="1076"/>
          <ac:picMkLst>
            <pc:docMk/>
            <pc:sldMk cId="369305814" sldId="1057"/>
            <ac:picMk id="10" creationId="{91C4617E-CC8F-D1EE-409C-0A209576574F}"/>
          </ac:picMkLst>
        </pc:picChg>
        <pc:cxnChg chg="add del mod">
          <ac:chgData name="Kjetil Teigen Hansen (KTH)" userId="b00e1467-cd04-4012-9851-f763aaf02a55" providerId="ADAL" clId="{3E9F7E50-6A12-438B-877C-EFB1F8C65D5C}" dt="2024-10-09T12:39:37.339" v="406" actId="478"/>
          <ac:cxnSpMkLst>
            <pc:docMk/>
            <pc:sldMk cId="369305814" sldId="1057"/>
            <ac:cxnSpMk id="12" creationId="{8CB72DE6-9C0F-8159-65A7-30A2D3380444}"/>
          </ac:cxnSpMkLst>
        </pc:cxnChg>
        <pc:cxnChg chg="mod">
          <ac:chgData name="Kjetil Teigen Hansen (KTH)" userId="b00e1467-cd04-4012-9851-f763aaf02a55" providerId="ADAL" clId="{3E9F7E50-6A12-438B-877C-EFB1F8C65D5C}" dt="2024-10-09T12:39:06.324" v="398" actId="14100"/>
          <ac:cxnSpMkLst>
            <pc:docMk/>
            <pc:sldMk cId="369305814" sldId="1057"/>
            <ac:cxnSpMk id="14" creationId="{466727A5-B254-D890-8C16-39F965848203}"/>
          </ac:cxnSpMkLst>
        </pc:cxnChg>
        <pc:cxnChg chg="mod">
          <ac:chgData name="Kjetil Teigen Hansen (KTH)" userId="b00e1467-cd04-4012-9851-f763aaf02a55" providerId="ADAL" clId="{3E9F7E50-6A12-438B-877C-EFB1F8C65D5C}" dt="2024-10-09T12:40:10.591" v="421" actId="14100"/>
          <ac:cxnSpMkLst>
            <pc:docMk/>
            <pc:sldMk cId="369305814" sldId="1057"/>
            <ac:cxnSpMk id="18" creationId="{98F99124-07DC-2C0B-D455-83617720A8D8}"/>
          </ac:cxnSpMkLst>
        </pc:cxnChg>
        <pc:cxnChg chg="add mod">
          <ac:chgData name="Kjetil Teigen Hansen (KTH)" userId="b00e1467-cd04-4012-9851-f763aaf02a55" providerId="ADAL" clId="{3E9F7E50-6A12-438B-877C-EFB1F8C65D5C}" dt="2024-10-09T12:40:20.655" v="424" actId="14100"/>
          <ac:cxnSpMkLst>
            <pc:docMk/>
            <pc:sldMk cId="369305814" sldId="1057"/>
            <ac:cxnSpMk id="19" creationId="{EDAC81E7-DAC2-D1AE-8B42-5041B4EDAE8D}"/>
          </ac:cxnSpMkLst>
        </pc:cxnChg>
        <pc:cxnChg chg="add mod">
          <ac:chgData name="Kjetil Teigen Hansen (KTH)" userId="b00e1467-cd04-4012-9851-f763aaf02a55" providerId="ADAL" clId="{3E9F7E50-6A12-438B-877C-EFB1F8C65D5C}" dt="2024-10-09T12:40:53.902" v="438" actId="14100"/>
          <ac:cxnSpMkLst>
            <pc:docMk/>
            <pc:sldMk cId="369305814" sldId="1057"/>
            <ac:cxnSpMk id="25" creationId="{37ACCD14-85F3-B785-27E5-A253F715DABB}"/>
          </ac:cxnSpMkLst>
        </pc:cxnChg>
      </pc:sldChg>
      <pc:sldChg chg="modSp mod">
        <pc:chgData name="Kjetil Teigen Hansen (KTH)" userId="b00e1467-cd04-4012-9851-f763aaf02a55" providerId="ADAL" clId="{3E9F7E50-6A12-438B-877C-EFB1F8C65D5C}" dt="2024-10-09T13:09:10.384" v="921" actId="14100"/>
        <pc:sldMkLst>
          <pc:docMk/>
          <pc:sldMk cId="2110742668" sldId="1059"/>
        </pc:sldMkLst>
        <pc:spChg chg="mod">
          <ac:chgData name="Kjetil Teigen Hansen (KTH)" userId="b00e1467-cd04-4012-9851-f763aaf02a55" providerId="ADAL" clId="{3E9F7E50-6A12-438B-877C-EFB1F8C65D5C}" dt="2024-10-09T13:09:05.630" v="919" actId="1076"/>
          <ac:spMkLst>
            <pc:docMk/>
            <pc:sldMk cId="2110742668" sldId="1059"/>
            <ac:spMk id="15" creationId="{5DEC4C56-2F0C-2608-9DAF-6C680EF38DC6}"/>
          </ac:spMkLst>
        </pc:spChg>
        <pc:cxnChg chg="mod">
          <ac:chgData name="Kjetil Teigen Hansen (KTH)" userId="b00e1467-cd04-4012-9851-f763aaf02a55" providerId="ADAL" clId="{3E9F7E50-6A12-438B-877C-EFB1F8C65D5C}" dt="2024-10-09T13:09:10.384" v="921" actId="14100"/>
          <ac:cxnSpMkLst>
            <pc:docMk/>
            <pc:sldMk cId="2110742668" sldId="1059"/>
            <ac:cxnSpMk id="9" creationId="{84A049F0-FA3A-2C3F-EE40-3731C62C1615}"/>
          </ac:cxnSpMkLst>
        </pc:cxnChg>
        <pc:cxnChg chg="mod">
          <ac:chgData name="Kjetil Teigen Hansen (KTH)" userId="b00e1467-cd04-4012-9851-f763aaf02a55" providerId="ADAL" clId="{3E9F7E50-6A12-438B-877C-EFB1F8C65D5C}" dt="2024-10-09T13:09:07.841" v="920" actId="14100"/>
          <ac:cxnSpMkLst>
            <pc:docMk/>
            <pc:sldMk cId="2110742668" sldId="1059"/>
            <ac:cxnSpMk id="16" creationId="{3FDF1817-039B-3A2D-5235-E0E6C59F4C39}"/>
          </ac:cxnSpMkLst>
        </pc:cxnChg>
      </pc:sldChg>
      <pc:sldChg chg="addSp modSp mod">
        <pc:chgData name="Kjetil Teigen Hansen (KTH)" userId="b00e1467-cd04-4012-9851-f763aaf02a55" providerId="ADAL" clId="{3E9F7E50-6A12-438B-877C-EFB1F8C65D5C}" dt="2024-10-09T12:50:05.832" v="917" actId="14100"/>
        <pc:sldMkLst>
          <pc:docMk/>
          <pc:sldMk cId="3287255161" sldId="1060"/>
        </pc:sldMkLst>
        <pc:spChg chg="mod">
          <ac:chgData name="Kjetil Teigen Hansen (KTH)" userId="b00e1467-cd04-4012-9851-f763aaf02a55" providerId="ADAL" clId="{3E9F7E50-6A12-438B-877C-EFB1F8C65D5C}" dt="2024-10-09T12:50:00.098" v="916" actId="20577"/>
          <ac:spMkLst>
            <pc:docMk/>
            <pc:sldMk cId="3287255161" sldId="1060"/>
            <ac:spMk id="9" creationId="{1332ADAB-347F-B30A-F36B-957ADACDE929}"/>
          </ac:spMkLst>
        </pc:spChg>
        <pc:cxnChg chg="add mod">
          <ac:chgData name="Kjetil Teigen Hansen (KTH)" userId="b00e1467-cd04-4012-9851-f763aaf02a55" providerId="ADAL" clId="{3E9F7E50-6A12-438B-877C-EFB1F8C65D5C}" dt="2024-10-09T12:27:34.860" v="24" actId="14100"/>
          <ac:cxnSpMkLst>
            <pc:docMk/>
            <pc:sldMk cId="3287255161" sldId="1060"/>
            <ac:cxnSpMk id="10" creationId="{BD390C99-EBFF-D081-6856-C0F6A8B7AA16}"/>
          </ac:cxnSpMkLst>
        </pc:cxnChg>
        <pc:cxnChg chg="mod">
          <ac:chgData name="Kjetil Teigen Hansen (KTH)" userId="b00e1467-cd04-4012-9851-f763aaf02a55" providerId="ADAL" clId="{3E9F7E50-6A12-438B-877C-EFB1F8C65D5C}" dt="2024-10-09T12:27:28.731" v="21" actId="14100"/>
          <ac:cxnSpMkLst>
            <pc:docMk/>
            <pc:sldMk cId="3287255161" sldId="1060"/>
            <ac:cxnSpMk id="12" creationId="{EE97F0F7-C77F-FB9C-D049-955D7C3BD72A}"/>
          </ac:cxnSpMkLst>
        </pc:cxnChg>
        <pc:cxnChg chg="add mod">
          <ac:chgData name="Kjetil Teigen Hansen (KTH)" userId="b00e1467-cd04-4012-9851-f763aaf02a55" providerId="ADAL" clId="{3E9F7E50-6A12-438B-877C-EFB1F8C65D5C}" dt="2024-10-09T12:50:05.832" v="917" actId="14100"/>
          <ac:cxnSpMkLst>
            <pc:docMk/>
            <pc:sldMk cId="3287255161" sldId="1060"/>
            <ac:cxnSpMk id="14" creationId="{5740468C-B39A-32C5-B0D3-7ACB416D4C6E}"/>
          </ac:cxnSpMkLst>
        </pc:cxnChg>
      </pc:sldChg>
    </pc:docChg>
  </pc:docChgLst>
  <pc:docChgLst>
    <pc:chgData name="Andreas Koksrud" userId="9d9beba6-c052-407a-8599-c781a677a996" providerId="ADAL" clId="{4C89AD2D-B60A-479F-9F95-9D423A06FAEA}"/>
    <pc:docChg chg="undo redo custSel addSld delSld modSld sldOrd modSection">
      <pc:chgData name="Andreas Koksrud" userId="9d9beba6-c052-407a-8599-c781a677a996" providerId="ADAL" clId="{4C89AD2D-B60A-479F-9F95-9D423A06FAEA}" dt="2024-08-06T18:29:33.046" v="40740" actId="20577"/>
      <pc:docMkLst>
        <pc:docMk/>
      </pc:docMkLst>
      <pc:sldChg chg="del">
        <pc:chgData name="Andreas Koksrud" userId="9d9beba6-c052-407a-8599-c781a677a996" providerId="ADAL" clId="{4C89AD2D-B60A-479F-9F95-9D423A06FAEA}" dt="2024-06-09T16:13:18.629" v="2169" actId="47"/>
        <pc:sldMkLst>
          <pc:docMk/>
          <pc:sldMk cId="0" sldId="269"/>
        </pc:sldMkLst>
      </pc:sldChg>
      <pc:sldChg chg="addSp delSp modSp mod setBg">
        <pc:chgData name="Andreas Koksrud" userId="9d9beba6-c052-407a-8599-c781a677a996" providerId="ADAL" clId="{4C89AD2D-B60A-479F-9F95-9D423A06FAEA}" dt="2024-07-24T19:54:22.180" v="27580"/>
        <pc:sldMkLst>
          <pc:docMk/>
          <pc:sldMk cId="697137886" sldId="679"/>
        </pc:sldMkLst>
        <pc:spChg chg="mod">
          <ac:chgData name="Andreas Koksrud" userId="9d9beba6-c052-407a-8599-c781a677a996" providerId="ADAL" clId="{4C89AD2D-B60A-479F-9F95-9D423A06FAEA}" dt="2024-06-09T15:46:44.206" v="47" actId="20577"/>
          <ac:spMkLst>
            <pc:docMk/>
            <pc:sldMk cId="697137886" sldId="679"/>
            <ac:spMk id="2" creationId="{00000000-0000-0000-0000-000000000000}"/>
          </ac:spMkLst>
        </pc:spChg>
        <pc:spChg chg="mod">
          <ac:chgData name="Andreas Koksrud" userId="9d9beba6-c052-407a-8599-c781a677a996" providerId="ADAL" clId="{4C89AD2D-B60A-479F-9F95-9D423A06FAEA}" dt="2024-06-09T15:47:07.884" v="106" actId="20577"/>
          <ac:spMkLst>
            <pc:docMk/>
            <pc:sldMk cId="697137886" sldId="679"/>
            <ac:spMk id="3" creationId="{00000000-0000-0000-0000-000000000000}"/>
          </ac:spMkLst>
        </pc:spChg>
        <pc:picChg chg="add del mod">
          <ac:chgData name="Andreas Koksrud" userId="9d9beba6-c052-407a-8599-c781a677a996" providerId="ADAL" clId="{4C89AD2D-B60A-479F-9F95-9D423A06FAEA}" dt="2024-07-24T19:52:21.115" v="27578" actId="478"/>
          <ac:picMkLst>
            <pc:docMk/>
            <pc:sldMk cId="697137886" sldId="679"/>
            <ac:picMk id="8" creationId="{2693EAA6-B667-FDD8-E9B9-0580175D1E43}"/>
          </ac:picMkLst>
        </pc:picChg>
      </pc:sldChg>
      <pc:sldChg chg="addSp delSp modSp mod">
        <pc:chgData name="Andreas Koksrud" userId="9d9beba6-c052-407a-8599-c781a677a996" providerId="ADAL" clId="{4C89AD2D-B60A-479F-9F95-9D423A06FAEA}" dt="2024-06-14T18:12:29.291" v="5927" actId="20577"/>
        <pc:sldMkLst>
          <pc:docMk/>
          <pc:sldMk cId="2087783305" sldId="730"/>
        </pc:sldMkLst>
        <pc:spChg chg="mod">
          <ac:chgData name="Andreas Koksrud" userId="9d9beba6-c052-407a-8599-c781a677a996" providerId="ADAL" clId="{4C89AD2D-B60A-479F-9F95-9D423A06FAEA}" dt="2024-06-09T15:49:38.702" v="243" actId="13926"/>
          <ac:spMkLst>
            <pc:docMk/>
            <pc:sldMk cId="2087783305" sldId="730"/>
            <ac:spMk id="2" creationId="{E83F8947-299D-4698-B80E-56B8E23125F0}"/>
          </ac:spMkLst>
        </pc:spChg>
        <pc:spChg chg="add del mod">
          <ac:chgData name="Andreas Koksrud" userId="9d9beba6-c052-407a-8599-c781a677a996" providerId="ADAL" clId="{4C89AD2D-B60A-479F-9F95-9D423A06FAEA}" dt="2024-06-14T17:57:49.342" v="5770" actId="478"/>
          <ac:spMkLst>
            <pc:docMk/>
            <pc:sldMk cId="2087783305" sldId="730"/>
            <ac:spMk id="4" creationId="{85BBD901-9B43-B2F7-9C7C-9B7CE4F7DF8F}"/>
          </ac:spMkLst>
        </pc:spChg>
        <pc:spChg chg="mod ord">
          <ac:chgData name="Andreas Koksrud" userId="9d9beba6-c052-407a-8599-c781a677a996" providerId="ADAL" clId="{4C89AD2D-B60A-479F-9F95-9D423A06FAEA}" dt="2024-06-14T18:01:13.844" v="5807" actId="20577"/>
          <ac:spMkLst>
            <pc:docMk/>
            <pc:sldMk cId="2087783305" sldId="730"/>
            <ac:spMk id="7" creationId="{E3B8F25C-58B8-BCEA-1FD1-B670F6D36B73}"/>
          </ac:spMkLst>
        </pc:spChg>
        <pc:spChg chg="mod">
          <ac:chgData name="Andreas Koksrud" userId="9d9beba6-c052-407a-8599-c781a677a996" providerId="ADAL" clId="{4C89AD2D-B60A-479F-9F95-9D423A06FAEA}" dt="2024-06-09T15:47:36.572" v="146" actId="20577"/>
          <ac:spMkLst>
            <pc:docMk/>
            <pc:sldMk cId="2087783305" sldId="730"/>
            <ac:spMk id="8" creationId="{F6664A8B-FDC6-48AB-8C23-E58136970003}"/>
          </ac:spMkLst>
        </pc:spChg>
        <pc:spChg chg="add del mod">
          <ac:chgData name="Andreas Koksrud" userId="9d9beba6-c052-407a-8599-c781a677a996" providerId="ADAL" clId="{4C89AD2D-B60A-479F-9F95-9D423A06FAEA}" dt="2024-06-14T18:11:27.839" v="5888" actId="478"/>
          <ac:spMkLst>
            <pc:docMk/>
            <pc:sldMk cId="2087783305" sldId="730"/>
            <ac:spMk id="9" creationId="{6C4F6838-4189-D674-68AB-E39F52FBA9FA}"/>
          </ac:spMkLst>
        </pc:spChg>
        <pc:spChg chg="add mod">
          <ac:chgData name="Andreas Koksrud" userId="9d9beba6-c052-407a-8599-c781a677a996" providerId="ADAL" clId="{4C89AD2D-B60A-479F-9F95-9D423A06FAEA}" dt="2024-06-14T18:12:19.145" v="5916"/>
          <ac:spMkLst>
            <pc:docMk/>
            <pc:sldMk cId="2087783305" sldId="730"/>
            <ac:spMk id="10" creationId="{3CE22A0E-0DEC-ABBF-1895-E07BE58FA06F}"/>
          </ac:spMkLst>
        </pc:spChg>
        <pc:spChg chg="add mod">
          <ac:chgData name="Andreas Koksrud" userId="9d9beba6-c052-407a-8599-c781a677a996" providerId="ADAL" clId="{4C89AD2D-B60A-479F-9F95-9D423A06FAEA}" dt="2024-06-14T18:12:29.291" v="5927" actId="20577"/>
          <ac:spMkLst>
            <pc:docMk/>
            <pc:sldMk cId="2087783305" sldId="730"/>
            <ac:spMk id="11" creationId="{BC16604C-3BD7-8EF2-D7B7-67F43348E4AF}"/>
          </ac:spMkLst>
        </pc:spChg>
      </pc:sldChg>
      <pc:sldChg chg="addSp modSp add mod">
        <pc:chgData name="Andreas Koksrud" userId="9d9beba6-c052-407a-8599-c781a677a996" providerId="ADAL" clId="{4C89AD2D-B60A-479F-9F95-9D423A06FAEA}" dt="2024-08-06T13:19:16.560" v="38946" actId="20577"/>
        <pc:sldMkLst>
          <pc:docMk/>
          <pc:sldMk cId="1205429650" sldId="740"/>
        </pc:sldMkLst>
        <pc:spChg chg="mod">
          <ac:chgData name="Andreas Koksrud" userId="9d9beba6-c052-407a-8599-c781a677a996" providerId="ADAL" clId="{4C89AD2D-B60A-479F-9F95-9D423A06FAEA}" dt="2024-08-06T13:19:16.560" v="38946" actId="20577"/>
          <ac:spMkLst>
            <pc:docMk/>
            <pc:sldMk cId="1205429650" sldId="740"/>
            <ac:spMk id="4" creationId="{9941A77A-F3E5-48EB-A326-C1427FFD684B}"/>
          </ac:spMkLst>
        </pc:spChg>
        <pc:spChg chg="add mod">
          <ac:chgData name="Andreas Koksrud" userId="9d9beba6-c052-407a-8599-c781a677a996" providerId="ADAL" clId="{4C89AD2D-B60A-479F-9F95-9D423A06FAEA}" dt="2024-06-14T18:19:16.066" v="6419"/>
          <ac:spMkLst>
            <pc:docMk/>
            <pc:sldMk cId="1205429650" sldId="740"/>
            <ac:spMk id="5" creationId="{38FB9DFA-3157-1960-D22E-E946DC4CBC44}"/>
          </ac:spMkLst>
        </pc:spChg>
        <pc:spChg chg="add mod">
          <ac:chgData name="Andreas Koksrud" userId="9d9beba6-c052-407a-8599-c781a677a996" providerId="ADAL" clId="{4C89AD2D-B60A-479F-9F95-9D423A06FAEA}" dt="2024-06-14T18:19:16.066" v="6419"/>
          <ac:spMkLst>
            <pc:docMk/>
            <pc:sldMk cId="1205429650" sldId="740"/>
            <ac:spMk id="7" creationId="{6F84CC48-36DF-35F3-EBA0-316CF1C39A4C}"/>
          </ac:spMkLst>
        </pc:spChg>
      </pc:sldChg>
      <pc:sldChg chg="addSp modSp mod">
        <pc:chgData name="Andreas Koksrud" userId="9d9beba6-c052-407a-8599-c781a677a996" providerId="ADAL" clId="{4C89AD2D-B60A-479F-9F95-9D423A06FAEA}" dt="2024-07-25T22:05:46.513" v="29178" actId="404"/>
        <pc:sldMkLst>
          <pc:docMk/>
          <pc:sldMk cId="4184721091" sldId="775"/>
        </pc:sldMkLst>
        <pc:spChg chg="add mod">
          <ac:chgData name="Andreas Koksrud" userId="9d9beba6-c052-407a-8599-c781a677a996" providerId="ADAL" clId="{4C89AD2D-B60A-479F-9F95-9D423A06FAEA}" dt="2024-06-14T18:10:43.231" v="5882" actId="2085"/>
          <ac:spMkLst>
            <pc:docMk/>
            <pc:sldMk cId="4184721091" sldId="775"/>
            <ac:spMk id="3" creationId="{BD00FE5D-B8B5-06EB-5F49-5279FC1C36DE}"/>
          </ac:spMkLst>
        </pc:spChg>
        <pc:spChg chg="add mod">
          <ac:chgData name="Andreas Koksrud" userId="9d9beba6-c052-407a-8599-c781a677a996" providerId="ADAL" clId="{4C89AD2D-B60A-479F-9F95-9D423A06FAEA}" dt="2024-06-14T18:10:17.091" v="5880" actId="14100"/>
          <ac:spMkLst>
            <pc:docMk/>
            <pc:sldMk cId="4184721091" sldId="775"/>
            <ac:spMk id="4" creationId="{34AE7BAD-0DF0-29EF-7772-CE754090A522}"/>
          </ac:spMkLst>
        </pc:spChg>
        <pc:spChg chg="mod">
          <ac:chgData name="Andreas Koksrud" userId="9d9beba6-c052-407a-8599-c781a677a996" providerId="ADAL" clId="{4C89AD2D-B60A-479F-9F95-9D423A06FAEA}" dt="2024-06-09T16:03:18.560" v="1128" actId="20577"/>
          <ac:spMkLst>
            <pc:docMk/>
            <pc:sldMk cId="4184721091" sldId="775"/>
            <ac:spMk id="180" creationId="{00000000-0000-0000-0000-000000000000}"/>
          </ac:spMkLst>
        </pc:spChg>
        <pc:spChg chg="mod">
          <ac:chgData name="Andreas Koksrud" userId="9d9beba6-c052-407a-8599-c781a677a996" providerId="ADAL" clId="{4C89AD2D-B60A-479F-9F95-9D423A06FAEA}" dt="2024-07-25T22:05:46.513" v="29178" actId="404"/>
          <ac:spMkLst>
            <pc:docMk/>
            <pc:sldMk cId="4184721091" sldId="775"/>
            <ac:spMk id="181" creationId="{00000000-0000-0000-0000-000000000000}"/>
          </ac:spMkLst>
        </pc:spChg>
      </pc:sldChg>
      <pc:sldChg chg="addSp modSp add mod">
        <pc:chgData name="Andreas Koksrud" userId="9d9beba6-c052-407a-8599-c781a677a996" providerId="ADAL" clId="{4C89AD2D-B60A-479F-9F95-9D423A06FAEA}" dt="2024-07-20T18:52:53.407" v="26040" actId="6549"/>
        <pc:sldMkLst>
          <pc:docMk/>
          <pc:sldMk cId="267941889" sldId="776"/>
        </pc:sldMkLst>
        <pc:spChg chg="mod">
          <ac:chgData name="Andreas Koksrud" userId="9d9beba6-c052-407a-8599-c781a677a996" providerId="ADAL" clId="{4C89AD2D-B60A-479F-9F95-9D423A06FAEA}" dt="2024-07-20T18:52:53.407" v="26040" actId="6549"/>
          <ac:spMkLst>
            <pc:docMk/>
            <pc:sldMk cId="267941889" sldId="776"/>
            <ac:spMk id="2" creationId="{9DFEA761-9758-CCB6-454F-76D77B537567}"/>
          </ac:spMkLst>
        </pc:spChg>
        <pc:spChg chg="add mod">
          <ac:chgData name="Andreas Koksrud" userId="9d9beba6-c052-407a-8599-c781a677a996" providerId="ADAL" clId="{4C89AD2D-B60A-479F-9F95-9D423A06FAEA}" dt="2024-06-14T18:14:32.506" v="6028"/>
          <ac:spMkLst>
            <pc:docMk/>
            <pc:sldMk cId="267941889" sldId="776"/>
            <ac:spMk id="3" creationId="{33FADA52-EBEB-C29C-496C-53DF122E58B4}"/>
          </ac:spMkLst>
        </pc:spChg>
        <pc:spChg chg="add mod">
          <ac:chgData name="Andreas Koksrud" userId="9d9beba6-c052-407a-8599-c781a677a996" providerId="ADAL" clId="{4C89AD2D-B60A-479F-9F95-9D423A06FAEA}" dt="2024-06-14T18:14:32.506" v="6028"/>
          <ac:spMkLst>
            <pc:docMk/>
            <pc:sldMk cId="267941889" sldId="776"/>
            <ac:spMk id="4" creationId="{F9DB0C90-B6D8-52E7-390C-D3D22D279FEE}"/>
          </ac:spMkLst>
        </pc:spChg>
        <pc:spChg chg="mod">
          <ac:chgData name="Andreas Koksrud" userId="9d9beba6-c052-407a-8599-c781a677a996" providerId="ADAL" clId="{4C89AD2D-B60A-479F-9F95-9D423A06FAEA}" dt="2024-06-30T09:31:36.736" v="12514" actId="6549"/>
          <ac:spMkLst>
            <pc:docMk/>
            <pc:sldMk cId="267941889" sldId="776"/>
            <ac:spMk id="180" creationId="{00000000-0000-0000-0000-000000000000}"/>
          </ac:spMkLst>
        </pc:spChg>
      </pc:sldChg>
      <pc:sldChg chg="addSp modSp add">
        <pc:chgData name="Andreas Koksrud" userId="9d9beba6-c052-407a-8599-c781a677a996" providerId="ADAL" clId="{4C89AD2D-B60A-479F-9F95-9D423A06FAEA}" dt="2024-06-14T18:22:37.535" v="6646"/>
        <pc:sldMkLst>
          <pc:docMk/>
          <pc:sldMk cId="2950788596" sldId="780"/>
        </pc:sldMkLst>
        <pc:spChg chg="add mod">
          <ac:chgData name="Andreas Koksrud" userId="9d9beba6-c052-407a-8599-c781a677a996" providerId="ADAL" clId="{4C89AD2D-B60A-479F-9F95-9D423A06FAEA}" dt="2024-06-14T18:22:37.535" v="6646"/>
          <ac:spMkLst>
            <pc:docMk/>
            <pc:sldMk cId="2950788596" sldId="780"/>
            <ac:spMk id="2" creationId="{97A8DECF-0343-9081-BE7E-C205BB729575}"/>
          </ac:spMkLst>
        </pc:spChg>
        <pc:spChg chg="add mod">
          <ac:chgData name="Andreas Koksrud" userId="9d9beba6-c052-407a-8599-c781a677a996" providerId="ADAL" clId="{4C89AD2D-B60A-479F-9F95-9D423A06FAEA}" dt="2024-06-14T18:22:37.535" v="6646"/>
          <ac:spMkLst>
            <pc:docMk/>
            <pc:sldMk cId="2950788596" sldId="780"/>
            <ac:spMk id="3" creationId="{65BFA69C-2B17-A145-93FB-2D22A8B48CE7}"/>
          </ac:spMkLst>
        </pc:spChg>
      </pc:sldChg>
      <pc:sldChg chg="addSp modSp add">
        <pc:chgData name="Andreas Koksrud" userId="9d9beba6-c052-407a-8599-c781a677a996" providerId="ADAL" clId="{4C89AD2D-B60A-479F-9F95-9D423A06FAEA}" dt="2024-06-14T18:19:53.113" v="6482"/>
        <pc:sldMkLst>
          <pc:docMk/>
          <pc:sldMk cId="1603511548" sldId="781"/>
        </pc:sldMkLst>
        <pc:spChg chg="add mod">
          <ac:chgData name="Andreas Koksrud" userId="9d9beba6-c052-407a-8599-c781a677a996" providerId="ADAL" clId="{4C89AD2D-B60A-479F-9F95-9D423A06FAEA}" dt="2024-06-14T18:19:53.113" v="6482"/>
          <ac:spMkLst>
            <pc:docMk/>
            <pc:sldMk cId="1603511548" sldId="781"/>
            <ac:spMk id="2" creationId="{C6056E56-2136-241A-E9BB-D9D23937A808}"/>
          </ac:spMkLst>
        </pc:spChg>
        <pc:spChg chg="add mod">
          <ac:chgData name="Andreas Koksrud" userId="9d9beba6-c052-407a-8599-c781a677a996" providerId="ADAL" clId="{4C89AD2D-B60A-479F-9F95-9D423A06FAEA}" dt="2024-06-14T18:19:53.113" v="6482"/>
          <ac:spMkLst>
            <pc:docMk/>
            <pc:sldMk cId="1603511548" sldId="781"/>
            <ac:spMk id="4" creationId="{C9FF8FE2-F07B-41C2-BAF8-C948892DF32C}"/>
          </ac:spMkLst>
        </pc:spChg>
      </pc:sldChg>
      <pc:sldChg chg="addSp modSp add">
        <pc:chgData name="Andreas Koksrud" userId="9d9beba6-c052-407a-8599-c781a677a996" providerId="ADAL" clId="{4C89AD2D-B60A-479F-9F95-9D423A06FAEA}" dt="2024-06-14T18:22:39.188" v="6647"/>
        <pc:sldMkLst>
          <pc:docMk/>
          <pc:sldMk cId="1881751481" sldId="782"/>
        </pc:sldMkLst>
        <pc:spChg chg="add mod">
          <ac:chgData name="Andreas Koksrud" userId="9d9beba6-c052-407a-8599-c781a677a996" providerId="ADAL" clId="{4C89AD2D-B60A-479F-9F95-9D423A06FAEA}" dt="2024-06-14T18:22:39.188" v="6647"/>
          <ac:spMkLst>
            <pc:docMk/>
            <pc:sldMk cId="1881751481" sldId="782"/>
            <ac:spMk id="2" creationId="{A8E454D4-7513-76FE-F0F9-AA83FB817781}"/>
          </ac:spMkLst>
        </pc:spChg>
        <pc:spChg chg="add mod">
          <ac:chgData name="Andreas Koksrud" userId="9d9beba6-c052-407a-8599-c781a677a996" providerId="ADAL" clId="{4C89AD2D-B60A-479F-9F95-9D423A06FAEA}" dt="2024-06-14T18:22:39.188" v="6647"/>
          <ac:spMkLst>
            <pc:docMk/>
            <pc:sldMk cId="1881751481" sldId="782"/>
            <ac:spMk id="3" creationId="{A33B68D5-760E-F568-4EA0-B1F9D33D110F}"/>
          </ac:spMkLst>
        </pc:spChg>
      </pc:sldChg>
      <pc:sldChg chg="addSp delSp modSp add del mod">
        <pc:chgData name="Andreas Koksrud" userId="9d9beba6-c052-407a-8599-c781a677a996" providerId="ADAL" clId="{4C89AD2D-B60A-479F-9F95-9D423A06FAEA}" dt="2024-08-04T15:57:33.603" v="36362" actId="20577"/>
        <pc:sldMkLst>
          <pc:docMk/>
          <pc:sldMk cId="590634226" sldId="798"/>
        </pc:sldMkLst>
        <pc:spChg chg="mod">
          <ac:chgData name="Andreas Koksrud" userId="9d9beba6-c052-407a-8599-c781a677a996" providerId="ADAL" clId="{4C89AD2D-B60A-479F-9F95-9D423A06FAEA}" dt="2024-07-15T20:57:50.370" v="23718" actId="404"/>
          <ac:spMkLst>
            <pc:docMk/>
            <pc:sldMk cId="590634226" sldId="798"/>
            <ac:spMk id="2" creationId="{E5D5B057-1D39-AC88-396C-0D888288A2E9}"/>
          </ac:spMkLst>
        </pc:spChg>
        <pc:spChg chg="add mod">
          <ac:chgData name="Andreas Koksrud" userId="9d9beba6-c052-407a-8599-c781a677a996" providerId="ADAL" clId="{4C89AD2D-B60A-479F-9F95-9D423A06FAEA}" dt="2024-06-14T18:17:49.410" v="6341"/>
          <ac:spMkLst>
            <pc:docMk/>
            <pc:sldMk cId="590634226" sldId="798"/>
            <ac:spMk id="3" creationId="{65105C58-F9B3-32B8-AC18-CA5E62777ECE}"/>
          </ac:spMkLst>
        </pc:spChg>
        <pc:spChg chg="add mod">
          <ac:chgData name="Andreas Koksrud" userId="9d9beba6-c052-407a-8599-c781a677a996" providerId="ADAL" clId="{4C89AD2D-B60A-479F-9F95-9D423A06FAEA}" dt="2024-06-14T18:17:49.410" v="6341"/>
          <ac:spMkLst>
            <pc:docMk/>
            <pc:sldMk cId="590634226" sldId="798"/>
            <ac:spMk id="6" creationId="{679A8908-ECF9-1656-E1DA-33446131C695}"/>
          </ac:spMkLst>
        </pc:spChg>
        <pc:spChg chg="mod">
          <ac:chgData name="Andreas Koksrud" userId="9d9beba6-c052-407a-8599-c781a677a996" providerId="ADAL" clId="{4C89AD2D-B60A-479F-9F95-9D423A06FAEA}" dt="2024-08-04T15:57:33.603" v="36362" actId="20577"/>
          <ac:spMkLst>
            <pc:docMk/>
            <pc:sldMk cId="590634226" sldId="798"/>
            <ac:spMk id="180" creationId="{00000000-0000-0000-0000-000000000000}"/>
          </ac:spMkLst>
        </pc:spChg>
        <pc:spChg chg="mod">
          <ac:chgData name="Andreas Koksrud" userId="9d9beba6-c052-407a-8599-c781a677a996" providerId="ADAL" clId="{4C89AD2D-B60A-479F-9F95-9D423A06FAEA}" dt="2024-07-16T13:32:19.981" v="24159" actId="5793"/>
          <ac:spMkLst>
            <pc:docMk/>
            <pc:sldMk cId="590634226" sldId="798"/>
            <ac:spMk id="181" creationId="{00000000-0000-0000-0000-000000000000}"/>
          </ac:spMkLst>
        </pc:spChg>
        <pc:picChg chg="del">
          <ac:chgData name="Andreas Koksrud" userId="9d9beba6-c052-407a-8599-c781a677a996" providerId="ADAL" clId="{4C89AD2D-B60A-479F-9F95-9D423A06FAEA}" dt="2024-07-15T20:55:53.766" v="23702" actId="478"/>
          <ac:picMkLst>
            <pc:docMk/>
            <pc:sldMk cId="590634226" sldId="798"/>
            <ac:picMk id="4" creationId="{3268E2CD-034A-0355-88E6-A9987142F20D}"/>
          </ac:picMkLst>
        </pc:picChg>
        <pc:picChg chg="add mod modCrop">
          <ac:chgData name="Andreas Koksrud" userId="9d9beba6-c052-407a-8599-c781a677a996" providerId="ADAL" clId="{4C89AD2D-B60A-479F-9F95-9D423A06FAEA}" dt="2024-07-15T20:57:56.055" v="23719" actId="1076"/>
          <ac:picMkLst>
            <pc:docMk/>
            <pc:sldMk cId="590634226" sldId="798"/>
            <ac:picMk id="10" creationId="{32062C49-EE1A-B42F-C945-526DDE8B3BB7}"/>
          </ac:picMkLst>
        </pc:picChg>
        <pc:picChg chg="add mod modCrop">
          <ac:chgData name="Andreas Koksrud" userId="9d9beba6-c052-407a-8599-c781a677a996" providerId="ADAL" clId="{4C89AD2D-B60A-479F-9F95-9D423A06FAEA}" dt="2024-07-15T20:57:56.055" v="23719" actId="1076"/>
          <ac:picMkLst>
            <pc:docMk/>
            <pc:sldMk cId="590634226" sldId="798"/>
            <ac:picMk id="12" creationId="{58E439F5-9799-5244-4021-072A0EB3A078}"/>
          </ac:picMkLst>
        </pc:picChg>
        <pc:picChg chg="add mod modCrop">
          <ac:chgData name="Andreas Koksrud" userId="9d9beba6-c052-407a-8599-c781a677a996" providerId="ADAL" clId="{4C89AD2D-B60A-479F-9F95-9D423A06FAEA}" dt="2024-07-15T20:57:56.055" v="23719" actId="1076"/>
          <ac:picMkLst>
            <pc:docMk/>
            <pc:sldMk cId="590634226" sldId="798"/>
            <ac:picMk id="14" creationId="{36ACF21A-7A5D-44E6-B3C7-1E008C1217E1}"/>
          </ac:picMkLst>
        </pc:picChg>
        <pc:cxnChg chg="add mod">
          <ac:chgData name="Andreas Koksrud" userId="9d9beba6-c052-407a-8599-c781a677a996" providerId="ADAL" clId="{4C89AD2D-B60A-479F-9F95-9D423A06FAEA}" dt="2024-07-15T20:28:05.943" v="23404" actId="14100"/>
          <ac:cxnSpMkLst>
            <pc:docMk/>
            <pc:sldMk cId="590634226" sldId="798"/>
            <ac:cxnSpMk id="7" creationId="{1D6E6058-6EBE-6103-C0FD-6FBE407F3CF1}"/>
          </ac:cxnSpMkLst>
        </pc:cxnChg>
      </pc:sldChg>
      <pc:sldChg chg="addSp delSp modSp mod">
        <pc:chgData name="Andreas Koksrud" userId="9d9beba6-c052-407a-8599-c781a677a996" providerId="ADAL" clId="{4C89AD2D-B60A-479F-9F95-9D423A06FAEA}" dt="2024-07-19T20:03:31.327" v="25952" actId="167"/>
        <pc:sldMkLst>
          <pc:docMk/>
          <pc:sldMk cId="2075912972" sldId="800"/>
        </pc:sldMkLst>
        <pc:spChg chg="add del mod">
          <ac:chgData name="Andreas Koksrud" userId="9d9beba6-c052-407a-8599-c781a677a996" providerId="ADAL" clId="{4C89AD2D-B60A-479F-9F95-9D423A06FAEA}" dt="2024-06-10T18:31:57.897" v="4313" actId="478"/>
          <ac:spMkLst>
            <pc:docMk/>
            <pc:sldMk cId="2075912972" sldId="800"/>
            <ac:spMk id="2" creationId="{3693B6DF-812A-D30B-07C5-483797096BC1}"/>
          </ac:spMkLst>
        </pc:spChg>
        <pc:spChg chg="add del mod">
          <ac:chgData name="Andreas Koksrud" userId="9d9beba6-c052-407a-8599-c781a677a996" providerId="ADAL" clId="{4C89AD2D-B60A-479F-9F95-9D423A06FAEA}" dt="2024-07-15T14:37:07.043" v="21485" actId="478"/>
          <ac:spMkLst>
            <pc:docMk/>
            <pc:sldMk cId="2075912972" sldId="800"/>
            <ac:spMk id="3" creationId="{53B799D0-11CB-460D-375B-AEFC12E824D8}"/>
          </ac:spMkLst>
        </pc:spChg>
        <pc:spChg chg="add del mod">
          <ac:chgData name="Andreas Koksrud" userId="9d9beba6-c052-407a-8599-c781a677a996" providerId="ADAL" clId="{4C89AD2D-B60A-479F-9F95-9D423A06FAEA}" dt="2024-06-14T18:11:16.122" v="5883" actId="478"/>
          <ac:spMkLst>
            <pc:docMk/>
            <pc:sldMk cId="2075912972" sldId="800"/>
            <ac:spMk id="3" creationId="{E1AEC3BE-3C95-DB99-E10A-7615495970F7}"/>
          </ac:spMkLst>
        </pc:spChg>
        <pc:spChg chg="add mod">
          <ac:chgData name="Andreas Koksrud" userId="9d9beba6-c052-407a-8599-c781a677a996" providerId="ADAL" clId="{4C89AD2D-B60A-479F-9F95-9D423A06FAEA}" dt="2024-06-14T18:11:55.283" v="5897" actId="20577"/>
          <ac:spMkLst>
            <pc:docMk/>
            <pc:sldMk cId="2075912972" sldId="800"/>
            <ac:spMk id="4" creationId="{1ED5E891-40ED-B09A-E89F-65D35B591082}"/>
          </ac:spMkLst>
        </pc:spChg>
        <pc:spChg chg="del">
          <ac:chgData name="Andreas Koksrud" userId="9d9beba6-c052-407a-8599-c781a677a996" providerId="ADAL" clId="{4C89AD2D-B60A-479F-9F95-9D423A06FAEA}" dt="2024-06-09T15:50:53.717" v="425" actId="478"/>
          <ac:spMkLst>
            <pc:docMk/>
            <pc:sldMk cId="2075912972" sldId="800"/>
            <ac:spMk id="4" creationId="{1F0030D3-C16D-0458-39A0-65E4C91CE228}"/>
          </ac:spMkLst>
        </pc:spChg>
        <pc:spChg chg="add del mod">
          <ac:chgData name="Andreas Koksrud" userId="9d9beba6-c052-407a-8599-c781a677a996" providerId="ADAL" clId="{4C89AD2D-B60A-479F-9F95-9D423A06FAEA}" dt="2024-07-15T14:37:02.720" v="21484" actId="478"/>
          <ac:spMkLst>
            <pc:docMk/>
            <pc:sldMk cId="2075912972" sldId="800"/>
            <ac:spMk id="5" creationId="{06C331F7-EF3E-5E7F-9901-C355F1A9896B}"/>
          </ac:spMkLst>
        </pc:spChg>
        <pc:spChg chg="add mod">
          <ac:chgData name="Andreas Koksrud" userId="9d9beba6-c052-407a-8599-c781a677a996" providerId="ADAL" clId="{4C89AD2D-B60A-479F-9F95-9D423A06FAEA}" dt="2024-06-14T18:12:59.308" v="5968" actId="20577"/>
          <ac:spMkLst>
            <pc:docMk/>
            <pc:sldMk cId="2075912972" sldId="800"/>
            <ac:spMk id="6" creationId="{76CBA57A-5365-481F-765B-D59ED8E8E32B}"/>
          </ac:spMkLst>
        </pc:spChg>
        <pc:spChg chg="add del mod">
          <ac:chgData name="Andreas Koksrud" userId="9d9beba6-c052-407a-8599-c781a677a996" providerId="ADAL" clId="{4C89AD2D-B60A-479F-9F95-9D423A06FAEA}" dt="2024-07-15T14:43:53.700" v="21558" actId="1038"/>
          <ac:spMkLst>
            <pc:docMk/>
            <pc:sldMk cId="2075912972" sldId="800"/>
            <ac:spMk id="10" creationId="{6EB95855-BA56-A1F6-5B13-3868BD47F00C}"/>
          </ac:spMkLst>
        </pc:spChg>
        <pc:spChg chg="del mod">
          <ac:chgData name="Andreas Koksrud" userId="9d9beba6-c052-407a-8599-c781a677a996" providerId="ADAL" clId="{4C89AD2D-B60A-479F-9F95-9D423A06FAEA}" dt="2024-07-15T14:42:06" v="21497" actId="478"/>
          <ac:spMkLst>
            <pc:docMk/>
            <pc:sldMk cId="2075912972" sldId="800"/>
            <ac:spMk id="180" creationId="{00000000-0000-0000-0000-000000000000}"/>
          </ac:spMkLst>
        </pc:spChg>
        <pc:graphicFrameChg chg="del">
          <ac:chgData name="Andreas Koksrud" userId="9d9beba6-c052-407a-8599-c781a677a996" providerId="ADAL" clId="{4C89AD2D-B60A-479F-9F95-9D423A06FAEA}" dt="2024-06-09T15:49:17.961" v="199" actId="478"/>
          <ac:graphicFrameMkLst>
            <pc:docMk/>
            <pc:sldMk cId="2075912972" sldId="800"/>
            <ac:graphicFrameMk id="3" creationId="{9988BFF9-164F-39C7-5576-A1BE9BB1B8AA}"/>
          </ac:graphicFrameMkLst>
        </pc:graphicFrameChg>
        <pc:picChg chg="add del">
          <ac:chgData name="Andreas Koksrud" userId="9d9beba6-c052-407a-8599-c781a677a996" providerId="ADAL" clId="{4C89AD2D-B60A-479F-9F95-9D423A06FAEA}" dt="2024-07-15T14:37:44.324" v="21487" actId="478"/>
          <ac:picMkLst>
            <pc:docMk/>
            <pc:sldMk cId="2075912972" sldId="800"/>
            <ac:picMk id="8" creationId="{62167B15-F5E3-E583-EC16-9CAF70336E54}"/>
          </ac:picMkLst>
        </pc:picChg>
        <pc:picChg chg="add del mod">
          <ac:chgData name="Andreas Koksrud" userId="9d9beba6-c052-407a-8599-c781a677a996" providerId="ADAL" clId="{4C89AD2D-B60A-479F-9F95-9D423A06FAEA}" dt="2024-07-15T16:15:16.965" v="21559" actId="478"/>
          <ac:picMkLst>
            <pc:docMk/>
            <pc:sldMk cId="2075912972" sldId="800"/>
            <ac:picMk id="1025" creationId="{6FBDA781-1268-1576-E4ED-765D8F09E366}"/>
          </ac:picMkLst>
        </pc:picChg>
        <pc:picChg chg="add mod">
          <ac:chgData name="Andreas Koksrud" userId="9d9beba6-c052-407a-8599-c781a677a996" providerId="ADAL" clId="{4C89AD2D-B60A-479F-9F95-9D423A06FAEA}" dt="2024-07-19T20:03:31.327" v="25952" actId="167"/>
          <ac:picMkLst>
            <pc:docMk/>
            <pc:sldMk cId="2075912972" sldId="800"/>
            <ac:picMk id="1026" creationId="{04162DF8-DA6B-0C05-E682-1ACFDB6ABE61}"/>
          </ac:picMkLst>
        </pc:picChg>
      </pc:sldChg>
      <pc:sldChg chg="addSp modSp add">
        <pc:chgData name="Andreas Koksrud" userId="9d9beba6-c052-407a-8599-c781a677a996" providerId="ADAL" clId="{4C89AD2D-B60A-479F-9F95-9D423A06FAEA}" dt="2024-06-14T18:19:57.129" v="6485"/>
        <pc:sldMkLst>
          <pc:docMk/>
          <pc:sldMk cId="1498060418" sldId="802"/>
        </pc:sldMkLst>
        <pc:spChg chg="add mod">
          <ac:chgData name="Andreas Koksrud" userId="9d9beba6-c052-407a-8599-c781a677a996" providerId="ADAL" clId="{4C89AD2D-B60A-479F-9F95-9D423A06FAEA}" dt="2024-06-14T18:19:57.129" v="6485"/>
          <ac:spMkLst>
            <pc:docMk/>
            <pc:sldMk cId="1498060418" sldId="802"/>
            <ac:spMk id="2" creationId="{1506A2A6-01BE-3807-1B4A-B4198C00C4E9}"/>
          </ac:spMkLst>
        </pc:spChg>
        <pc:spChg chg="add mod">
          <ac:chgData name="Andreas Koksrud" userId="9d9beba6-c052-407a-8599-c781a677a996" providerId="ADAL" clId="{4C89AD2D-B60A-479F-9F95-9D423A06FAEA}" dt="2024-06-14T18:19:57.129" v="6485"/>
          <ac:spMkLst>
            <pc:docMk/>
            <pc:sldMk cId="1498060418" sldId="802"/>
            <ac:spMk id="4" creationId="{99B9AFAD-6D20-4299-CD50-D8A4B3C2D385}"/>
          </ac:spMkLst>
        </pc:spChg>
      </pc:sldChg>
      <pc:sldChg chg="addSp modSp add del">
        <pc:chgData name="Andreas Koksrud" userId="9d9beba6-c052-407a-8599-c781a677a996" providerId="ADAL" clId="{4C89AD2D-B60A-479F-9F95-9D423A06FAEA}" dt="2024-06-17T18:10:13.163" v="11224" actId="47"/>
        <pc:sldMkLst>
          <pc:docMk/>
          <pc:sldMk cId="2074140981" sldId="806"/>
        </pc:sldMkLst>
        <pc:spChg chg="add mod">
          <ac:chgData name="Andreas Koksrud" userId="9d9beba6-c052-407a-8599-c781a677a996" providerId="ADAL" clId="{4C89AD2D-B60A-479F-9F95-9D423A06FAEA}" dt="2024-06-14T18:13:57.536" v="6012"/>
          <ac:spMkLst>
            <pc:docMk/>
            <pc:sldMk cId="2074140981" sldId="806"/>
            <ac:spMk id="2" creationId="{A0A3E52D-E5C4-439F-2168-A42F84116653}"/>
          </ac:spMkLst>
        </pc:spChg>
        <pc:spChg chg="add mod">
          <ac:chgData name="Andreas Koksrud" userId="9d9beba6-c052-407a-8599-c781a677a996" providerId="ADAL" clId="{4C89AD2D-B60A-479F-9F95-9D423A06FAEA}" dt="2024-06-14T18:13:57.536" v="6012"/>
          <ac:spMkLst>
            <pc:docMk/>
            <pc:sldMk cId="2074140981" sldId="806"/>
            <ac:spMk id="5" creationId="{AF748C7A-0731-52F6-CE04-41EDF11833D2}"/>
          </ac:spMkLst>
        </pc:spChg>
      </pc:sldChg>
      <pc:sldChg chg="addSp delSp modSp add mod">
        <pc:chgData name="Andreas Koksrud" userId="9d9beba6-c052-407a-8599-c781a677a996" providerId="ADAL" clId="{4C89AD2D-B60A-479F-9F95-9D423A06FAEA}" dt="2024-08-03T09:37:53.405" v="35379" actId="20577"/>
        <pc:sldMkLst>
          <pc:docMk/>
          <pc:sldMk cId="3317680748" sldId="807"/>
        </pc:sldMkLst>
        <pc:spChg chg="add mod">
          <ac:chgData name="Andreas Koksrud" userId="9d9beba6-c052-407a-8599-c781a677a996" providerId="ADAL" clId="{4C89AD2D-B60A-479F-9F95-9D423A06FAEA}" dt="2024-08-03T09:37:53.405" v="35379" actId="20577"/>
          <ac:spMkLst>
            <pc:docMk/>
            <pc:sldMk cId="3317680748" sldId="807"/>
            <ac:spMk id="2" creationId="{E790474C-3E04-C03F-BF67-0BA659D86857}"/>
          </ac:spMkLst>
        </pc:spChg>
        <pc:spChg chg="add mod">
          <ac:chgData name="Andreas Koksrud" userId="9d9beba6-c052-407a-8599-c781a677a996" providerId="ADAL" clId="{4C89AD2D-B60A-479F-9F95-9D423A06FAEA}" dt="2024-06-17T18:12:10.157" v="11233" actId="11530"/>
          <ac:spMkLst>
            <pc:docMk/>
            <pc:sldMk cId="3317680748" sldId="807"/>
            <ac:spMk id="7" creationId="{C4CCF74F-5A2B-0D8E-CDA1-81EAB6E74DC1}"/>
          </ac:spMkLst>
        </pc:spChg>
        <pc:spChg chg="add mod">
          <ac:chgData name="Andreas Koksrud" userId="9d9beba6-c052-407a-8599-c781a677a996" providerId="ADAL" clId="{4C89AD2D-B60A-479F-9F95-9D423A06FAEA}" dt="2024-06-17T18:16:54.441" v="11272" actId="1036"/>
          <ac:spMkLst>
            <pc:docMk/>
            <pc:sldMk cId="3317680748" sldId="807"/>
            <ac:spMk id="10" creationId="{65387593-585B-34A1-F056-D012757079DC}"/>
          </ac:spMkLst>
        </pc:spChg>
        <pc:spChg chg="add mod">
          <ac:chgData name="Andreas Koksrud" userId="9d9beba6-c052-407a-8599-c781a677a996" providerId="ADAL" clId="{4C89AD2D-B60A-479F-9F95-9D423A06FAEA}" dt="2024-06-14T18:13:59.279" v="6013"/>
          <ac:spMkLst>
            <pc:docMk/>
            <pc:sldMk cId="3317680748" sldId="807"/>
            <ac:spMk id="11" creationId="{4F97F8D0-C9FD-DEEA-8FAF-2FA72AB0D3C6}"/>
          </ac:spMkLst>
        </pc:spChg>
        <pc:spChg chg="add mod">
          <ac:chgData name="Andreas Koksrud" userId="9d9beba6-c052-407a-8599-c781a677a996" providerId="ADAL" clId="{4C89AD2D-B60A-479F-9F95-9D423A06FAEA}" dt="2024-06-14T18:13:59.279" v="6013"/>
          <ac:spMkLst>
            <pc:docMk/>
            <pc:sldMk cId="3317680748" sldId="807"/>
            <ac:spMk id="12" creationId="{F1558967-4E8F-A5E3-17A5-DF5F57A5BB0E}"/>
          </ac:spMkLst>
        </pc:spChg>
        <pc:spChg chg="add mod">
          <ac:chgData name="Andreas Koksrud" userId="9d9beba6-c052-407a-8599-c781a677a996" providerId="ADAL" clId="{4C89AD2D-B60A-479F-9F95-9D423A06FAEA}" dt="2024-06-17T18:17:01.876" v="11275" actId="1036"/>
          <ac:spMkLst>
            <pc:docMk/>
            <pc:sldMk cId="3317680748" sldId="807"/>
            <ac:spMk id="13" creationId="{9A0364D7-2F9D-221D-179C-B5C437DDEDAE}"/>
          </ac:spMkLst>
        </pc:spChg>
        <pc:picChg chg="mod modCrop">
          <ac:chgData name="Andreas Koksrud" userId="9d9beba6-c052-407a-8599-c781a677a996" providerId="ADAL" clId="{4C89AD2D-B60A-479F-9F95-9D423A06FAEA}" dt="2024-06-17T18:15:56.168" v="11244" actId="732"/>
          <ac:picMkLst>
            <pc:docMk/>
            <pc:sldMk cId="3317680748" sldId="807"/>
            <ac:picMk id="3" creationId="{EEE812BB-94BC-E75C-8D73-F5325A8C9C2F}"/>
          </ac:picMkLst>
        </pc:picChg>
        <pc:picChg chg="mod">
          <ac:chgData name="Andreas Koksrud" userId="9d9beba6-c052-407a-8599-c781a677a996" providerId="ADAL" clId="{4C89AD2D-B60A-479F-9F95-9D423A06FAEA}" dt="2024-06-17T18:15:39.707" v="11240" actId="14100"/>
          <ac:picMkLst>
            <pc:docMk/>
            <pc:sldMk cId="3317680748" sldId="807"/>
            <ac:picMk id="4" creationId="{86EF8AC2-1FA4-0668-002B-4B6191EFAA6F}"/>
          </ac:picMkLst>
        </pc:picChg>
        <pc:picChg chg="del">
          <ac:chgData name="Andreas Koksrud" userId="9d9beba6-c052-407a-8599-c781a677a996" providerId="ADAL" clId="{4C89AD2D-B60A-479F-9F95-9D423A06FAEA}" dt="2024-06-17T18:15:25.651" v="11234" actId="478"/>
          <ac:picMkLst>
            <pc:docMk/>
            <pc:sldMk cId="3317680748" sldId="807"/>
            <ac:picMk id="5" creationId="{22851178-26BC-966B-A70F-54643C45EFE4}"/>
          </ac:picMkLst>
        </pc:picChg>
        <pc:picChg chg="add mod">
          <ac:chgData name="Andreas Koksrud" userId="9d9beba6-c052-407a-8599-c781a677a996" providerId="ADAL" clId="{4C89AD2D-B60A-479F-9F95-9D423A06FAEA}" dt="2024-07-31T19:35:30.676" v="31937" actId="1035"/>
          <ac:picMkLst>
            <pc:docMk/>
            <pc:sldMk cId="3317680748" sldId="807"/>
            <ac:picMk id="9" creationId="{3ECBF583-91C0-AB3A-CE19-5A3DEFBD8BFD}"/>
          </ac:picMkLst>
        </pc:picChg>
        <pc:cxnChg chg="add mod">
          <ac:chgData name="Andreas Koksrud" userId="9d9beba6-c052-407a-8599-c781a677a996" providerId="ADAL" clId="{4C89AD2D-B60A-479F-9F95-9D423A06FAEA}" dt="2024-06-14T14:56:19.291" v="5372" actId="14100"/>
          <ac:cxnSpMkLst>
            <pc:docMk/>
            <pc:sldMk cId="3317680748" sldId="807"/>
            <ac:cxnSpMk id="6" creationId="{BDFC12F6-9CA7-A05A-3CB7-614F06B779EE}"/>
          </ac:cxnSpMkLst>
        </pc:cxnChg>
      </pc:sldChg>
      <pc:sldChg chg="addSp delSp modSp add mod">
        <pc:chgData name="Andreas Koksrud" userId="9d9beba6-c052-407a-8599-c781a677a996" providerId="ADAL" clId="{4C89AD2D-B60A-479F-9F95-9D423A06FAEA}" dt="2024-06-17T18:36:44.785" v="11283" actId="478"/>
        <pc:sldMkLst>
          <pc:docMk/>
          <pc:sldMk cId="197388729" sldId="808"/>
        </pc:sldMkLst>
        <pc:spChg chg="add mod">
          <ac:chgData name="Andreas Koksrud" userId="9d9beba6-c052-407a-8599-c781a677a996" providerId="ADAL" clId="{4C89AD2D-B60A-479F-9F95-9D423A06FAEA}" dt="2024-06-14T18:14:00.897" v="6014"/>
          <ac:spMkLst>
            <pc:docMk/>
            <pc:sldMk cId="197388729" sldId="808"/>
            <ac:spMk id="4" creationId="{A58682F4-4B56-74F7-AAB1-BFAA25487457}"/>
          </ac:spMkLst>
        </pc:spChg>
        <pc:spChg chg="add mod">
          <ac:chgData name="Andreas Koksrud" userId="9d9beba6-c052-407a-8599-c781a677a996" providerId="ADAL" clId="{4C89AD2D-B60A-479F-9F95-9D423A06FAEA}" dt="2024-06-14T18:14:00.897" v="6014"/>
          <ac:spMkLst>
            <pc:docMk/>
            <pc:sldMk cId="197388729" sldId="808"/>
            <ac:spMk id="5" creationId="{4E339DD2-A12E-A0D1-41B4-089F9F222ED1}"/>
          </ac:spMkLst>
        </pc:spChg>
        <pc:spChg chg="del mod">
          <ac:chgData name="Andreas Koksrud" userId="9d9beba6-c052-407a-8599-c781a677a996" providerId="ADAL" clId="{4C89AD2D-B60A-479F-9F95-9D423A06FAEA}" dt="2024-06-17T18:36:44.785" v="11283" actId="478"/>
          <ac:spMkLst>
            <pc:docMk/>
            <pc:sldMk cId="197388729" sldId="808"/>
            <ac:spMk id="6" creationId="{368EF28D-23AD-D8A3-05B5-AAD612FE36D2}"/>
          </ac:spMkLst>
        </pc:spChg>
      </pc:sldChg>
      <pc:sldChg chg="addSp modSp add del">
        <pc:chgData name="Andreas Koksrud" userId="9d9beba6-c052-407a-8599-c781a677a996" providerId="ADAL" clId="{4C89AD2D-B60A-479F-9F95-9D423A06FAEA}" dt="2024-06-17T18:10:10.247" v="11223" actId="47"/>
        <pc:sldMkLst>
          <pc:docMk/>
          <pc:sldMk cId="1335476865" sldId="813"/>
        </pc:sldMkLst>
        <pc:spChg chg="add mod">
          <ac:chgData name="Andreas Koksrud" userId="9d9beba6-c052-407a-8599-c781a677a996" providerId="ADAL" clId="{4C89AD2D-B60A-479F-9F95-9D423A06FAEA}" dt="2024-06-14T18:13:56.306" v="6011"/>
          <ac:spMkLst>
            <pc:docMk/>
            <pc:sldMk cId="1335476865" sldId="813"/>
            <ac:spMk id="5" creationId="{E5FA0D71-A021-C3A2-17ED-CB5FA788F074}"/>
          </ac:spMkLst>
        </pc:spChg>
        <pc:spChg chg="add mod">
          <ac:chgData name="Andreas Koksrud" userId="9d9beba6-c052-407a-8599-c781a677a996" providerId="ADAL" clId="{4C89AD2D-B60A-479F-9F95-9D423A06FAEA}" dt="2024-06-14T18:13:56.306" v="6011"/>
          <ac:spMkLst>
            <pc:docMk/>
            <pc:sldMk cId="1335476865" sldId="813"/>
            <ac:spMk id="6" creationId="{116329B5-A283-2AFA-F431-7D8812DA7345}"/>
          </ac:spMkLst>
        </pc:spChg>
      </pc:sldChg>
      <pc:sldChg chg="addSp modSp add mod">
        <pc:chgData name="Andreas Koksrud" userId="9d9beba6-c052-407a-8599-c781a677a996" providerId="ADAL" clId="{4C89AD2D-B60A-479F-9F95-9D423A06FAEA}" dt="2024-08-04T16:07:44.965" v="36508" actId="20577"/>
        <pc:sldMkLst>
          <pc:docMk/>
          <pc:sldMk cId="248187023" sldId="814"/>
        </pc:sldMkLst>
        <pc:spChg chg="add mod">
          <ac:chgData name="Andreas Koksrud" userId="9d9beba6-c052-407a-8599-c781a677a996" providerId="ADAL" clId="{4C89AD2D-B60A-479F-9F95-9D423A06FAEA}" dt="2024-06-14T18:18:10.943" v="6344"/>
          <ac:spMkLst>
            <pc:docMk/>
            <pc:sldMk cId="248187023" sldId="814"/>
            <ac:spMk id="4" creationId="{982AC858-077B-83FC-1056-2C3D9285BC8E}"/>
          </ac:spMkLst>
        </pc:spChg>
        <pc:spChg chg="add mod">
          <ac:chgData name="Andreas Koksrud" userId="9d9beba6-c052-407a-8599-c781a677a996" providerId="ADAL" clId="{4C89AD2D-B60A-479F-9F95-9D423A06FAEA}" dt="2024-06-14T18:18:10.943" v="6344"/>
          <ac:spMkLst>
            <pc:docMk/>
            <pc:sldMk cId="248187023" sldId="814"/>
            <ac:spMk id="5" creationId="{9D69FA28-12F4-38E1-C193-CC0429BD3868}"/>
          </ac:spMkLst>
        </pc:spChg>
        <pc:spChg chg="add mod">
          <ac:chgData name="Andreas Koksrud" userId="9d9beba6-c052-407a-8599-c781a677a996" providerId="ADAL" clId="{4C89AD2D-B60A-479F-9F95-9D423A06FAEA}" dt="2024-07-16T13:30:47.733" v="24069" actId="1035"/>
          <ac:spMkLst>
            <pc:docMk/>
            <pc:sldMk cId="248187023" sldId="814"/>
            <ac:spMk id="6" creationId="{DFB21DF8-CA64-640D-BF47-5EE194339520}"/>
          </ac:spMkLst>
        </pc:spChg>
        <pc:spChg chg="add mod">
          <ac:chgData name="Andreas Koksrud" userId="9d9beba6-c052-407a-8599-c781a677a996" providerId="ADAL" clId="{4C89AD2D-B60A-479F-9F95-9D423A06FAEA}" dt="2024-07-16T13:31:28.367" v="24093" actId="14100"/>
          <ac:spMkLst>
            <pc:docMk/>
            <pc:sldMk cId="248187023" sldId="814"/>
            <ac:spMk id="7" creationId="{6F25A99D-8ED4-7119-D181-E4DE2A17A1BE}"/>
          </ac:spMkLst>
        </pc:spChg>
        <pc:spChg chg="mod">
          <ac:chgData name="Andreas Koksrud" userId="9d9beba6-c052-407a-8599-c781a677a996" providerId="ADAL" clId="{4C89AD2D-B60A-479F-9F95-9D423A06FAEA}" dt="2024-08-04T16:07:44.965" v="36508" actId="20577"/>
          <ac:spMkLst>
            <pc:docMk/>
            <pc:sldMk cId="248187023" sldId="814"/>
            <ac:spMk id="180" creationId="{00000000-0000-0000-0000-000000000000}"/>
          </ac:spMkLst>
        </pc:spChg>
      </pc:sldChg>
      <pc:sldChg chg="addSp modSp add mod">
        <pc:chgData name="Andreas Koksrud" userId="9d9beba6-c052-407a-8599-c781a677a996" providerId="ADAL" clId="{4C89AD2D-B60A-479F-9F95-9D423A06FAEA}" dt="2024-08-04T16:07:33.827" v="36485" actId="20577"/>
        <pc:sldMkLst>
          <pc:docMk/>
          <pc:sldMk cId="2920848915" sldId="815"/>
        </pc:sldMkLst>
        <pc:spChg chg="add mod">
          <ac:chgData name="Andreas Koksrud" userId="9d9beba6-c052-407a-8599-c781a677a996" providerId="ADAL" clId="{4C89AD2D-B60A-479F-9F95-9D423A06FAEA}" dt="2024-06-14T18:18:12.240" v="6345"/>
          <ac:spMkLst>
            <pc:docMk/>
            <pc:sldMk cId="2920848915" sldId="815"/>
            <ac:spMk id="3" creationId="{135AE391-0AC2-8879-72DE-D0FE148306CD}"/>
          </ac:spMkLst>
        </pc:spChg>
        <pc:spChg chg="add mod">
          <ac:chgData name="Andreas Koksrud" userId="9d9beba6-c052-407a-8599-c781a677a996" providerId="ADAL" clId="{4C89AD2D-B60A-479F-9F95-9D423A06FAEA}" dt="2024-06-14T18:18:12.240" v="6345"/>
          <ac:spMkLst>
            <pc:docMk/>
            <pc:sldMk cId="2920848915" sldId="815"/>
            <ac:spMk id="4" creationId="{F58B80D0-A570-42EB-0004-4602DD0F1A72}"/>
          </ac:spMkLst>
        </pc:spChg>
        <pc:spChg chg="add mod">
          <ac:chgData name="Andreas Koksrud" userId="9d9beba6-c052-407a-8599-c781a677a996" providerId="ADAL" clId="{4C89AD2D-B60A-479F-9F95-9D423A06FAEA}" dt="2024-07-16T13:29:10.662" v="24035" actId="208"/>
          <ac:spMkLst>
            <pc:docMk/>
            <pc:sldMk cId="2920848915" sldId="815"/>
            <ac:spMk id="5" creationId="{AA9519E6-5413-DC1F-D112-E1E955109FC5}"/>
          </ac:spMkLst>
        </pc:spChg>
        <pc:spChg chg="add mod">
          <ac:chgData name="Andreas Koksrud" userId="9d9beba6-c052-407a-8599-c781a677a996" providerId="ADAL" clId="{4C89AD2D-B60A-479F-9F95-9D423A06FAEA}" dt="2024-07-16T13:33:45.409" v="24161" actId="14100"/>
          <ac:spMkLst>
            <pc:docMk/>
            <pc:sldMk cId="2920848915" sldId="815"/>
            <ac:spMk id="6" creationId="{EA7435AB-135C-8823-3B7C-480E86BC08A5}"/>
          </ac:spMkLst>
        </pc:spChg>
        <pc:spChg chg="mod">
          <ac:chgData name="Andreas Koksrud" userId="9d9beba6-c052-407a-8599-c781a677a996" providerId="ADAL" clId="{4C89AD2D-B60A-479F-9F95-9D423A06FAEA}" dt="2024-08-04T16:07:33.827" v="36485" actId="20577"/>
          <ac:spMkLst>
            <pc:docMk/>
            <pc:sldMk cId="2920848915" sldId="815"/>
            <ac:spMk id="180" creationId="{00000000-0000-0000-0000-000000000000}"/>
          </ac:spMkLst>
        </pc:spChg>
      </pc:sldChg>
      <pc:sldChg chg="addSp delSp modSp add mod">
        <pc:chgData name="Andreas Koksrud" userId="9d9beba6-c052-407a-8599-c781a677a996" providerId="ADAL" clId="{4C89AD2D-B60A-479F-9F95-9D423A06FAEA}" dt="2024-08-04T16:07:28.213" v="36468" actId="20577"/>
        <pc:sldMkLst>
          <pc:docMk/>
          <pc:sldMk cId="2825686732" sldId="816"/>
        </pc:sldMkLst>
        <pc:spChg chg="add mod">
          <ac:chgData name="Andreas Koksrud" userId="9d9beba6-c052-407a-8599-c781a677a996" providerId="ADAL" clId="{4C89AD2D-B60A-479F-9F95-9D423A06FAEA}" dt="2024-06-14T18:18:13.939" v="6346"/>
          <ac:spMkLst>
            <pc:docMk/>
            <pc:sldMk cId="2825686732" sldId="816"/>
            <ac:spMk id="2" creationId="{AE75409C-3DD4-ADA2-A349-837645746B45}"/>
          </ac:spMkLst>
        </pc:spChg>
        <pc:spChg chg="add mod">
          <ac:chgData name="Andreas Koksrud" userId="9d9beba6-c052-407a-8599-c781a677a996" providerId="ADAL" clId="{4C89AD2D-B60A-479F-9F95-9D423A06FAEA}" dt="2024-06-14T18:18:13.939" v="6346"/>
          <ac:spMkLst>
            <pc:docMk/>
            <pc:sldMk cId="2825686732" sldId="816"/>
            <ac:spMk id="5" creationId="{FC6163A4-D287-BE29-35BF-ECAFB86F98FC}"/>
          </ac:spMkLst>
        </pc:spChg>
        <pc:spChg chg="mod">
          <ac:chgData name="Andreas Koksrud" userId="9d9beba6-c052-407a-8599-c781a677a996" providerId="ADAL" clId="{4C89AD2D-B60A-479F-9F95-9D423A06FAEA}" dt="2024-08-04T16:07:28.213" v="36468" actId="20577"/>
          <ac:spMkLst>
            <pc:docMk/>
            <pc:sldMk cId="2825686732" sldId="816"/>
            <ac:spMk id="180" creationId="{00000000-0000-0000-0000-000000000000}"/>
          </ac:spMkLst>
        </pc:spChg>
        <pc:picChg chg="del mod modCrop">
          <ac:chgData name="Andreas Koksrud" userId="9d9beba6-c052-407a-8599-c781a677a996" providerId="ADAL" clId="{4C89AD2D-B60A-479F-9F95-9D423A06FAEA}" dt="2024-07-16T14:14:37.817" v="25392" actId="478"/>
          <ac:picMkLst>
            <pc:docMk/>
            <pc:sldMk cId="2825686732" sldId="816"/>
            <ac:picMk id="7" creationId="{051CF5BC-80FB-B094-F159-E8B283C64781}"/>
          </ac:picMkLst>
        </pc:picChg>
        <pc:picChg chg="add mod">
          <ac:chgData name="Andreas Koksrud" userId="9d9beba6-c052-407a-8599-c781a677a996" providerId="ADAL" clId="{4C89AD2D-B60A-479F-9F95-9D423A06FAEA}" dt="2024-07-16T14:13:56.726" v="25361" actId="14100"/>
          <ac:picMkLst>
            <pc:docMk/>
            <pc:sldMk cId="2825686732" sldId="816"/>
            <ac:picMk id="8" creationId="{439A1436-276C-00CE-D626-B41FB74BE9FB}"/>
          </ac:picMkLst>
        </pc:picChg>
        <pc:picChg chg="add mod">
          <ac:chgData name="Andreas Koksrud" userId="9d9beba6-c052-407a-8599-c781a677a996" providerId="ADAL" clId="{4C89AD2D-B60A-479F-9F95-9D423A06FAEA}" dt="2024-07-16T14:15:07.540" v="25397" actId="1076"/>
          <ac:picMkLst>
            <pc:docMk/>
            <pc:sldMk cId="2825686732" sldId="816"/>
            <ac:picMk id="10" creationId="{BD160440-249F-7C67-C979-F9A5BA242F98}"/>
          </ac:picMkLst>
        </pc:picChg>
      </pc:sldChg>
      <pc:sldChg chg="addSp modSp add mod">
        <pc:chgData name="Andreas Koksrud" userId="9d9beba6-c052-407a-8599-c781a677a996" providerId="ADAL" clId="{4C89AD2D-B60A-479F-9F95-9D423A06FAEA}" dt="2024-08-04T16:07:14.857" v="36422" actId="20577"/>
        <pc:sldMkLst>
          <pc:docMk/>
          <pc:sldMk cId="3012956304" sldId="817"/>
        </pc:sldMkLst>
        <pc:spChg chg="add mod">
          <ac:chgData name="Andreas Koksrud" userId="9d9beba6-c052-407a-8599-c781a677a996" providerId="ADAL" clId="{4C89AD2D-B60A-479F-9F95-9D423A06FAEA}" dt="2024-06-14T18:18:16.014" v="6347"/>
          <ac:spMkLst>
            <pc:docMk/>
            <pc:sldMk cId="3012956304" sldId="817"/>
            <ac:spMk id="3" creationId="{D30D5FEC-AFFE-2542-B83F-F3783C0A52A8}"/>
          </ac:spMkLst>
        </pc:spChg>
        <pc:spChg chg="add mod">
          <ac:chgData name="Andreas Koksrud" userId="9d9beba6-c052-407a-8599-c781a677a996" providerId="ADAL" clId="{4C89AD2D-B60A-479F-9F95-9D423A06FAEA}" dt="2024-06-14T18:18:16.014" v="6347"/>
          <ac:spMkLst>
            <pc:docMk/>
            <pc:sldMk cId="3012956304" sldId="817"/>
            <ac:spMk id="4" creationId="{782EE758-968B-A34F-9A95-9495D1837EC8}"/>
          </ac:spMkLst>
        </pc:spChg>
        <pc:spChg chg="add mod">
          <ac:chgData name="Andreas Koksrud" userId="9d9beba6-c052-407a-8599-c781a677a996" providerId="ADAL" clId="{4C89AD2D-B60A-479F-9F95-9D423A06FAEA}" dt="2024-07-16T14:23:11.805" v="25412" actId="1038"/>
          <ac:spMkLst>
            <pc:docMk/>
            <pc:sldMk cId="3012956304" sldId="817"/>
            <ac:spMk id="5" creationId="{D3387783-D64E-1205-7EB0-0EEC7313F540}"/>
          </ac:spMkLst>
        </pc:spChg>
        <pc:spChg chg="mod">
          <ac:chgData name="Andreas Koksrud" userId="9d9beba6-c052-407a-8599-c781a677a996" providerId="ADAL" clId="{4C89AD2D-B60A-479F-9F95-9D423A06FAEA}" dt="2024-08-04T16:07:14.857" v="36422" actId="20577"/>
          <ac:spMkLst>
            <pc:docMk/>
            <pc:sldMk cId="3012956304" sldId="817"/>
            <ac:spMk id="180" creationId="{00000000-0000-0000-0000-000000000000}"/>
          </ac:spMkLst>
        </pc:spChg>
        <pc:spChg chg="mod">
          <ac:chgData name="Andreas Koksrud" userId="9d9beba6-c052-407a-8599-c781a677a996" providerId="ADAL" clId="{4C89AD2D-B60A-479F-9F95-9D423A06FAEA}" dt="2024-07-05T19:30:37.591" v="20671" actId="6549"/>
          <ac:spMkLst>
            <pc:docMk/>
            <pc:sldMk cId="3012956304" sldId="817"/>
            <ac:spMk id="181" creationId="{00000000-0000-0000-0000-000000000000}"/>
          </ac:spMkLst>
        </pc:spChg>
      </pc:sldChg>
      <pc:sldChg chg="addSp modSp add mod">
        <pc:chgData name="Andreas Koksrud" userId="9d9beba6-c052-407a-8599-c781a677a996" providerId="ADAL" clId="{4C89AD2D-B60A-479F-9F95-9D423A06FAEA}" dt="2024-08-04T16:07:21.167" v="36445" actId="20577"/>
        <pc:sldMkLst>
          <pc:docMk/>
          <pc:sldMk cId="958133851" sldId="818"/>
        </pc:sldMkLst>
        <pc:spChg chg="add mod">
          <ac:chgData name="Andreas Koksrud" userId="9d9beba6-c052-407a-8599-c781a677a996" providerId="ADAL" clId="{4C89AD2D-B60A-479F-9F95-9D423A06FAEA}" dt="2024-06-14T18:18:17.044" v="6348"/>
          <ac:spMkLst>
            <pc:docMk/>
            <pc:sldMk cId="958133851" sldId="818"/>
            <ac:spMk id="2" creationId="{817F8C65-9EDB-6E79-B7B3-D68730854EA7}"/>
          </ac:spMkLst>
        </pc:spChg>
        <pc:spChg chg="mod">
          <ac:chgData name="Andreas Koksrud" userId="9d9beba6-c052-407a-8599-c781a677a996" providerId="ADAL" clId="{4C89AD2D-B60A-479F-9F95-9D423A06FAEA}" dt="2024-07-05T19:31:05.544" v="20714" actId="20577"/>
          <ac:spMkLst>
            <pc:docMk/>
            <pc:sldMk cId="958133851" sldId="818"/>
            <ac:spMk id="4" creationId="{37EF3563-5B7A-5CA5-59AD-483E13C51ACD}"/>
          </ac:spMkLst>
        </pc:spChg>
        <pc:spChg chg="add mod">
          <ac:chgData name="Andreas Koksrud" userId="9d9beba6-c052-407a-8599-c781a677a996" providerId="ADAL" clId="{4C89AD2D-B60A-479F-9F95-9D423A06FAEA}" dt="2024-06-14T18:18:17.044" v="6348"/>
          <ac:spMkLst>
            <pc:docMk/>
            <pc:sldMk cId="958133851" sldId="818"/>
            <ac:spMk id="5" creationId="{C751BA6C-2C9E-F12C-680F-73722C63B520}"/>
          </ac:spMkLst>
        </pc:spChg>
        <pc:spChg chg="mod">
          <ac:chgData name="Andreas Koksrud" userId="9d9beba6-c052-407a-8599-c781a677a996" providerId="ADAL" clId="{4C89AD2D-B60A-479F-9F95-9D423A06FAEA}" dt="2024-08-04T16:07:21.167" v="36445" actId="20577"/>
          <ac:spMkLst>
            <pc:docMk/>
            <pc:sldMk cId="958133851" sldId="818"/>
            <ac:spMk id="180" creationId="{00000000-0000-0000-0000-000000000000}"/>
          </ac:spMkLst>
        </pc:spChg>
      </pc:sldChg>
      <pc:sldChg chg="addSp modSp add mod">
        <pc:chgData name="Andreas Koksrud" userId="9d9beba6-c052-407a-8599-c781a677a996" providerId="ADAL" clId="{4C89AD2D-B60A-479F-9F95-9D423A06FAEA}" dt="2024-08-04T16:16:32.358" v="36547" actId="20577"/>
        <pc:sldMkLst>
          <pc:docMk/>
          <pc:sldMk cId="3123567294" sldId="819"/>
        </pc:sldMkLst>
        <pc:spChg chg="add mod">
          <ac:chgData name="Andreas Koksrud" userId="9d9beba6-c052-407a-8599-c781a677a996" providerId="ADAL" clId="{4C89AD2D-B60A-479F-9F95-9D423A06FAEA}" dt="2024-06-14T18:18:18.830" v="6349"/>
          <ac:spMkLst>
            <pc:docMk/>
            <pc:sldMk cId="3123567294" sldId="819"/>
            <ac:spMk id="2" creationId="{ADA53732-5FDD-BE78-A650-670F214539DF}"/>
          </ac:spMkLst>
        </pc:spChg>
        <pc:spChg chg="add mod">
          <ac:chgData name="Andreas Koksrud" userId="9d9beba6-c052-407a-8599-c781a677a996" providerId="ADAL" clId="{4C89AD2D-B60A-479F-9F95-9D423A06FAEA}" dt="2024-06-14T18:18:18.830" v="6349"/>
          <ac:spMkLst>
            <pc:docMk/>
            <pc:sldMk cId="3123567294" sldId="819"/>
            <ac:spMk id="3" creationId="{41465CF4-20DA-163A-99C6-1D2297ACF95C}"/>
          </ac:spMkLst>
        </pc:spChg>
        <pc:spChg chg="mod">
          <ac:chgData name="Andreas Koksrud" userId="9d9beba6-c052-407a-8599-c781a677a996" providerId="ADAL" clId="{4C89AD2D-B60A-479F-9F95-9D423A06FAEA}" dt="2024-08-04T16:16:32.358" v="36547" actId="20577"/>
          <ac:spMkLst>
            <pc:docMk/>
            <pc:sldMk cId="3123567294" sldId="819"/>
            <ac:spMk id="180" creationId="{00000000-0000-0000-0000-000000000000}"/>
          </ac:spMkLst>
        </pc:spChg>
      </pc:sldChg>
      <pc:sldChg chg="addSp delSp modSp add mod">
        <pc:chgData name="Andreas Koksrud" userId="9d9beba6-c052-407a-8599-c781a677a996" providerId="ADAL" clId="{4C89AD2D-B60A-479F-9F95-9D423A06FAEA}" dt="2024-08-06T13:18:56.286" v="38929" actId="20577"/>
        <pc:sldMkLst>
          <pc:docMk/>
          <pc:sldMk cId="2810975730" sldId="820"/>
        </pc:sldMkLst>
        <pc:spChg chg="del">
          <ac:chgData name="Andreas Koksrud" userId="9d9beba6-c052-407a-8599-c781a677a996" providerId="ADAL" clId="{4C89AD2D-B60A-479F-9F95-9D423A06FAEA}" dt="2024-08-06T13:18:47.882" v="38918" actId="478"/>
          <ac:spMkLst>
            <pc:docMk/>
            <pc:sldMk cId="2810975730" sldId="820"/>
            <ac:spMk id="2" creationId="{EFA6CF54-66C6-606A-C83D-78C65C5627AA}"/>
          </ac:spMkLst>
        </pc:spChg>
        <pc:spChg chg="mod">
          <ac:chgData name="Andreas Koksrud" userId="9d9beba6-c052-407a-8599-c781a677a996" providerId="ADAL" clId="{4C89AD2D-B60A-479F-9F95-9D423A06FAEA}" dt="2024-08-06T13:18:56.286" v="38929" actId="20577"/>
          <ac:spMkLst>
            <pc:docMk/>
            <pc:sldMk cId="2810975730" sldId="820"/>
            <ac:spMk id="4" creationId="{7B2B45CA-95BD-2704-AA56-E8D306F64CB7}"/>
          </ac:spMkLst>
        </pc:spChg>
        <pc:spChg chg="add mod">
          <ac:chgData name="Andreas Koksrud" userId="9d9beba6-c052-407a-8599-c781a677a996" providerId="ADAL" clId="{4C89AD2D-B60A-479F-9F95-9D423A06FAEA}" dt="2024-06-14T18:19:17.173" v="6420"/>
          <ac:spMkLst>
            <pc:docMk/>
            <pc:sldMk cId="2810975730" sldId="820"/>
            <ac:spMk id="6" creationId="{E608A65F-B9C5-1984-F17F-8C6358DBAB39}"/>
          </ac:spMkLst>
        </pc:spChg>
        <pc:spChg chg="add mod">
          <ac:chgData name="Andreas Koksrud" userId="9d9beba6-c052-407a-8599-c781a677a996" providerId="ADAL" clId="{4C89AD2D-B60A-479F-9F95-9D423A06FAEA}" dt="2024-06-14T18:19:17.173" v="6420"/>
          <ac:spMkLst>
            <pc:docMk/>
            <pc:sldMk cId="2810975730" sldId="820"/>
            <ac:spMk id="7" creationId="{4BBD0E0B-CE5A-A623-9813-5C4BAB3A6CC3}"/>
          </ac:spMkLst>
        </pc:spChg>
        <pc:spChg chg="mod">
          <ac:chgData name="Andreas Koksrud" userId="9d9beba6-c052-407a-8599-c781a677a996" providerId="ADAL" clId="{4C89AD2D-B60A-479F-9F95-9D423A06FAEA}" dt="2024-08-06T13:18:27.348" v="38917" actId="20577"/>
          <ac:spMkLst>
            <pc:docMk/>
            <pc:sldMk cId="2810975730" sldId="820"/>
            <ac:spMk id="181" creationId="{00000000-0000-0000-0000-000000000000}"/>
          </ac:spMkLst>
        </pc:spChg>
        <pc:cxnChg chg="del">
          <ac:chgData name="Andreas Koksrud" userId="9d9beba6-c052-407a-8599-c781a677a996" providerId="ADAL" clId="{4C89AD2D-B60A-479F-9F95-9D423A06FAEA}" dt="2024-08-06T13:18:49.476" v="38919" actId="478"/>
          <ac:cxnSpMkLst>
            <pc:docMk/>
            <pc:sldMk cId="2810975730" sldId="820"/>
            <ac:cxnSpMk id="5" creationId="{D14ABB27-D6A3-B3EE-DE7E-05B9153761CD}"/>
          </ac:cxnSpMkLst>
        </pc:cxnChg>
      </pc:sldChg>
      <pc:sldChg chg="addSp modSp add mod">
        <pc:chgData name="Andreas Koksrud" userId="9d9beba6-c052-407a-8599-c781a677a996" providerId="ADAL" clId="{4C89AD2D-B60A-479F-9F95-9D423A06FAEA}" dt="2024-08-06T13:20:32.911" v="39020" actId="6549"/>
        <pc:sldMkLst>
          <pc:docMk/>
          <pc:sldMk cId="484354108" sldId="821"/>
        </pc:sldMkLst>
        <pc:spChg chg="add mod">
          <ac:chgData name="Andreas Koksrud" userId="9d9beba6-c052-407a-8599-c781a677a996" providerId="ADAL" clId="{4C89AD2D-B60A-479F-9F95-9D423A06FAEA}" dt="2024-06-14T18:19:18.369" v="6421"/>
          <ac:spMkLst>
            <pc:docMk/>
            <pc:sldMk cId="484354108" sldId="821"/>
            <ac:spMk id="2" creationId="{46DF7738-42A1-8C66-D062-519011131894}"/>
          </ac:spMkLst>
        </pc:spChg>
        <pc:spChg chg="mod">
          <ac:chgData name="Andreas Koksrud" userId="9d9beba6-c052-407a-8599-c781a677a996" providerId="ADAL" clId="{4C89AD2D-B60A-479F-9F95-9D423A06FAEA}" dt="2024-08-06T13:20:32.911" v="39020" actId="6549"/>
          <ac:spMkLst>
            <pc:docMk/>
            <pc:sldMk cId="484354108" sldId="821"/>
            <ac:spMk id="5" creationId="{2B5F87C7-1A75-AE43-144E-BC06017C5C2F}"/>
          </ac:spMkLst>
        </pc:spChg>
        <pc:spChg chg="add mod">
          <ac:chgData name="Andreas Koksrud" userId="9d9beba6-c052-407a-8599-c781a677a996" providerId="ADAL" clId="{4C89AD2D-B60A-479F-9F95-9D423A06FAEA}" dt="2024-06-14T18:19:18.369" v="6421"/>
          <ac:spMkLst>
            <pc:docMk/>
            <pc:sldMk cId="484354108" sldId="821"/>
            <ac:spMk id="8" creationId="{8C1DF1F2-C95B-AB58-1B3A-7CE8CFCA2838}"/>
          </ac:spMkLst>
        </pc:spChg>
        <pc:spChg chg="mod">
          <ac:chgData name="Andreas Koksrud" userId="9d9beba6-c052-407a-8599-c781a677a996" providerId="ADAL" clId="{4C89AD2D-B60A-479F-9F95-9D423A06FAEA}" dt="2024-08-06T13:20:17.673" v="38988" actId="20577"/>
          <ac:spMkLst>
            <pc:docMk/>
            <pc:sldMk cId="484354108" sldId="821"/>
            <ac:spMk id="181" creationId="{00000000-0000-0000-0000-000000000000}"/>
          </ac:spMkLst>
        </pc:spChg>
      </pc:sldChg>
      <pc:sldChg chg="addSp modSp add mod">
        <pc:chgData name="Andreas Koksrud" userId="9d9beba6-c052-407a-8599-c781a677a996" providerId="ADAL" clId="{4C89AD2D-B60A-479F-9F95-9D423A06FAEA}" dt="2024-08-06T13:21:05.594" v="39028" actId="20577"/>
        <pc:sldMkLst>
          <pc:docMk/>
          <pc:sldMk cId="1297674930" sldId="822"/>
        </pc:sldMkLst>
        <pc:spChg chg="mod">
          <ac:chgData name="Andreas Koksrud" userId="9d9beba6-c052-407a-8599-c781a677a996" providerId="ADAL" clId="{4C89AD2D-B60A-479F-9F95-9D423A06FAEA}" dt="2024-08-06T13:21:05.594" v="39028" actId="20577"/>
          <ac:spMkLst>
            <pc:docMk/>
            <pc:sldMk cId="1297674930" sldId="822"/>
            <ac:spMk id="2" creationId="{021CA0C3-964C-194D-8088-55B4655C41AF}"/>
          </ac:spMkLst>
        </pc:spChg>
        <pc:spChg chg="add mod">
          <ac:chgData name="Andreas Koksrud" userId="9d9beba6-c052-407a-8599-c781a677a996" providerId="ADAL" clId="{4C89AD2D-B60A-479F-9F95-9D423A06FAEA}" dt="2024-06-14T18:19:19.348" v="6422"/>
          <ac:spMkLst>
            <pc:docMk/>
            <pc:sldMk cId="1297674930" sldId="822"/>
            <ac:spMk id="3" creationId="{FEECFD47-0A5B-3A2D-A459-D0216B72B1CD}"/>
          </ac:spMkLst>
        </pc:spChg>
        <pc:spChg chg="add mod">
          <ac:chgData name="Andreas Koksrud" userId="9d9beba6-c052-407a-8599-c781a677a996" providerId="ADAL" clId="{4C89AD2D-B60A-479F-9F95-9D423A06FAEA}" dt="2024-06-14T18:19:19.348" v="6422"/>
          <ac:spMkLst>
            <pc:docMk/>
            <pc:sldMk cId="1297674930" sldId="822"/>
            <ac:spMk id="5" creationId="{E23FCB6F-1649-E103-C32E-F510389E48C1}"/>
          </ac:spMkLst>
        </pc:spChg>
      </pc:sldChg>
      <pc:sldChg chg="addSp modSp add mod">
        <pc:chgData name="Andreas Koksrud" userId="9d9beba6-c052-407a-8599-c781a677a996" providerId="ADAL" clId="{4C89AD2D-B60A-479F-9F95-9D423A06FAEA}" dt="2024-08-06T13:24:46.495" v="39122" actId="1076"/>
        <pc:sldMkLst>
          <pc:docMk/>
          <pc:sldMk cId="3521479601" sldId="823"/>
        </pc:sldMkLst>
        <pc:spChg chg="add mod">
          <ac:chgData name="Andreas Koksrud" userId="9d9beba6-c052-407a-8599-c781a677a996" providerId="ADAL" clId="{4C89AD2D-B60A-479F-9F95-9D423A06FAEA}" dt="2024-06-14T18:19:22.126" v="6424"/>
          <ac:spMkLst>
            <pc:docMk/>
            <pc:sldMk cId="3521479601" sldId="823"/>
            <ac:spMk id="2" creationId="{0F6178F5-1298-A98B-1AF5-01C018926D40}"/>
          </ac:spMkLst>
        </pc:spChg>
        <pc:spChg chg="mod">
          <ac:chgData name="Andreas Koksrud" userId="9d9beba6-c052-407a-8599-c781a677a996" providerId="ADAL" clId="{4C89AD2D-B60A-479F-9F95-9D423A06FAEA}" dt="2024-08-06T13:21:48.390" v="39102" actId="1035"/>
          <ac:spMkLst>
            <pc:docMk/>
            <pc:sldMk cId="3521479601" sldId="823"/>
            <ac:spMk id="3" creationId="{5B84D8CD-3699-082C-152E-28FEBE383D06}"/>
          </ac:spMkLst>
        </pc:spChg>
        <pc:spChg chg="mod">
          <ac:chgData name="Andreas Koksrud" userId="9d9beba6-c052-407a-8599-c781a677a996" providerId="ADAL" clId="{4C89AD2D-B60A-479F-9F95-9D423A06FAEA}" dt="2024-08-06T13:24:28.674" v="39118" actId="6549"/>
          <ac:spMkLst>
            <pc:docMk/>
            <pc:sldMk cId="3521479601" sldId="823"/>
            <ac:spMk id="6" creationId="{5485B025-69EF-89C1-6489-284E2DAA1110}"/>
          </ac:spMkLst>
        </pc:spChg>
        <pc:spChg chg="add mod">
          <ac:chgData name="Andreas Koksrud" userId="9d9beba6-c052-407a-8599-c781a677a996" providerId="ADAL" clId="{4C89AD2D-B60A-479F-9F95-9D423A06FAEA}" dt="2024-06-14T18:19:22.126" v="6424"/>
          <ac:spMkLst>
            <pc:docMk/>
            <pc:sldMk cId="3521479601" sldId="823"/>
            <ac:spMk id="7" creationId="{5AC3D159-A1AF-77AF-BA96-70EF6E15A645}"/>
          </ac:spMkLst>
        </pc:spChg>
        <pc:spChg chg="add mod">
          <ac:chgData name="Andreas Koksrud" userId="9d9beba6-c052-407a-8599-c781a677a996" providerId="ADAL" clId="{4C89AD2D-B60A-479F-9F95-9D423A06FAEA}" dt="2024-08-06T13:24:46.495" v="39122" actId="1076"/>
          <ac:spMkLst>
            <pc:docMk/>
            <pc:sldMk cId="3521479601" sldId="823"/>
            <ac:spMk id="8" creationId="{AF125154-FF28-E889-26A8-37F002C05585}"/>
          </ac:spMkLst>
        </pc:spChg>
        <pc:spChg chg="mod">
          <ac:chgData name="Andreas Koksrud" userId="9d9beba6-c052-407a-8599-c781a677a996" providerId="ADAL" clId="{4C89AD2D-B60A-479F-9F95-9D423A06FAEA}" dt="2024-08-06T13:21:48.390" v="39102" actId="1035"/>
          <ac:spMkLst>
            <pc:docMk/>
            <pc:sldMk cId="3521479601" sldId="823"/>
            <ac:spMk id="13" creationId="{6D90923C-5B02-5202-B617-D637F611C890}"/>
          </ac:spMkLst>
        </pc:spChg>
        <pc:spChg chg="mod">
          <ac:chgData name="Andreas Koksrud" userId="9d9beba6-c052-407a-8599-c781a677a996" providerId="ADAL" clId="{4C89AD2D-B60A-479F-9F95-9D423A06FAEA}" dt="2024-08-06T13:21:48.390" v="39102" actId="1035"/>
          <ac:spMkLst>
            <pc:docMk/>
            <pc:sldMk cId="3521479601" sldId="823"/>
            <ac:spMk id="14" creationId="{56541B24-C848-8F6F-6A81-0F1D7B266046}"/>
          </ac:spMkLst>
        </pc:spChg>
        <pc:spChg chg="mod">
          <ac:chgData name="Andreas Koksrud" userId="9d9beba6-c052-407a-8599-c781a677a996" providerId="ADAL" clId="{4C89AD2D-B60A-479F-9F95-9D423A06FAEA}" dt="2024-08-06T13:21:48.390" v="39102" actId="1035"/>
          <ac:spMkLst>
            <pc:docMk/>
            <pc:sldMk cId="3521479601" sldId="823"/>
            <ac:spMk id="15" creationId="{B5E62DE7-E302-48D4-811E-8E03D2522C9A}"/>
          </ac:spMkLst>
        </pc:spChg>
        <pc:spChg chg="mod">
          <ac:chgData name="Andreas Koksrud" userId="9d9beba6-c052-407a-8599-c781a677a996" providerId="ADAL" clId="{4C89AD2D-B60A-479F-9F95-9D423A06FAEA}" dt="2024-08-06T13:21:26.014" v="39075" actId="20577"/>
          <ac:spMkLst>
            <pc:docMk/>
            <pc:sldMk cId="3521479601" sldId="823"/>
            <ac:spMk id="180" creationId="{00000000-0000-0000-0000-000000000000}"/>
          </ac:spMkLst>
        </pc:spChg>
        <pc:cxnChg chg="add mod">
          <ac:chgData name="Andreas Koksrud" userId="9d9beba6-c052-407a-8599-c781a677a996" providerId="ADAL" clId="{4C89AD2D-B60A-479F-9F95-9D423A06FAEA}" dt="2024-08-06T13:24:42.178" v="39121" actId="14100"/>
          <ac:cxnSpMkLst>
            <pc:docMk/>
            <pc:sldMk cId="3521479601" sldId="823"/>
            <ac:cxnSpMk id="17" creationId="{CECFD2C6-9826-76E0-BF92-8BD7B35BE476}"/>
          </ac:cxnSpMkLst>
        </pc:cxnChg>
      </pc:sldChg>
      <pc:sldChg chg="addSp modSp add mod">
        <pc:chgData name="Andreas Koksrud" userId="9d9beba6-c052-407a-8599-c781a677a996" providerId="ADAL" clId="{4C89AD2D-B60A-479F-9F95-9D423A06FAEA}" dt="2024-08-06T13:27:45.034" v="39256" actId="6549"/>
        <pc:sldMkLst>
          <pc:docMk/>
          <pc:sldMk cId="4106763092" sldId="826"/>
        </pc:sldMkLst>
        <pc:spChg chg="add mod">
          <ac:chgData name="Andreas Koksrud" userId="9d9beba6-c052-407a-8599-c781a677a996" providerId="ADAL" clId="{4C89AD2D-B60A-479F-9F95-9D423A06FAEA}" dt="2024-06-14T18:19:24.951" v="6426"/>
          <ac:spMkLst>
            <pc:docMk/>
            <pc:sldMk cId="4106763092" sldId="826"/>
            <ac:spMk id="2" creationId="{3A684846-05F9-019F-0AB8-1E3490D063D1}"/>
          </ac:spMkLst>
        </pc:spChg>
        <pc:spChg chg="add mod">
          <ac:chgData name="Andreas Koksrud" userId="9d9beba6-c052-407a-8599-c781a677a996" providerId="ADAL" clId="{4C89AD2D-B60A-479F-9F95-9D423A06FAEA}" dt="2024-06-14T18:19:24.951" v="6426"/>
          <ac:spMkLst>
            <pc:docMk/>
            <pc:sldMk cId="4106763092" sldId="826"/>
            <ac:spMk id="3" creationId="{4A714335-A3B1-3224-D787-9F867DA11134}"/>
          </ac:spMkLst>
        </pc:spChg>
        <pc:spChg chg="mod">
          <ac:chgData name="Andreas Koksrud" userId="9d9beba6-c052-407a-8599-c781a677a996" providerId="ADAL" clId="{4C89AD2D-B60A-479F-9F95-9D423A06FAEA}" dt="2024-08-06T13:27:45.034" v="39256" actId="6549"/>
          <ac:spMkLst>
            <pc:docMk/>
            <pc:sldMk cId="4106763092" sldId="826"/>
            <ac:spMk id="180" creationId="{00000000-0000-0000-0000-000000000000}"/>
          </ac:spMkLst>
        </pc:spChg>
      </pc:sldChg>
      <pc:sldChg chg="addSp modSp add mod">
        <pc:chgData name="Andreas Koksrud" userId="9d9beba6-c052-407a-8599-c781a677a996" providerId="ADAL" clId="{4C89AD2D-B60A-479F-9F95-9D423A06FAEA}" dt="2024-08-06T13:21:19.321" v="39062" actId="20577"/>
        <pc:sldMkLst>
          <pc:docMk/>
          <pc:sldMk cId="1118305278" sldId="829"/>
        </pc:sldMkLst>
        <pc:spChg chg="mod">
          <ac:chgData name="Andreas Koksrud" userId="9d9beba6-c052-407a-8599-c781a677a996" providerId="ADAL" clId="{4C89AD2D-B60A-479F-9F95-9D423A06FAEA}" dt="2024-08-06T13:21:19.321" v="39062" actId="20577"/>
          <ac:spMkLst>
            <pc:docMk/>
            <pc:sldMk cId="1118305278" sldId="829"/>
            <ac:spMk id="2" creationId="{021CA0C3-964C-194D-8088-55B4655C41AF}"/>
          </ac:spMkLst>
        </pc:spChg>
        <pc:spChg chg="add mod">
          <ac:chgData name="Andreas Koksrud" userId="9d9beba6-c052-407a-8599-c781a677a996" providerId="ADAL" clId="{4C89AD2D-B60A-479F-9F95-9D423A06FAEA}" dt="2024-06-14T18:19:20.470" v="6423"/>
          <ac:spMkLst>
            <pc:docMk/>
            <pc:sldMk cId="1118305278" sldId="829"/>
            <ac:spMk id="3" creationId="{32A26D00-A83A-231C-2CD1-4A49BE33F3E0}"/>
          </ac:spMkLst>
        </pc:spChg>
        <pc:spChg chg="add mod">
          <ac:chgData name="Andreas Koksrud" userId="9d9beba6-c052-407a-8599-c781a677a996" providerId="ADAL" clId="{4C89AD2D-B60A-479F-9F95-9D423A06FAEA}" dt="2024-06-14T18:19:20.470" v="6423"/>
          <ac:spMkLst>
            <pc:docMk/>
            <pc:sldMk cId="1118305278" sldId="829"/>
            <ac:spMk id="4" creationId="{18A7D459-E93F-07CF-F7AB-816123700A2E}"/>
          </ac:spMkLst>
        </pc:spChg>
      </pc:sldChg>
      <pc:sldChg chg="addSp modSp add">
        <pc:chgData name="Andreas Koksrud" userId="9d9beba6-c052-407a-8599-c781a677a996" providerId="ADAL" clId="{4C89AD2D-B60A-479F-9F95-9D423A06FAEA}" dt="2024-06-14T18:19:58.440" v="6486"/>
        <pc:sldMkLst>
          <pc:docMk/>
          <pc:sldMk cId="1212745208" sldId="830"/>
        </pc:sldMkLst>
        <pc:spChg chg="add mod">
          <ac:chgData name="Andreas Koksrud" userId="9d9beba6-c052-407a-8599-c781a677a996" providerId="ADAL" clId="{4C89AD2D-B60A-479F-9F95-9D423A06FAEA}" dt="2024-06-14T18:19:58.440" v="6486"/>
          <ac:spMkLst>
            <pc:docMk/>
            <pc:sldMk cId="1212745208" sldId="830"/>
            <ac:spMk id="2" creationId="{6CD92190-7E72-A822-5523-83391FA0DD00}"/>
          </ac:spMkLst>
        </pc:spChg>
        <pc:spChg chg="add mod">
          <ac:chgData name="Andreas Koksrud" userId="9d9beba6-c052-407a-8599-c781a677a996" providerId="ADAL" clId="{4C89AD2D-B60A-479F-9F95-9D423A06FAEA}" dt="2024-06-14T18:19:58.440" v="6486"/>
          <ac:spMkLst>
            <pc:docMk/>
            <pc:sldMk cId="1212745208" sldId="830"/>
            <ac:spMk id="3" creationId="{3C64FD93-5E17-435B-A8B7-30E45CAB7A1A}"/>
          </ac:spMkLst>
        </pc:spChg>
      </pc:sldChg>
      <pc:sldChg chg="addSp modSp add">
        <pc:chgData name="Andreas Koksrud" userId="9d9beba6-c052-407a-8599-c781a677a996" providerId="ADAL" clId="{4C89AD2D-B60A-479F-9F95-9D423A06FAEA}" dt="2024-06-14T18:23:22.924" v="6655"/>
        <pc:sldMkLst>
          <pc:docMk/>
          <pc:sldMk cId="1070812493" sldId="839"/>
        </pc:sldMkLst>
        <pc:spChg chg="add mod">
          <ac:chgData name="Andreas Koksrud" userId="9d9beba6-c052-407a-8599-c781a677a996" providerId="ADAL" clId="{4C89AD2D-B60A-479F-9F95-9D423A06FAEA}" dt="2024-06-14T18:23:22.924" v="6655"/>
          <ac:spMkLst>
            <pc:docMk/>
            <pc:sldMk cId="1070812493" sldId="839"/>
            <ac:spMk id="3" creationId="{781865DB-979E-A472-5B70-DC12F9AC15E4}"/>
          </ac:spMkLst>
        </pc:spChg>
        <pc:spChg chg="add mod">
          <ac:chgData name="Andreas Koksrud" userId="9d9beba6-c052-407a-8599-c781a677a996" providerId="ADAL" clId="{4C89AD2D-B60A-479F-9F95-9D423A06FAEA}" dt="2024-06-14T18:23:22.924" v="6655"/>
          <ac:spMkLst>
            <pc:docMk/>
            <pc:sldMk cId="1070812493" sldId="839"/>
            <ac:spMk id="5" creationId="{A2CF3805-D6FD-714C-9A6B-AFA86E5B2AB5}"/>
          </ac:spMkLst>
        </pc:spChg>
      </pc:sldChg>
      <pc:sldChg chg="addSp modSp add">
        <pc:chgData name="Andreas Koksrud" userId="9d9beba6-c052-407a-8599-c781a677a996" providerId="ADAL" clId="{4C89AD2D-B60A-479F-9F95-9D423A06FAEA}" dt="2024-06-14T18:23:23.814" v="6656"/>
        <pc:sldMkLst>
          <pc:docMk/>
          <pc:sldMk cId="2685798531" sldId="840"/>
        </pc:sldMkLst>
        <pc:spChg chg="add mod">
          <ac:chgData name="Andreas Koksrud" userId="9d9beba6-c052-407a-8599-c781a677a996" providerId="ADAL" clId="{4C89AD2D-B60A-479F-9F95-9D423A06FAEA}" dt="2024-06-14T18:23:23.814" v="6656"/>
          <ac:spMkLst>
            <pc:docMk/>
            <pc:sldMk cId="2685798531" sldId="840"/>
            <ac:spMk id="3" creationId="{08C7673B-E3E0-9470-D646-ED5473BEDB16}"/>
          </ac:spMkLst>
        </pc:spChg>
        <pc:spChg chg="add mod">
          <ac:chgData name="Andreas Koksrud" userId="9d9beba6-c052-407a-8599-c781a677a996" providerId="ADAL" clId="{4C89AD2D-B60A-479F-9F95-9D423A06FAEA}" dt="2024-06-14T18:23:23.814" v="6656"/>
          <ac:spMkLst>
            <pc:docMk/>
            <pc:sldMk cId="2685798531" sldId="840"/>
            <ac:spMk id="4" creationId="{EB181041-1161-2B01-DE20-AD482C234CFA}"/>
          </ac:spMkLst>
        </pc:spChg>
      </pc:sldChg>
      <pc:sldChg chg="addSp modSp add">
        <pc:chgData name="Andreas Koksrud" userId="9d9beba6-c052-407a-8599-c781a677a996" providerId="ADAL" clId="{4C89AD2D-B60A-479F-9F95-9D423A06FAEA}" dt="2024-06-14T18:23:24.750" v="6657"/>
        <pc:sldMkLst>
          <pc:docMk/>
          <pc:sldMk cId="2309282967" sldId="841"/>
        </pc:sldMkLst>
        <pc:spChg chg="add mod">
          <ac:chgData name="Andreas Koksrud" userId="9d9beba6-c052-407a-8599-c781a677a996" providerId="ADAL" clId="{4C89AD2D-B60A-479F-9F95-9D423A06FAEA}" dt="2024-06-14T18:23:24.750" v="6657"/>
          <ac:spMkLst>
            <pc:docMk/>
            <pc:sldMk cId="2309282967" sldId="841"/>
            <ac:spMk id="3" creationId="{9AEE8B7C-BD41-15D8-13FE-D8F48DDFD54E}"/>
          </ac:spMkLst>
        </pc:spChg>
        <pc:spChg chg="add mod">
          <ac:chgData name="Andreas Koksrud" userId="9d9beba6-c052-407a-8599-c781a677a996" providerId="ADAL" clId="{4C89AD2D-B60A-479F-9F95-9D423A06FAEA}" dt="2024-06-14T18:23:24.750" v="6657"/>
          <ac:spMkLst>
            <pc:docMk/>
            <pc:sldMk cId="2309282967" sldId="841"/>
            <ac:spMk id="5" creationId="{8F917B6D-EE89-89D3-0154-00B1D6E17564}"/>
          </ac:spMkLst>
        </pc:spChg>
      </pc:sldChg>
      <pc:sldChg chg="addSp modSp add">
        <pc:chgData name="Andreas Koksrud" userId="9d9beba6-c052-407a-8599-c781a677a996" providerId="ADAL" clId="{4C89AD2D-B60A-479F-9F95-9D423A06FAEA}" dt="2024-06-14T18:23:26.913" v="6659"/>
        <pc:sldMkLst>
          <pc:docMk/>
          <pc:sldMk cId="685011829" sldId="842"/>
        </pc:sldMkLst>
        <pc:spChg chg="add mod">
          <ac:chgData name="Andreas Koksrud" userId="9d9beba6-c052-407a-8599-c781a677a996" providerId="ADAL" clId="{4C89AD2D-B60A-479F-9F95-9D423A06FAEA}" dt="2024-06-14T18:23:26.913" v="6659"/>
          <ac:spMkLst>
            <pc:docMk/>
            <pc:sldMk cId="685011829" sldId="842"/>
            <ac:spMk id="3" creationId="{7DF3C111-068D-584C-0E8F-BA160EF98A02}"/>
          </ac:spMkLst>
        </pc:spChg>
        <pc:spChg chg="add mod">
          <ac:chgData name="Andreas Koksrud" userId="9d9beba6-c052-407a-8599-c781a677a996" providerId="ADAL" clId="{4C89AD2D-B60A-479F-9F95-9D423A06FAEA}" dt="2024-06-14T18:23:26.913" v="6659"/>
          <ac:spMkLst>
            <pc:docMk/>
            <pc:sldMk cId="685011829" sldId="842"/>
            <ac:spMk id="5" creationId="{2FA9B7CB-E864-E446-314E-EC229B1AD001}"/>
          </ac:spMkLst>
        </pc:spChg>
      </pc:sldChg>
      <pc:sldChg chg="del">
        <pc:chgData name="Andreas Koksrud" userId="9d9beba6-c052-407a-8599-c781a677a996" providerId="ADAL" clId="{4C89AD2D-B60A-479F-9F95-9D423A06FAEA}" dt="2024-06-09T16:12:39.230" v="2166" actId="47"/>
        <pc:sldMkLst>
          <pc:docMk/>
          <pc:sldMk cId="798825500" sldId="844"/>
        </pc:sldMkLst>
      </pc:sldChg>
      <pc:sldChg chg="addSp modSp add">
        <pc:chgData name="Andreas Koksrud" userId="9d9beba6-c052-407a-8599-c781a677a996" providerId="ADAL" clId="{4C89AD2D-B60A-479F-9F95-9D423A06FAEA}" dt="2024-06-14T18:23:27.956" v="6660"/>
        <pc:sldMkLst>
          <pc:docMk/>
          <pc:sldMk cId="3245717989" sldId="845"/>
        </pc:sldMkLst>
        <pc:spChg chg="add mod">
          <ac:chgData name="Andreas Koksrud" userId="9d9beba6-c052-407a-8599-c781a677a996" providerId="ADAL" clId="{4C89AD2D-B60A-479F-9F95-9D423A06FAEA}" dt="2024-06-14T18:23:27.956" v="6660"/>
          <ac:spMkLst>
            <pc:docMk/>
            <pc:sldMk cId="3245717989" sldId="845"/>
            <ac:spMk id="3" creationId="{9BACA49B-03FC-7198-519A-6F0CBCCF51B6}"/>
          </ac:spMkLst>
        </pc:spChg>
        <pc:spChg chg="add mod">
          <ac:chgData name="Andreas Koksrud" userId="9d9beba6-c052-407a-8599-c781a677a996" providerId="ADAL" clId="{4C89AD2D-B60A-479F-9F95-9D423A06FAEA}" dt="2024-06-14T18:23:27.956" v="6660"/>
          <ac:spMkLst>
            <pc:docMk/>
            <pc:sldMk cId="3245717989" sldId="845"/>
            <ac:spMk id="5" creationId="{0204AF9C-6E96-A87B-71BD-C92BDA105B7A}"/>
          </ac:spMkLst>
        </pc:spChg>
      </pc:sldChg>
      <pc:sldChg chg="addSp modSp add">
        <pc:chgData name="Andreas Koksrud" userId="9d9beba6-c052-407a-8599-c781a677a996" providerId="ADAL" clId="{4C89AD2D-B60A-479F-9F95-9D423A06FAEA}" dt="2024-06-14T18:23:30.403" v="6662"/>
        <pc:sldMkLst>
          <pc:docMk/>
          <pc:sldMk cId="3805266284" sldId="846"/>
        </pc:sldMkLst>
        <pc:spChg chg="add mod">
          <ac:chgData name="Andreas Koksrud" userId="9d9beba6-c052-407a-8599-c781a677a996" providerId="ADAL" clId="{4C89AD2D-B60A-479F-9F95-9D423A06FAEA}" dt="2024-06-14T18:23:30.403" v="6662"/>
          <ac:spMkLst>
            <pc:docMk/>
            <pc:sldMk cId="3805266284" sldId="846"/>
            <ac:spMk id="3" creationId="{E396A52E-D674-3BE9-A336-B97E1B785EA2}"/>
          </ac:spMkLst>
        </pc:spChg>
        <pc:spChg chg="add mod">
          <ac:chgData name="Andreas Koksrud" userId="9d9beba6-c052-407a-8599-c781a677a996" providerId="ADAL" clId="{4C89AD2D-B60A-479F-9F95-9D423A06FAEA}" dt="2024-06-14T18:23:30.403" v="6662"/>
          <ac:spMkLst>
            <pc:docMk/>
            <pc:sldMk cId="3805266284" sldId="846"/>
            <ac:spMk id="4" creationId="{E92ECE66-DCCA-FF66-1EEC-D4FB7DEE02AB}"/>
          </ac:spMkLst>
        </pc:spChg>
      </pc:sldChg>
      <pc:sldChg chg="addSp modSp add">
        <pc:chgData name="Andreas Koksrud" userId="9d9beba6-c052-407a-8599-c781a677a996" providerId="ADAL" clId="{4C89AD2D-B60A-479F-9F95-9D423A06FAEA}" dt="2024-06-14T18:23:31.741" v="6663"/>
        <pc:sldMkLst>
          <pc:docMk/>
          <pc:sldMk cId="1521086367" sldId="847"/>
        </pc:sldMkLst>
        <pc:spChg chg="add mod">
          <ac:chgData name="Andreas Koksrud" userId="9d9beba6-c052-407a-8599-c781a677a996" providerId="ADAL" clId="{4C89AD2D-B60A-479F-9F95-9D423A06FAEA}" dt="2024-06-14T18:23:31.741" v="6663"/>
          <ac:spMkLst>
            <pc:docMk/>
            <pc:sldMk cId="1521086367" sldId="847"/>
            <ac:spMk id="3" creationId="{AD684BEF-62FD-6E9C-F1A1-D85E6205E295}"/>
          </ac:spMkLst>
        </pc:spChg>
        <pc:spChg chg="add mod">
          <ac:chgData name="Andreas Koksrud" userId="9d9beba6-c052-407a-8599-c781a677a996" providerId="ADAL" clId="{4C89AD2D-B60A-479F-9F95-9D423A06FAEA}" dt="2024-06-14T18:23:31.741" v="6663"/>
          <ac:spMkLst>
            <pc:docMk/>
            <pc:sldMk cId="1521086367" sldId="847"/>
            <ac:spMk id="5" creationId="{48F777CE-2791-4E3C-77F9-87E6C2C0E520}"/>
          </ac:spMkLst>
        </pc:spChg>
      </pc:sldChg>
      <pc:sldChg chg="del">
        <pc:chgData name="Andreas Koksrud" userId="9d9beba6-c052-407a-8599-c781a677a996" providerId="ADAL" clId="{4C89AD2D-B60A-479F-9F95-9D423A06FAEA}" dt="2024-06-09T16:00:45.201" v="1096" actId="47"/>
        <pc:sldMkLst>
          <pc:docMk/>
          <pc:sldMk cId="2885639092" sldId="848"/>
        </pc:sldMkLst>
      </pc:sldChg>
      <pc:sldChg chg="del">
        <pc:chgData name="Andreas Koksrud" userId="9d9beba6-c052-407a-8599-c781a677a996" providerId="ADAL" clId="{4C89AD2D-B60A-479F-9F95-9D423A06FAEA}" dt="2024-06-09T16:00:48.044" v="1098" actId="47"/>
        <pc:sldMkLst>
          <pc:docMk/>
          <pc:sldMk cId="1110680622" sldId="849"/>
        </pc:sldMkLst>
      </pc:sldChg>
      <pc:sldChg chg="addSp delSp modSp add del mod">
        <pc:chgData name="Andreas Koksrud" userId="9d9beba6-c052-407a-8599-c781a677a996" providerId="ADAL" clId="{4C89AD2D-B60A-479F-9F95-9D423A06FAEA}" dt="2024-08-06T18:29:33.046" v="40740" actId="20577"/>
        <pc:sldMkLst>
          <pc:docMk/>
          <pc:sldMk cId="468106742" sldId="850"/>
        </pc:sldMkLst>
        <pc:spChg chg="del mod">
          <ac:chgData name="Andreas Koksrud" userId="9d9beba6-c052-407a-8599-c781a677a996" providerId="ADAL" clId="{4C89AD2D-B60A-479F-9F95-9D423A06FAEA}" dt="2024-07-01T04:37:47.036" v="15125" actId="478"/>
          <ac:spMkLst>
            <pc:docMk/>
            <pc:sldMk cId="468106742" sldId="850"/>
            <ac:spMk id="2" creationId="{E5D5B057-1D39-AC88-396C-0D888288A2E9}"/>
          </ac:spMkLst>
        </pc:spChg>
        <pc:spChg chg="add mod">
          <ac:chgData name="Andreas Koksrud" userId="9d9beba6-c052-407a-8599-c781a677a996" providerId="ADAL" clId="{4C89AD2D-B60A-479F-9F95-9D423A06FAEA}" dt="2024-06-14T18:20:18.050" v="6509"/>
          <ac:spMkLst>
            <pc:docMk/>
            <pc:sldMk cId="468106742" sldId="850"/>
            <ac:spMk id="3" creationId="{77FF1E93-AC1C-5651-2FC2-8ABE16F5AAA9}"/>
          </ac:spMkLst>
        </pc:spChg>
        <pc:spChg chg="add mod">
          <ac:chgData name="Andreas Koksrud" userId="9d9beba6-c052-407a-8599-c781a677a996" providerId="ADAL" clId="{4C89AD2D-B60A-479F-9F95-9D423A06FAEA}" dt="2024-06-14T18:20:18.050" v="6509"/>
          <ac:spMkLst>
            <pc:docMk/>
            <pc:sldMk cId="468106742" sldId="850"/>
            <ac:spMk id="6" creationId="{84F2DA91-90C9-C865-9D2D-3CEDE26E5AB0}"/>
          </ac:spMkLst>
        </pc:spChg>
        <pc:spChg chg="add mod">
          <ac:chgData name="Andreas Koksrud" userId="9d9beba6-c052-407a-8599-c781a677a996" providerId="ADAL" clId="{4C89AD2D-B60A-479F-9F95-9D423A06FAEA}" dt="2024-08-06T18:29:33.046" v="40740" actId="20577"/>
          <ac:spMkLst>
            <pc:docMk/>
            <pc:sldMk cId="468106742" sldId="850"/>
            <ac:spMk id="7" creationId="{F57809A5-5D18-E09A-D8A2-8E873756E594}"/>
          </ac:spMkLst>
        </pc:spChg>
        <pc:spChg chg="add mod">
          <ac:chgData name="Andreas Koksrud" userId="9d9beba6-c052-407a-8599-c781a677a996" providerId="ADAL" clId="{4C89AD2D-B60A-479F-9F95-9D423A06FAEA}" dt="2024-07-20T18:55:53.092" v="26075" actId="6549"/>
          <ac:spMkLst>
            <pc:docMk/>
            <pc:sldMk cId="468106742" sldId="850"/>
            <ac:spMk id="8" creationId="{8062001E-013F-DBFC-98EA-B07E339612BF}"/>
          </ac:spMkLst>
        </pc:spChg>
        <pc:spChg chg="add mod">
          <ac:chgData name="Andreas Koksrud" userId="9d9beba6-c052-407a-8599-c781a677a996" providerId="ADAL" clId="{4C89AD2D-B60A-479F-9F95-9D423A06FAEA}" dt="2024-07-20T18:55:50.422" v="26073" actId="14100"/>
          <ac:spMkLst>
            <pc:docMk/>
            <pc:sldMk cId="468106742" sldId="850"/>
            <ac:spMk id="9" creationId="{696415D3-221E-C514-59CA-A0A57109A27E}"/>
          </ac:spMkLst>
        </pc:spChg>
        <pc:spChg chg="add del mod">
          <ac:chgData name="Andreas Koksrud" userId="9d9beba6-c052-407a-8599-c781a677a996" providerId="ADAL" clId="{4C89AD2D-B60A-479F-9F95-9D423A06FAEA}" dt="2024-07-01T04:42:44.360" v="15204" actId="478"/>
          <ac:spMkLst>
            <pc:docMk/>
            <pc:sldMk cId="468106742" sldId="850"/>
            <ac:spMk id="10" creationId="{8DF4F21C-1551-0A8B-D49E-1F6539905306}"/>
          </ac:spMkLst>
        </pc:spChg>
        <pc:spChg chg="mod">
          <ac:chgData name="Andreas Koksrud" userId="9d9beba6-c052-407a-8599-c781a677a996" providerId="ADAL" clId="{4C89AD2D-B60A-479F-9F95-9D423A06FAEA}" dt="2024-06-30T17:17:54.557" v="14944" actId="20577"/>
          <ac:spMkLst>
            <pc:docMk/>
            <pc:sldMk cId="468106742" sldId="850"/>
            <ac:spMk id="180" creationId="{00000000-0000-0000-0000-000000000000}"/>
          </ac:spMkLst>
        </pc:spChg>
        <pc:spChg chg="mod">
          <ac:chgData name="Andreas Koksrud" userId="9d9beba6-c052-407a-8599-c781a677a996" providerId="ADAL" clId="{4C89AD2D-B60A-479F-9F95-9D423A06FAEA}" dt="2024-07-02T14:41:59.046" v="18057" actId="20577"/>
          <ac:spMkLst>
            <pc:docMk/>
            <pc:sldMk cId="468106742" sldId="850"/>
            <ac:spMk id="181" creationId="{00000000-0000-0000-0000-000000000000}"/>
          </ac:spMkLst>
        </pc:spChg>
        <pc:picChg chg="del mod">
          <ac:chgData name="Andreas Koksrud" userId="9d9beba6-c052-407a-8599-c781a677a996" providerId="ADAL" clId="{4C89AD2D-B60A-479F-9F95-9D423A06FAEA}" dt="2024-07-01T04:38:28.619" v="15127" actId="478"/>
          <ac:picMkLst>
            <pc:docMk/>
            <pc:sldMk cId="468106742" sldId="850"/>
            <ac:picMk id="4" creationId="{DAFB24D8-8A72-E60E-7452-B30CE6AA11AA}"/>
          </ac:picMkLst>
        </pc:picChg>
        <pc:picChg chg="add del mod">
          <ac:chgData name="Andreas Koksrud" userId="9d9beba6-c052-407a-8599-c781a677a996" providerId="ADAL" clId="{4C89AD2D-B60A-479F-9F95-9D423A06FAEA}" dt="2024-07-01T04:41:14.399" v="15140" actId="478"/>
          <ac:picMkLst>
            <pc:docMk/>
            <pc:sldMk cId="468106742" sldId="850"/>
            <ac:picMk id="5" creationId="{FA47A68D-31A9-8143-4430-AFA1669E398B}"/>
          </ac:picMkLst>
        </pc:picChg>
      </pc:sldChg>
      <pc:sldChg chg="del">
        <pc:chgData name="Andreas Koksrud" userId="9d9beba6-c052-407a-8599-c781a677a996" providerId="ADAL" clId="{4C89AD2D-B60A-479F-9F95-9D423A06FAEA}" dt="2024-06-09T16:00:52.985" v="1100" actId="47"/>
        <pc:sldMkLst>
          <pc:docMk/>
          <pc:sldMk cId="111200460" sldId="851"/>
        </pc:sldMkLst>
      </pc:sldChg>
      <pc:sldChg chg="addSp modSp add mod ord">
        <pc:chgData name="Andreas Koksrud" userId="9d9beba6-c052-407a-8599-c781a677a996" providerId="ADAL" clId="{4C89AD2D-B60A-479F-9F95-9D423A06FAEA}" dt="2024-08-04T16:22:15.768" v="37005" actId="20577"/>
        <pc:sldMkLst>
          <pc:docMk/>
          <pc:sldMk cId="3782901869" sldId="851"/>
        </pc:sldMkLst>
        <pc:spChg chg="mod">
          <ac:chgData name="Andreas Koksrud" userId="9d9beba6-c052-407a-8599-c781a677a996" providerId="ADAL" clId="{4C89AD2D-B60A-479F-9F95-9D423A06FAEA}" dt="2024-08-04T16:22:15.768" v="37005" actId="20577"/>
          <ac:spMkLst>
            <pc:docMk/>
            <pc:sldMk cId="3782901869" sldId="851"/>
            <ac:spMk id="2" creationId="{6B539DEF-BEF0-2AA6-A90D-BC67AC4C73CD}"/>
          </ac:spMkLst>
        </pc:spChg>
        <pc:spChg chg="add mod">
          <ac:chgData name="Andreas Koksrud" userId="9d9beba6-c052-407a-8599-c781a677a996" providerId="ADAL" clId="{4C89AD2D-B60A-479F-9F95-9D423A06FAEA}" dt="2024-06-14T18:18:50.751" v="6389"/>
          <ac:spMkLst>
            <pc:docMk/>
            <pc:sldMk cId="3782901869" sldId="851"/>
            <ac:spMk id="3" creationId="{F8FD1B85-22DC-934D-5228-6D7B720E5FDD}"/>
          </ac:spMkLst>
        </pc:spChg>
        <pc:spChg chg="add mod">
          <ac:chgData name="Andreas Koksrud" userId="9d9beba6-c052-407a-8599-c781a677a996" providerId="ADAL" clId="{4C89AD2D-B60A-479F-9F95-9D423A06FAEA}" dt="2024-06-14T18:18:50.751" v="6389"/>
          <ac:spMkLst>
            <pc:docMk/>
            <pc:sldMk cId="3782901869" sldId="851"/>
            <ac:spMk id="4" creationId="{802F7DCE-DF15-C44E-DF61-F162389FA51D}"/>
          </ac:spMkLst>
        </pc:spChg>
        <pc:spChg chg="mod">
          <ac:chgData name="Andreas Koksrud" userId="9d9beba6-c052-407a-8599-c781a677a996" providerId="ADAL" clId="{4C89AD2D-B60A-479F-9F95-9D423A06FAEA}" dt="2024-08-04T16:19:36.149" v="36664" actId="20577"/>
          <ac:spMkLst>
            <pc:docMk/>
            <pc:sldMk cId="3782901869" sldId="851"/>
            <ac:spMk id="180" creationId="{00000000-0000-0000-0000-000000000000}"/>
          </ac:spMkLst>
        </pc:spChg>
      </pc:sldChg>
      <pc:sldChg chg="del">
        <pc:chgData name="Andreas Koksrud" userId="9d9beba6-c052-407a-8599-c781a677a996" providerId="ADAL" clId="{4C89AD2D-B60A-479F-9F95-9D423A06FAEA}" dt="2024-06-09T16:00:54.814" v="1101" actId="47"/>
        <pc:sldMkLst>
          <pc:docMk/>
          <pc:sldMk cId="82959561" sldId="852"/>
        </pc:sldMkLst>
      </pc:sldChg>
      <pc:sldChg chg="addSp modSp add del mod ord">
        <pc:chgData name="Andreas Koksrud" userId="9d9beba6-c052-407a-8599-c781a677a996" providerId="ADAL" clId="{4C89AD2D-B60A-479F-9F95-9D423A06FAEA}" dt="2024-08-03T09:32:58.384" v="35108" actId="14100"/>
        <pc:sldMkLst>
          <pc:docMk/>
          <pc:sldMk cId="911993613" sldId="853"/>
        </pc:sldMkLst>
        <pc:spChg chg="add mod">
          <ac:chgData name="Andreas Koksrud" userId="9d9beba6-c052-407a-8599-c781a677a996" providerId="ADAL" clId="{4C89AD2D-B60A-479F-9F95-9D423A06FAEA}" dt="2024-06-14T18:14:59.914" v="6050"/>
          <ac:spMkLst>
            <pc:docMk/>
            <pc:sldMk cId="911993613" sldId="853"/>
            <ac:spMk id="3" creationId="{269C7226-9C95-711E-F117-7A0505174A1A}"/>
          </ac:spMkLst>
        </pc:spChg>
        <pc:spChg chg="add mod">
          <ac:chgData name="Andreas Koksrud" userId="9d9beba6-c052-407a-8599-c781a677a996" providerId="ADAL" clId="{4C89AD2D-B60A-479F-9F95-9D423A06FAEA}" dt="2024-06-14T18:14:59.914" v="6050"/>
          <ac:spMkLst>
            <pc:docMk/>
            <pc:sldMk cId="911993613" sldId="853"/>
            <ac:spMk id="4" creationId="{C072B529-5ED9-019E-B0F2-6ACB07EBF7C4}"/>
          </ac:spMkLst>
        </pc:spChg>
        <pc:spChg chg="mod">
          <ac:chgData name="Andreas Koksrud" userId="9d9beba6-c052-407a-8599-c781a677a996" providerId="ADAL" clId="{4C89AD2D-B60A-479F-9F95-9D423A06FAEA}" dt="2024-08-03T09:32:46.106" v="35105" actId="27636"/>
          <ac:spMkLst>
            <pc:docMk/>
            <pc:sldMk cId="911993613" sldId="853"/>
            <ac:spMk id="10" creationId="{54FB830F-DBF4-1B20-3C76-0E40DC07965B}"/>
          </ac:spMkLst>
        </pc:spChg>
        <pc:picChg chg="add mod">
          <ac:chgData name="Andreas Koksrud" userId="9d9beba6-c052-407a-8599-c781a677a996" providerId="ADAL" clId="{4C89AD2D-B60A-479F-9F95-9D423A06FAEA}" dt="2024-08-03T09:32:58.384" v="35108" actId="14100"/>
          <ac:picMkLst>
            <pc:docMk/>
            <pc:sldMk cId="911993613" sldId="853"/>
            <ac:picMk id="6" creationId="{4F0B5288-C520-F5EB-09DB-31AADDCB5F2B}"/>
          </ac:picMkLst>
        </pc:picChg>
      </pc:sldChg>
      <pc:sldChg chg="addSp modSp add del mod">
        <pc:chgData name="Andreas Koksrud" userId="9d9beba6-c052-407a-8599-c781a677a996" providerId="ADAL" clId="{4C89AD2D-B60A-479F-9F95-9D423A06FAEA}" dt="2024-08-06T18:27:42.806" v="40725" actId="20577"/>
        <pc:sldMkLst>
          <pc:docMk/>
          <pc:sldMk cId="3385289181" sldId="854"/>
        </pc:sldMkLst>
        <pc:spChg chg="add mod">
          <ac:chgData name="Andreas Koksrud" userId="9d9beba6-c052-407a-8599-c781a677a996" providerId="ADAL" clId="{4C89AD2D-B60A-479F-9F95-9D423A06FAEA}" dt="2024-06-14T18:20:16.719" v="6508"/>
          <ac:spMkLst>
            <pc:docMk/>
            <pc:sldMk cId="3385289181" sldId="854"/>
            <ac:spMk id="2" creationId="{77B193A8-0489-D0D8-DD7D-A9D19A927D92}"/>
          </ac:spMkLst>
        </pc:spChg>
        <pc:spChg chg="add mod">
          <ac:chgData name="Andreas Koksrud" userId="9d9beba6-c052-407a-8599-c781a677a996" providerId="ADAL" clId="{4C89AD2D-B60A-479F-9F95-9D423A06FAEA}" dt="2024-06-14T18:20:16.719" v="6508"/>
          <ac:spMkLst>
            <pc:docMk/>
            <pc:sldMk cId="3385289181" sldId="854"/>
            <ac:spMk id="3" creationId="{1E25DF2D-D2A1-6026-2A45-5B48A09582E5}"/>
          </ac:spMkLst>
        </pc:spChg>
        <pc:spChg chg="mod">
          <ac:chgData name="Andreas Koksrud" userId="9d9beba6-c052-407a-8599-c781a677a996" providerId="ADAL" clId="{4C89AD2D-B60A-479F-9F95-9D423A06FAEA}" dt="2024-08-06T17:57:34.949" v="39483" actId="20577"/>
          <ac:spMkLst>
            <pc:docMk/>
            <pc:sldMk cId="3385289181" sldId="854"/>
            <ac:spMk id="180" creationId="{00000000-0000-0000-0000-000000000000}"/>
          </ac:spMkLst>
        </pc:spChg>
        <pc:spChg chg="mod">
          <ac:chgData name="Andreas Koksrud" userId="9d9beba6-c052-407a-8599-c781a677a996" providerId="ADAL" clId="{4C89AD2D-B60A-479F-9F95-9D423A06FAEA}" dt="2024-08-06T18:27:42.806" v="40725" actId="20577"/>
          <ac:spMkLst>
            <pc:docMk/>
            <pc:sldMk cId="3385289181" sldId="854"/>
            <ac:spMk id="181" creationId="{00000000-0000-0000-0000-000000000000}"/>
          </ac:spMkLst>
        </pc:spChg>
        <pc:picChg chg="add mod">
          <ac:chgData name="Andreas Koksrud" userId="9d9beba6-c052-407a-8599-c781a677a996" providerId="ADAL" clId="{4C89AD2D-B60A-479F-9F95-9D423A06FAEA}" dt="2024-08-06T18:25:29.848" v="40427" actId="14100"/>
          <ac:picMkLst>
            <pc:docMk/>
            <pc:sldMk cId="3385289181" sldId="854"/>
            <ac:picMk id="5" creationId="{82DD04DF-520F-28F7-2148-51D7BB4981B2}"/>
          </ac:picMkLst>
        </pc:picChg>
      </pc:sldChg>
      <pc:sldChg chg="addSp delSp modSp add del mod">
        <pc:chgData name="Andreas Koksrud" userId="9d9beba6-c052-407a-8599-c781a677a996" providerId="ADAL" clId="{4C89AD2D-B60A-479F-9F95-9D423A06FAEA}" dt="2024-07-01T04:45:04.502" v="15241" actId="1076"/>
        <pc:sldMkLst>
          <pc:docMk/>
          <pc:sldMk cId="1250772557" sldId="855"/>
        </pc:sldMkLst>
        <pc:spChg chg="add mod">
          <ac:chgData name="Andreas Koksrud" userId="9d9beba6-c052-407a-8599-c781a677a996" providerId="ADAL" clId="{4C89AD2D-B60A-479F-9F95-9D423A06FAEA}" dt="2024-06-14T18:20:19.088" v="6510"/>
          <ac:spMkLst>
            <pc:docMk/>
            <pc:sldMk cId="1250772557" sldId="855"/>
            <ac:spMk id="2" creationId="{BCDEC502-98D2-2BE1-83D7-7542319A0029}"/>
          </ac:spMkLst>
        </pc:spChg>
        <pc:spChg chg="add mod">
          <ac:chgData name="Andreas Koksrud" userId="9d9beba6-c052-407a-8599-c781a677a996" providerId="ADAL" clId="{4C89AD2D-B60A-479F-9F95-9D423A06FAEA}" dt="2024-06-14T18:20:19.088" v="6510"/>
          <ac:spMkLst>
            <pc:docMk/>
            <pc:sldMk cId="1250772557" sldId="855"/>
            <ac:spMk id="3" creationId="{DBF78579-E9B0-3316-8A52-54306D0ECA8D}"/>
          </ac:spMkLst>
        </pc:spChg>
        <pc:spChg chg="mod">
          <ac:chgData name="Andreas Koksrud" userId="9d9beba6-c052-407a-8599-c781a677a996" providerId="ADAL" clId="{4C89AD2D-B60A-479F-9F95-9D423A06FAEA}" dt="2024-07-01T04:44:54.754" v="15237" actId="20577"/>
          <ac:spMkLst>
            <pc:docMk/>
            <pc:sldMk cId="1250772557" sldId="855"/>
            <ac:spMk id="180" creationId="{00000000-0000-0000-0000-000000000000}"/>
          </ac:spMkLst>
        </pc:spChg>
        <pc:spChg chg="mod">
          <ac:chgData name="Andreas Koksrud" userId="9d9beba6-c052-407a-8599-c781a677a996" providerId="ADAL" clId="{4C89AD2D-B60A-479F-9F95-9D423A06FAEA}" dt="2024-07-01T04:44:59.642" v="15239" actId="14"/>
          <ac:spMkLst>
            <pc:docMk/>
            <pc:sldMk cId="1250772557" sldId="855"/>
            <ac:spMk id="181" creationId="{00000000-0000-0000-0000-000000000000}"/>
          </ac:spMkLst>
        </pc:spChg>
        <pc:picChg chg="del">
          <ac:chgData name="Andreas Koksrud" userId="9d9beba6-c052-407a-8599-c781a677a996" providerId="ADAL" clId="{4C89AD2D-B60A-479F-9F95-9D423A06FAEA}" dt="2024-07-01T04:43:38.963" v="15206" actId="478"/>
          <ac:picMkLst>
            <pc:docMk/>
            <pc:sldMk cId="1250772557" sldId="855"/>
            <ac:picMk id="4" creationId="{B4BCA014-59EA-FBC9-531C-B503DB7A1835}"/>
          </ac:picMkLst>
        </pc:picChg>
        <pc:picChg chg="del">
          <ac:chgData name="Andreas Koksrud" userId="9d9beba6-c052-407a-8599-c781a677a996" providerId="ADAL" clId="{4C89AD2D-B60A-479F-9F95-9D423A06FAEA}" dt="2024-07-01T04:43:58.215" v="15209" actId="478"/>
          <ac:picMkLst>
            <pc:docMk/>
            <pc:sldMk cId="1250772557" sldId="855"/>
            <ac:picMk id="6" creationId="{5CC57537-A1FA-9DB1-6188-74325E50CE93}"/>
          </ac:picMkLst>
        </pc:picChg>
        <pc:picChg chg="add mod modCrop">
          <ac:chgData name="Andreas Koksrud" userId="9d9beba6-c052-407a-8599-c781a677a996" providerId="ADAL" clId="{4C89AD2D-B60A-479F-9F95-9D423A06FAEA}" dt="2024-07-01T04:45:02.799" v="15240" actId="1076"/>
          <ac:picMkLst>
            <pc:docMk/>
            <pc:sldMk cId="1250772557" sldId="855"/>
            <ac:picMk id="7" creationId="{7D670DAC-AB9A-4E67-B563-21F399B61E68}"/>
          </ac:picMkLst>
        </pc:picChg>
        <pc:picChg chg="add mod">
          <ac:chgData name="Andreas Koksrud" userId="9d9beba6-c052-407a-8599-c781a677a996" providerId="ADAL" clId="{4C89AD2D-B60A-479F-9F95-9D423A06FAEA}" dt="2024-07-01T04:45:04.502" v="15241" actId="1076"/>
          <ac:picMkLst>
            <pc:docMk/>
            <pc:sldMk cId="1250772557" sldId="855"/>
            <ac:picMk id="9" creationId="{A86868A0-95B8-7ADB-9EF3-DC56E2D3FA45}"/>
          </ac:picMkLst>
        </pc:picChg>
      </pc:sldChg>
      <pc:sldChg chg="addSp modSp add del mod">
        <pc:chgData name="Andreas Koksrud" userId="9d9beba6-c052-407a-8599-c781a677a996" providerId="ADAL" clId="{4C89AD2D-B60A-479F-9F95-9D423A06FAEA}" dt="2024-07-01T04:45:23.378" v="15244" actId="404"/>
        <pc:sldMkLst>
          <pc:docMk/>
          <pc:sldMk cId="879097217" sldId="856"/>
        </pc:sldMkLst>
        <pc:spChg chg="add mod">
          <ac:chgData name="Andreas Koksrud" userId="9d9beba6-c052-407a-8599-c781a677a996" providerId="ADAL" clId="{4C89AD2D-B60A-479F-9F95-9D423A06FAEA}" dt="2024-06-14T18:20:20.392" v="6511"/>
          <ac:spMkLst>
            <pc:docMk/>
            <pc:sldMk cId="879097217" sldId="856"/>
            <ac:spMk id="2" creationId="{0190F51F-81F8-0E60-769D-362E06E53CD4}"/>
          </ac:spMkLst>
        </pc:spChg>
        <pc:spChg chg="add mod">
          <ac:chgData name="Andreas Koksrud" userId="9d9beba6-c052-407a-8599-c781a677a996" providerId="ADAL" clId="{4C89AD2D-B60A-479F-9F95-9D423A06FAEA}" dt="2024-06-14T18:20:20.392" v="6511"/>
          <ac:spMkLst>
            <pc:docMk/>
            <pc:sldMk cId="879097217" sldId="856"/>
            <ac:spMk id="4" creationId="{2F340342-FF92-B5AF-4139-3E83B013C094}"/>
          </ac:spMkLst>
        </pc:spChg>
        <pc:spChg chg="mod">
          <ac:chgData name="Andreas Koksrud" userId="9d9beba6-c052-407a-8599-c781a677a996" providerId="ADAL" clId="{4C89AD2D-B60A-479F-9F95-9D423A06FAEA}" dt="2024-07-01T04:45:23.378" v="15244" actId="404"/>
          <ac:spMkLst>
            <pc:docMk/>
            <pc:sldMk cId="879097217" sldId="856"/>
            <ac:spMk id="181" creationId="{00000000-0000-0000-0000-000000000000}"/>
          </ac:spMkLst>
        </pc:spChg>
      </pc:sldChg>
      <pc:sldChg chg="addSp delSp modSp add mod">
        <pc:chgData name="Andreas Koksrud" userId="9d9beba6-c052-407a-8599-c781a677a996" providerId="ADAL" clId="{4C89AD2D-B60A-479F-9F95-9D423A06FAEA}" dt="2024-08-03T09:27:20.933" v="35042"/>
        <pc:sldMkLst>
          <pc:docMk/>
          <pc:sldMk cId="2658323505" sldId="857"/>
        </pc:sldMkLst>
        <pc:spChg chg="del">
          <ac:chgData name="Andreas Koksrud" userId="9d9beba6-c052-407a-8599-c781a677a996" providerId="ADAL" clId="{4C89AD2D-B60A-479F-9F95-9D423A06FAEA}" dt="2024-08-03T09:27:20.053" v="35041" actId="478"/>
          <ac:spMkLst>
            <pc:docMk/>
            <pc:sldMk cId="2658323505" sldId="857"/>
            <ac:spMk id="3" creationId="{D716D84C-92F8-0D97-658B-D580A9E686C2}"/>
          </ac:spMkLst>
        </pc:spChg>
        <pc:spChg chg="del">
          <ac:chgData name="Andreas Koksrud" userId="9d9beba6-c052-407a-8599-c781a677a996" providerId="ADAL" clId="{4C89AD2D-B60A-479F-9F95-9D423A06FAEA}" dt="2024-08-03T09:27:18.980" v="35040" actId="478"/>
          <ac:spMkLst>
            <pc:docMk/>
            <pc:sldMk cId="2658323505" sldId="857"/>
            <ac:spMk id="6" creationId="{F79AC7D6-9707-FA3C-4181-45142247410B}"/>
          </ac:spMkLst>
        </pc:spChg>
        <pc:spChg chg="add mod">
          <ac:chgData name="Andreas Koksrud" userId="9d9beba6-c052-407a-8599-c781a677a996" providerId="ADAL" clId="{4C89AD2D-B60A-479F-9F95-9D423A06FAEA}" dt="2024-08-03T09:27:20.933" v="35042"/>
          <ac:spMkLst>
            <pc:docMk/>
            <pc:sldMk cId="2658323505" sldId="857"/>
            <ac:spMk id="7" creationId="{597C3320-0183-0501-8E4E-B0AFA063C5A3}"/>
          </ac:spMkLst>
        </pc:spChg>
        <pc:spChg chg="add mod">
          <ac:chgData name="Andreas Koksrud" userId="9d9beba6-c052-407a-8599-c781a677a996" providerId="ADAL" clId="{4C89AD2D-B60A-479F-9F95-9D423A06FAEA}" dt="2024-08-03T09:27:20.933" v="35042"/>
          <ac:spMkLst>
            <pc:docMk/>
            <pc:sldMk cId="2658323505" sldId="857"/>
            <ac:spMk id="9" creationId="{C068577C-A0DF-795F-9771-BAE02C59CBB2}"/>
          </ac:spMkLst>
        </pc:spChg>
      </pc:sldChg>
      <pc:sldChg chg="addSp delSp modSp add del mod ord">
        <pc:chgData name="Andreas Koksrud" userId="9d9beba6-c052-407a-8599-c781a677a996" providerId="ADAL" clId="{4C89AD2D-B60A-479F-9F95-9D423A06FAEA}" dt="2024-08-03T09:24:05.449" v="34760" actId="2696"/>
        <pc:sldMkLst>
          <pc:docMk/>
          <pc:sldMk cId="2690209780" sldId="857"/>
        </pc:sldMkLst>
        <pc:spChg chg="mod ord">
          <ac:chgData name="Andreas Koksrud" userId="9d9beba6-c052-407a-8599-c781a677a996" providerId="ADAL" clId="{4C89AD2D-B60A-479F-9F95-9D423A06FAEA}" dt="2024-07-20T19:09:44.308" v="26169" actId="167"/>
          <ac:spMkLst>
            <pc:docMk/>
            <pc:sldMk cId="2690209780" sldId="857"/>
            <ac:spMk id="2" creationId="{9796E8C1-5924-9DB3-B51B-75296717F89F}"/>
          </ac:spMkLst>
        </pc:spChg>
        <pc:spChg chg="add mod">
          <ac:chgData name="Andreas Koksrud" userId="9d9beba6-c052-407a-8599-c781a677a996" providerId="ADAL" clId="{4C89AD2D-B60A-479F-9F95-9D423A06FAEA}" dt="2024-06-14T18:15:03.238" v="6052"/>
          <ac:spMkLst>
            <pc:docMk/>
            <pc:sldMk cId="2690209780" sldId="857"/>
            <ac:spMk id="3" creationId="{D716D84C-92F8-0D97-658B-D580A9E686C2}"/>
          </ac:spMkLst>
        </pc:spChg>
        <pc:spChg chg="add mod">
          <ac:chgData name="Andreas Koksrud" userId="9d9beba6-c052-407a-8599-c781a677a996" providerId="ADAL" clId="{4C89AD2D-B60A-479F-9F95-9D423A06FAEA}" dt="2024-06-14T18:15:03.238" v="6052"/>
          <ac:spMkLst>
            <pc:docMk/>
            <pc:sldMk cId="2690209780" sldId="857"/>
            <ac:spMk id="6" creationId="{F79AC7D6-9707-FA3C-4181-45142247410B}"/>
          </ac:spMkLst>
        </pc:spChg>
        <pc:picChg chg="add mod ord">
          <ac:chgData name="Andreas Koksrud" userId="9d9beba6-c052-407a-8599-c781a677a996" providerId="ADAL" clId="{4C89AD2D-B60A-479F-9F95-9D423A06FAEA}" dt="2024-07-20T19:09:47.450" v="26170" actId="14826"/>
          <ac:picMkLst>
            <pc:docMk/>
            <pc:sldMk cId="2690209780" sldId="857"/>
            <ac:picMk id="8" creationId="{C7A1E34A-DBAC-F62C-35CA-F9EE01DFEBE8}"/>
          </ac:picMkLst>
        </pc:picChg>
        <pc:picChg chg="mod">
          <ac:chgData name="Andreas Koksrud" userId="9d9beba6-c052-407a-8599-c781a677a996" providerId="ADAL" clId="{4C89AD2D-B60A-479F-9F95-9D423A06FAEA}" dt="2024-07-01T18:56:01.786" v="16964" actId="1076"/>
          <ac:picMkLst>
            <pc:docMk/>
            <pc:sldMk cId="2690209780" sldId="857"/>
            <ac:picMk id="15" creationId="{1BF73C7B-00A5-0A7B-F9E4-3746C6B79854}"/>
          </ac:picMkLst>
        </pc:picChg>
        <pc:picChg chg="del">
          <ac:chgData name="Andreas Koksrud" userId="9d9beba6-c052-407a-8599-c781a677a996" providerId="ADAL" clId="{4C89AD2D-B60A-479F-9F95-9D423A06FAEA}" dt="2024-07-01T18:49:35.156" v="16853" actId="478"/>
          <ac:picMkLst>
            <pc:docMk/>
            <pc:sldMk cId="2690209780" sldId="857"/>
            <ac:picMk id="24" creationId="{6263DC7D-E065-789D-21C4-A9E428D8B9F4}"/>
          </ac:picMkLst>
        </pc:picChg>
        <pc:cxnChg chg="add mod">
          <ac:chgData name="Andreas Koksrud" userId="9d9beba6-c052-407a-8599-c781a677a996" providerId="ADAL" clId="{4C89AD2D-B60A-479F-9F95-9D423A06FAEA}" dt="2024-07-01T18:51:59.160" v="16871" actId="14100"/>
          <ac:cxnSpMkLst>
            <pc:docMk/>
            <pc:sldMk cId="2690209780" sldId="857"/>
            <ac:cxnSpMk id="10" creationId="{23C6121A-FF67-1F42-432D-FEA6E5431A44}"/>
          </ac:cxnSpMkLst>
        </pc:cxnChg>
        <pc:cxnChg chg="mod">
          <ac:chgData name="Andreas Koksrud" userId="9d9beba6-c052-407a-8599-c781a677a996" providerId="ADAL" clId="{4C89AD2D-B60A-479F-9F95-9D423A06FAEA}" dt="2024-07-20T19:09:52.473" v="26171" actId="14100"/>
          <ac:cxnSpMkLst>
            <pc:docMk/>
            <pc:sldMk cId="2690209780" sldId="857"/>
            <ac:cxnSpMk id="16" creationId="{7EFC93E0-25A6-B0B4-FB10-D2643CD67A77}"/>
          </ac:cxnSpMkLst>
        </pc:cxnChg>
        <pc:cxnChg chg="del">
          <ac:chgData name="Andreas Koksrud" userId="9d9beba6-c052-407a-8599-c781a677a996" providerId="ADAL" clId="{4C89AD2D-B60A-479F-9F95-9D423A06FAEA}" dt="2024-07-01T18:49:37.237" v="16855" actId="478"/>
          <ac:cxnSpMkLst>
            <pc:docMk/>
            <pc:sldMk cId="2690209780" sldId="857"/>
            <ac:cxnSpMk id="25" creationId="{B3F0B22A-B8D3-2FF7-FC9C-8A25D093249B}"/>
          </ac:cxnSpMkLst>
        </pc:cxnChg>
        <pc:cxnChg chg="del">
          <ac:chgData name="Andreas Koksrud" userId="9d9beba6-c052-407a-8599-c781a677a996" providerId="ADAL" clId="{4C89AD2D-B60A-479F-9F95-9D423A06FAEA}" dt="2024-07-01T18:49:36.130" v="16854" actId="478"/>
          <ac:cxnSpMkLst>
            <pc:docMk/>
            <pc:sldMk cId="2690209780" sldId="857"/>
            <ac:cxnSpMk id="29" creationId="{0600D195-BEEC-493C-C0A2-CE3AD60141DA}"/>
          </ac:cxnSpMkLst>
        </pc:cxnChg>
      </pc:sldChg>
      <pc:sldChg chg="addSp modSp add del">
        <pc:chgData name="Andreas Koksrud" userId="9d9beba6-c052-407a-8599-c781a677a996" providerId="ADAL" clId="{4C89AD2D-B60A-479F-9F95-9D423A06FAEA}" dt="2024-06-30T17:03:41.264" v="14370" actId="47"/>
        <pc:sldMkLst>
          <pc:docMk/>
          <pc:sldMk cId="1987049343" sldId="858"/>
        </pc:sldMkLst>
        <pc:spChg chg="add mod">
          <ac:chgData name="Andreas Koksrud" userId="9d9beba6-c052-407a-8599-c781a677a996" providerId="ADAL" clId="{4C89AD2D-B60A-479F-9F95-9D423A06FAEA}" dt="2024-06-14T18:16:16.128" v="6161"/>
          <ac:spMkLst>
            <pc:docMk/>
            <pc:sldMk cId="1987049343" sldId="858"/>
            <ac:spMk id="3" creationId="{113ED18C-7F19-3470-4489-0085AEB656FF}"/>
          </ac:spMkLst>
        </pc:spChg>
        <pc:spChg chg="add mod">
          <ac:chgData name="Andreas Koksrud" userId="9d9beba6-c052-407a-8599-c781a677a996" providerId="ADAL" clId="{4C89AD2D-B60A-479F-9F95-9D423A06FAEA}" dt="2024-06-14T18:16:16.128" v="6161"/>
          <ac:spMkLst>
            <pc:docMk/>
            <pc:sldMk cId="1987049343" sldId="858"/>
            <ac:spMk id="4" creationId="{346630D4-45A8-BC5A-61D1-A8F82AB8160A}"/>
          </ac:spMkLst>
        </pc:spChg>
      </pc:sldChg>
      <pc:sldChg chg="addSp modSp add del ord">
        <pc:chgData name="Andreas Koksrud" userId="9d9beba6-c052-407a-8599-c781a677a996" providerId="ADAL" clId="{4C89AD2D-B60A-479F-9F95-9D423A06FAEA}" dt="2024-07-01T18:45:35.305" v="16766" actId="47"/>
        <pc:sldMkLst>
          <pc:docMk/>
          <pc:sldMk cId="2034020006" sldId="859"/>
        </pc:sldMkLst>
        <pc:spChg chg="add mod">
          <ac:chgData name="Andreas Koksrud" userId="9d9beba6-c052-407a-8599-c781a677a996" providerId="ADAL" clId="{4C89AD2D-B60A-479F-9F95-9D423A06FAEA}" dt="2024-06-14T18:16:22.252" v="6162"/>
          <ac:spMkLst>
            <pc:docMk/>
            <pc:sldMk cId="2034020006" sldId="859"/>
            <ac:spMk id="3" creationId="{F01B970F-9CE2-77DD-5E72-D3DD8BF8C571}"/>
          </ac:spMkLst>
        </pc:spChg>
        <pc:spChg chg="add mod">
          <ac:chgData name="Andreas Koksrud" userId="9d9beba6-c052-407a-8599-c781a677a996" providerId="ADAL" clId="{4C89AD2D-B60A-479F-9F95-9D423A06FAEA}" dt="2024-06-14T18:16:22.252" v="6162"/>
          <ac:spMkLst>
            <pc:docMk/>
            <pc:sldMk cId="2034020006" sldId="859"/>
            <ac:spMk id="5" creationId="{76B0C6ED-8786-4429-C561-D87FB4D97B85}"/>
          </ac:spMkLst>
        </pc:spChg>
      </pc:sldChg>
      <pc:sldChg chg="addSp delSp modSp add del mod ord">
        <pc:chgData name="Andreas Koksrud" userId="9d9beba6-c052-407a-8599-c781a677a996" providerId="ADAL" clId="{4C89AD2D-B60A-479F-9F95-9D423A06FAEA}" dt="2024-07-20T18:56:13.150" v="26081" actId="6549"/>
        <pc:sldMkLst>
          <pc:docMk/>
          <pc:sldMk cId="2554802186" sldId="861"/>
        </pc:sldMkLst>
        <pc:spChg chg="mod ord">
          <ac:chgData name="Andreas Koksrud" userId="9d9beba6-c052-407a-8599-c781a677a996" providerId="ADAL" clId="{4C89AD2D-B60A-479F-9F95-9D423A06FAEA}" dt="2024-07-02T14:53:13.175" v="18282" actId="20577"/>
          <ac:spMkLst>
            <pc:docMk/>
            <pc:sldMk cId="2554802186" sldId="861"/>
            <ac:spMk id="2" creationId="{9796E8C1-5924-9DB3-B51B-75296717F89F}"/>
          </ac:spMkLst>
        </pc:spChg>
        <pc:spChg chg="add mod">
          <ac:chgData name="Andreas Koksrud" userId="9d9beba6-c052-407a-8599-c781a677a996" providerId="ADAL" clId="{4C89AD2D-B60A-479F-9F95-9D423A06FAEA}" dt="2024-06-14T18:20:28.192" v="6512"/>
          <ac:spMkLst>
            <pc:docMk/>
            <pc:sldMk cId="2554802186" sldId="861"/>
            <ac:spMk id="3" creationId="{1A11297B-9D47-93B8-252D-68759FA77E1C}"/>
          </ac:spMkLst>
        </pc:spChg>
        <pc:spChg chg="add mod">
          <ac:chgData name="Andreas Koksrud" userId="9d9beba6-c052-407a-8599-c781a677a996" providerId="ADAL" clId="{4C89AD2D-B60A-479F-9F95-9D423A06FAEA}" dt="2024-06-14T18:20:28.192" v="6512"/>
          <ac:spMkLst>
            <pc:docMk/>
            <pc:sldMk cId="2554802186" sldId="861"/>
            <ac:spMk id="7" creationId="{E2DB7780-0CB7-A551-3EA7-484C310E45AD}"/>
          </ac:spMkLst>
        </pc:spChg>
        <pc:spChg chg="add mod ord">
          <ac:chgData name="Andreas Koksrud" userId="9d9beba6-c052-407a-8599-c781a677a996" providerId="ADAL" clId="{4C89AD2D-B60A-479F-9F95-9D423A06FAEA}" dt="2024-07-20T18:56:13.150" v="26081" actId="6549"/>
          <ac:spMkLst>
            <pc:docMk/>
            <pc:sldMk cId="2554802186" sldId="861"/>
            <ac:spMk id="9" creationId="{76667482-48B7-C29F-CD5F-748E1DA51AFA}"/>
          </ac:spMkLst>
        </pc:spChg>
        <pc:picChg chg="add del mod">
          <ac:chgData name="Andreas Koksrud" userId="9d9beba6-c052-407a-8599-c781a677a996" providerId="ADAL" clId="{4C89AD2D-B60A-479F-9F95-9D423A06FAEA}" dt="2024-07-02T14:42:44.121" v="18059" actId="478"/>
          <ac:picMkLst>
            <pc:docMk/>
            <pc:sldMk cId="2554802186" sldId="861"/>
            <ac:picMk id="4" creationId="{4A547D6D-809C-115D-7BF6-BE32EA1F17A4}"/>
          </ac:picMkLst>
        </pc:picChg>
        <pc:picChg chg="del">
          <ac:chgData name="Andreas Koksrud" userId="9d9beba6-c052-407a-8599-c781a677a996" providerId="ADAL" clId="{4C89AD2D-B60A-479F-9F95-9D423A06FAEA}" dt="2024-07-02T14:44:57.675" v="18100" actId="478"/>
          <ac:picMkLst>
            <pc:docMk/>
            <pc:sldMk cId="2554802186" sldId="861"/>
            <ac:picMk id="5" creationId="{BA0F6610-8D6A-ACFB-0475-F273EB8CF5F9}"/>
          </ac:picMkLst>
        </pc:picChg>
        <pc:picChg chg="del mod">
          <ac:chgData name="Andreas Koksrud" userId="9d9beba6-c052-407a-8599-c781a677a996" providerId="ADAL" clId="{4C89AD2D-B60A-479F-9F95-9D423A06FAEA}" dt="2024-07-02T14:42:39.080" v="18058" actId="478"/>
          <ac:picMkLst>
            <pc:docMk/>
            <pc:sldMk cId="2554802186" sldId="861"/>
            <ac:picMk id="6" creationId="{9E113B21-20FD-72C4-7760-43E1A6BC93F4}"/>
          </ac:picMkLst>
        </pc:picChg>
        <pc:picChg chg="add mod ord modCrop">
          <ac:chgData name="Andreas Koksrud" userId="9d9beba6-c052-407a-8599-c781a677a996" providerId="ADAL" clId="{4C89AD2D-B60A-479F-9F95-9D423A06FAEA}" dt="2024-07-02T14:48:59.633" v="18119" actId="1076"/>
          <ac:picMkLst>
            <pc:docMk/>
            <pc:sldMk cId="2554802186" sldId="861"/>
            <ac:picMk id="13" creationId="{3015E50D-B367-F00A-464A-7AD575C0650F}"/>
          </ac:picMkLst>
        </pc:picChg>
        <pc:picChg chg="add del mod ord">
          <ac:chgData name="Andreas Koksrud" userId="9d9beba6-c052-407a-8599-c781a677a996" providerId="ADAL" clId="{4C89AD2D-B60A-479F-9F95-9D423A06FAEA}" dt="2024-07-02T14:51:01.072" v="18171" actId="478"/>
          <ac:picMkLst>
            <pc:docMk/>
            <pc:sldMk cId="2554802186" sldId="861"/>
            <ac:picMk id="16" creationId="{214BDA52-F008-DCB6-4D3F-37B8C430BAC2}"/>
          </ac:picMkLst>
        </pc:picChg>
        <pc:picChg chg="del">
          <ac:chgData name="Andreas Koksrud" userId="9d9beba6-c052-407a-8599-c781a677a996" providerId="ADAL" clId="{4C89AD2D-B60A-479F-9F95-9D423A06FAEA}" dt="2024-07-02T14:45:56.020" v="18106" actId="478"/>
          <ac:picMkLst>
            <pc:docMk/>
            <pc:sldMk cId="2554802186" sldId="861"/>
            <ac:picMk id="18" creationId="{4909D0B2-92A8-C4D4-AA92-F48B2FB211AC}"/>
          </ac:picMkLst>
        </pc:picChg>
        <pc:picChg chg="add mod modCrop">
          <ac:chgData name="Andreas Koksrud" userId="9d9beba6-c052-407a-8599-c781a677a996" providerId="ADAL" clId="{4C89AD2D-B60A-479F-9F95-9D423A06FAEA}" dt="2024-07-02T14:50:14.748" v="18163" actId="1036"/>
          <ac:picMkLst>
            <pc:docMk/>
            <pc:sldMk cId="2554802186" sldId="861"/>
            <ac:picMk id="21" creationId="{062B4A05-916E-A35E-8CF6-67FE46A27FA1}"/>
          </ac:picMkLst>
        </pc:picChg>
        <pc:picChg chg="add mod">
          <ac:chgData name="Andreas Koksrud" userId="9d9beba6-c052-407a-8599-c781a677a996" providerId="ADAL" clId="{4C89AD2D-B60A-479F-9F95-9D423A06FAEA}" dt="2024-07-02T14:51:24.285" v="18189" actId="1076"/>
          <ac:picMkLst>
            <pc:docMk/>
            <pc:sldMk cId="2554802186" sldId="861"/>
            <ac:picMk id="23" creationId="{CA5F30C5-DF2C-3B95-27FE-FD055CD54F50}"/>
          </ac:picMkLst>
        </pc:picChg>
        <pc:picChg chg="add mod">
          <ac:chgData name="Andreas Koksrud" userId="9d9beba6-c052-407a-8599-c781a677a996" providerId="ADAL" clId="{4C89AD2D-B60A-479F-9F95-9D423A06FAEA}" dt="2024-07-02T14:53:29.730" v="18284" actId="1076"/>
          <ac:picMkLst>
            <pc:docMk/>
            <pc:sldMk cId="2554802186" sldId="861"/>
            <ac:picMk id="28" creationId="{4F842464-3A0A-B8C8-C4F9-2F7A194E41A2}"/>
          </ac:picMkLst>
        </pc:picChg>
        <pc:cxnChg chg="mod">
          <ac:chgData name="Andreas Koksrud" userId="9d9beba6-c052-407a-8599-c781a677a996" providerId="ADAL" clId="{4C89AD2D-B60A-479F-9F95-9D423A06FAEA}" dt="2024-07-02T14:51:32.001" v="18190" actId="14100"/>
          <ac:cxnSpMkLst>
            <pc:docMk/>
            <pc:sldMk cId="2554802186" sldId="861"/>
            <ac:cxnSpMk id="8" creationId="{87407839-F583-F4F8-6870-7596EB34EDF4}"/>
          </ac:cxnSpMkLst>
        </pc:cxnChg>
        <pc:cxnChg chg="mod ord">
          <ac:chgData name="Andreas Koksrud" userId="9d9beba6-c052-407a-8599-c781a677a996" providerId="ADAL" clId="{4C89AD2D-B60A-479F-9F95-9D423A06FAEA}" dt="2024-07-02T14:52:01.431" v="18197" actId="14100"/>
          <ac:cxnSpMkLst>
            <pc:docMk/>
            <pc:sldMk cId="2554802186" sldId="861"/>
            <ac:cxnSpMk id="10" creationId="{114731E6-C0B6-42E8-0546-511317D59522}"/>
          </ac:cxnSpMkLst>
        </pc:cxnChg>
      </pc:sldChg>
      <pc:sldChg chg="addSp delSp modSp add del mod">
        <pc:chgData name="Andreas Koksrud" userId="9d9beba6-c052-407a-8599-c781a677a996" providerId="ADAL" clId="{4C89AD2D-B60A-479F-9F95-9D423A06FAEA}" dt="2024-07-02T18:29:27.135" v="19793" actId="14100"/>
        <pc:sldMkLst>
          <pc:docMk/>
          <pc:sldMk cId="575130139" sldId="862"/>
        </pc:sldMkLst>
        <pc:spChg chg="add mod">
          <ac:chgData name="Andreas Koksrud" userId="9d9beba6-c052-407a-8599-c781a677a996" providerId="ADAL" clId="{4C89AD2D-B60A-479F-9F95-9D423A06FAEA}" dt="2024-06-14T18:20:40.848" v="6531"/>
          <ac:spMkLst>
            <pc:docMk/>
            <pc:sldMk cId="575130139" sldId="862"/>
            <ac:spMk id="2" creationId="{8B7157A5-9DD8-CC1E-095B-05C4C1980BDF}"/>
          </ac:spMkLst>
        </pc:spChg>
        <pc:spChg chg="del mod">
          <ac:chgData name="Andreas Koksrud" userId="9d9beba6-c052-407a-8599-c781a677a996" providerId="ADAL" clId="{4C89AD2D-B60A-479F-9F95-9D423A06FAEA}" dt="2024-07-02T15:22:49.736" v="18760" actId="478"/>
          <ac:spMkLst>
            <pc:docMk/>
            <pc:sldMk cId="575130139" sldId="862"/>
            <ac:spMk id="4" creationId="{FEFDFE44-611E-8625-FC2E-FCBBCCD3961B}"/>
          </ac:spMkLst>
        </pc:spChg>
        <pc:spChg chg="del mod">
          <ac:chgData name="Andreas Koksrud" userId="9d9beba6-c052-407a-8599-c781a677a996" providerId="ADAL" clId="{4C89AD2D-B60A-479F-9F95-9D423A06FAEA}" dt="2024-07-02T15:22:51.359" v="18761" actId="478"/>
          <ac:spMkLst>
            <pc:docMk/>
            <pc:sldMk cId="575130139" sldId="862"/>
            <ac:spMk id="5" creationId="{72A763FC-DC10-4832-8C21-6FA3B51F3B55}"/>
          </ac:spMkLst>
        </pc:spChg>
        <pc:spChg chg="mod">
          <ac:chgData name="Andreas Koksrud" userId="9d9beba6-c052-407a-8599-c781a677a996" providerId="ADAL" clId="{4C89AD2D-B60A-479F-9F95-9D423A06FAEA}" dt="2024-07-02T15:20:23.344" v="18744" actId="20577"/>
          <ac:spMkLst>
            <pc:docMk/>
            <pc:sldMk cId="575130139" sldId="862"/>
            <ac:spMk id="6" creationId="{D33A7F7C-0CFF-12D8-D3F9-55EA11817DA1}"/>
          </ac:spMkLst>
        </pc:spChg>
        <pc:spChg chg="add mod">
          <ac:chgData name="Andreas Koksrud" userId="9d9beba6-c052-407a-8599-c781a677a996" providerId="ADAL" clId="{4C89AD2D-B60A-479F-9F95-9D423A06FAEA}" dt="2024-06-14T18:20:40.848" v="6531"/>
          <ac:spMkLst>
            <pc:docMk/>
            <pc:sldMk cId="575130139" sldId="862"/>
            <ac:spMk id="7" creationId="{4D754D07-9E11-A566-0AB6-8DAFC56BFA04}"/>
          </ac:spMkLst>
        </pc:spChg>
        <pc:spChg chg="add mod">
          <ac:chgData name="Andreas Koksrud" userId="9d9beba6-c052-407a-8599-c781a677a996" providerId="ADAL" clId="{4C89AD2D-B60A-479F-9F95-9D423A06FAEA}" dt="2024-07-02T18:28:20.088" v="19787" actId="20577"/>
          <ac:spMkLst>
            <pc:docMk/>
            <pc:sldMk cId="575130139" sldId="862"/>
            <ac:spMk id="24" creationId="{B3E6F7D2-C565-37C9-CA40-083E631696E4}"/>
          </ac:spMkLst>
        </pc:spChg>
        <pc:spChg chg="add mod">
          <ac:chgData name="Andreas Koksrud" userId="9d9beba6-c052-407a-8599-c781a677a996" providerId="ADAL" clId="{4C89AD2D-B60A-479F-9F95-9D423A06FAEA}" dt="2024-07-02T15:22:08.825" v="18752"/>
          <ac:spMkLst>
            <pc:docMk/>
            <pc:sldMk cId="575130139" sldId="862"/>
            <ac:spMk id="25" creationId="{12CEB653-12FE-B936-BD74-ADCDEF5D70BF}"/>
          </ac:spMkLst>
        </pc:spChg>
        <pc:spChg chg="mod">
          <ac:chgData name="Andreas Koksrud" userId="9d9beba6-c052-407a-8599-c781a677a996" providerId="ADAL" clId="{4C89AD2D-B60A-479F-9F95-9D423A06FAEA}" dt="2024-07-02T15:11:48.006" v="18583" actId="6549"/>
          <ac:spMkLst>
            <pc:docMk/>
            <pc:sldMk cId="575130139" sldId="862"/>
            <ac:spMk id="180" creationId="{00000000-0000-0000-0000-000000000000}"/>
          </ac:spMkLst>
        </pc:spChg>
        <pc:picChg chg="del mod">
          <ac:chgData name="Andreas Koksrud" userId="9d9beba6-c052-407a-8599-c781a677a996" providerId="ADAL" clId="{4C89AD2D-B60A-479F-9F95-9D423A06FAEA}" dt="2024-07-02T15:19:13.137" v="18694" actId="478"/>
          <ac:picMkLst>
            <pc:docMk/>
            <pc:sldMk cId="575130139" sldId="862"/>
            <ac:picMk id="3" creationId="{CEA94C2A-7124-90B5-BD0D-FE7DFCC6748C}"/>
          </ac:picMkLst>
        </pc:picChg>
        <pc:picChg chg="add mod modCrop">
          <ac:chgData name="Andreas Koksrud" userId="9d9beba6-c052-407a-8599-c781a677a996" providerId="ADAL" clId="{4C89AD2D-B60A-479F-9F95-9D423A06FAEA}" dt="2024-07-02T15:17:01.816" v="18609" actId="1076"/>
          <ac:picMkLst>
            <pc:docMk/>
            <pc:sldMk cId="575130139" sldId="862"/>
            <ac:picMk id="9" creationId="{ACF5DE2B-66A5-E71E-5903-7F0D8FFF6102}"/>
          </ac:picMkLst>
        </pc:picChg>
        <pc:picChg chg="del">
          <ac:chgData name="Andreas Koksrud" userId="9d9beba6-c052-407a-8599-c781a677a996" providerId="ADAL" clId="{4C89AD2D-B60A-479F-9F95-9D423A06FAEA}" dt="2024-07-02T15:16:26.507" v="18603" actId="478"/>
          <ac:picMkLst>
            <pc:docMk/>
            <pc:sldMk cId="575130139" sldId="862"/>
            <ac:picMk id="10" creationId="{34DA4BD7-43C8-285E-A933-AFFCFCCD0C8D}"/>
          </ac:picMkLst>
        </pc:picChg>
        <pc:picChg chg="del">
          <ac:chgData name="Andreas Koksrud" userId="9d9beba6-c052-407a-8599-c781a677a996" providerId="ADAL" clId="{4C89AD2D-B60A-479F-9F95-9D423A06FAEA}" dt="2024-07-02T15:17:26.216" v="18643" actId="478"/>
          <ac:picMkLst>
            <pc:docMk/>
            <pc:sldMk cId="575130139" sldId="862"/>
            <ac:picMk id="12" creationId="{82C26A6F-F9E2-CFED-E2BC-87AC1923226C}"/>
          </ac:picMkLst>
        </pc:picChg>
        <pc:picChg chg="add del mod">
          <ac:chgData name="Andreas Koksrud" userId="9d9beba6-c052-407a-8599-c781a677a996" providerId="ADAL" clId="{4C89AD2D-B60A-479F-9F95-9D423A06FAEA}" dt="2024-07-02T15:17:31.134" v="18646" actId="478"/>
          <ac:picMkLst>
            <pc:docMk/>
            <pc:sldMk cId="575130139" sldId="862"/>
            <ac:picMk id="13" creationId="{B4A6B862-922B-B7D6-CEB2-B838557340CA}"/>
          </ac:picMkLst>
        </pc:picChg>
        <pc:picChg chg="del">
          <ac:chgData name="Andreas Koksrud" userId="9d9beba6-c052-407a-8599-c781a677a996" providerId="ADAL" clId="{4C89AD2D-B60A-479F-9F95-9D423A06FAEA}" dt="2024-07-02T15:18:31.042" v="18689" actId="478"/>
          <ac:picMkLst>
            <pc:docMk/>
            <pc:sldMk cId="575130139" sldId="862"/>
            <ac:picMk id="14" creationId="{CD2EAEF4-7CED-79FD-7BDE-3E6B250D91FB}"/>
          </ac:picMkLst>
        </pc:picChg>
        <pc:picChg chg="add mod modCrop">
          <ac:chgData name="Andreas Koksrud" userId="9d9beba6-c052-407a-8599-c781a677a996" providerId="ADAL" clId="{4C89AD2D-B60A-479F-9F95-9D423A06FAEA}" dt="2024-07-02T15:17:50.192" v="18649" actId="732"/>
          <ac:picMkLst>
            <pc:docMk/>
            <pc:sldMk cId="575130139" sldId="862"/>
            <ac:picMk id="16" creationId="{4D9DADFD-10FA-19A6-98E4-610C81750C85}"/>
          </ac:picMkLst>
        </pc:picChg>
        <pc:picChg chg="add mod modCrop">
          <ac:chgData name="Andreas Koksrud" userId="9d9beba6-c052-407a-8599-c781a677a996" providerId="ADAL" clId="{4C89AD2D-B60A-479F-9F95-9D423A06FAEA}" dt="2024-07-02T15:19:25.435" v="18697" actId="1076"/>
          <ac:picMkLst>
            <pc:docMk/>
            <pc:sldMk cId="575130139" sldId="862"/>
            <ac:picMk id="18" creationId="{DE5F48FC-3C42-5859-4351-E0D25B460A59}"/>
          </ac:picMkLst>
        </pc:picChg>
        <pc:picChg chg="add mod">
          <ac:chgData name="Andreas Koksrud" userId="9d9beba6-c052-407a-8599-c781a677a996" providerId="ADAL" clId="{4C89AD2D-B60A-479F-9F95-9D423A06FAEA}" dt="2024-07-02T15:19:26.867" v="18698" actId="1076"/>
          <ac:picMkLst>
            <pc:docMk/>
            <pc:sldMk cId="575130139" sldId="862"/>
            <ac:picMk id="20" creationId="{D269A6E6-DC19-3C34-5B65-3556FAACB2F8}"/>
          </ac:picMkLst>
        </pc:picChg>
        <pc:picChg chg="add mod">
          <ac:chgData name="Andreas Koksrud" userId="9d9beba6-c052-407a-8599-c781a677a996" providerId="ADAL" clId="{4C89AD2D-B60A-479F-9F95-9D423A06FAEA}" dt="2024-07-02T18:29:24.673" v="19792" actId="1076"/>
          <ac:picMkLst>
            <pc:docMk/>
            <pc:sldMk cId="575130139" sldId="862"/>
            <ac:picMk id="28" creationId="{041E496F-A3DC-1F55-A8AB-BFC57EF2B80D}"/>
          </ac:picMkLst>
        </pc:picChg>
        <pc:cxnChg chg="add mod">
          <ac:chgData name="Andreas Koksrud" userId="9d9beba6-c052-407a-8599-c781a677a996" providerId="ADAL" clId="{4C89AD2D-B60A-479F-9F95-9D423A06FAEA}" dt="2024-07-02T15:22:55.140" v="18762" actId="14100"/>
          <ac:cxnSpMkLst>
            <pc:docMk/>
            <pc:sldMk cId="575130139" sldId="862"/>
            <ac:cxnSpMk id="21" creationId="{EC927A16-2591-A872-203C-B66E8FFBC2DB}"/>
          </ac:cxnSpMkLst>
        </pc:cxnChg>
        <pc:cxnChg chg="add mod">
          <ac:chgData name="Andreas Koksrud" userId="9d9beba6-c052-407a-8599-c781a677a996" providerId="ADAL" clId="{4C89AD2D-B60A-479F-9F95-9D423A06FAEA}" dt="2024-07-02T18:29:27.135" v="19793" actId="14100"/>
          <ac:cxnSpMkLst>
            <pc:docMk/>
            <pc:sldMk cId="575130139" sldId="862"/>
            <ac:cxnSpMk id="29" creationId="{4AA91FC9-26E9-A112-C75C-D38CEBFA6814}"/>
          </ac:cxnSpMkLst>
        </pc:cxnChg>
      </pc:sldChg>
      <pc:sldChg chg="addSp delSp modSp add del mod">
        <pc:chgData name="Andreas Koksrud" userId="9d9beba6-c052-407a-8599-c781a677a996" providerId="ADAL" clId="{4C89AD2D-B60A-479F-9F95-9D423A06FAEA}" dt="2024-07-20T18:58:13.157" v="26095" actId="6549"/>
        <pc:sldMkLst>
          <pc:docMk/>
          <pc:sldMk cId="3027998341" sldId="863"/>
        </pc:sldMkLst>
        <pc:spChg chg="add mod">
          <ac:chgData name="Andreas Koksrud" userId="9d9beba6-c052-407a-8599-c781a677a996" providerId="ADAL" clId="{4C89AD2D-B60A-479F-9F95-9D423A06FAEA}" dt="2024-06-14T18:20:42.779" v="6533"/>
          <ac:spMkLst>
            <pc:docMk/>
            <pc:sldMk cId="3027998341" sldId="863"/>
            <ac:spMk id="2" creationId="{17A74DFD-2B00-B391-E59A-ED4EA05816E8}"/>
          </ac:spMkLst>
        </pc:spChg>
        <pc:spChg chg="add mod">
          <ac:chgData name="Andreas Koksrud" userId="9d9beba6-c052-407a-8599-c781a677a996" providerId="ADAL" clId="{4C89AD2D-B60A-479F-9F95-9D423A06FAEA}" dt="2024-06-14T18:20:42.779" v="6533"/>
          <ac:spMkLst>
            <pc:docMk/>
            <pc:sldMk cId="3027998341" sldId="863"/>
            <ac:spMk id="3" creationId="{3BA462E2-B807-F22E-43E0-EEED9979F7C5}"/>
          </ac:spMkLst>
        </pc:spChg>
        <pc:spChg chg="add mod">
          <ac:chgData name="Andreas Koksrud" userId="9d9beba6-c052-407a-8599-c781a677a996" providerId="ADAL" clId="{4C89AD2D-B60A-479F-9F95-9D423A06FAEA}" dt="2024-07-20T18:58:13.157" v="26095" actId="6549"/>
          <ac:spMkLst>
            <pc:docMk/>
            <pc:sldMk cId="3027998341" sldId="863"/>
            <ac:spMk id="6" creationId="{D66CA787-D3BF-24C5-DD37-94892B12E37B}"/>
          </ac:spMkLst>
        </pc:spChg>
        <pc:spChg chg="add del mod">
          <ac:chgData name="Andreas Koksrud" userId="9d9beba6-c052-407a-8599-c781a677a996" providerId="ADAL" clId="{4C89AD2D-B60A-479F-9F95-9D423A06FAEA}" dt="2024-07-02T18:22:31.295" v="19697" actId="478"/>
          <ac:spMkLst>
            <pc:docMk/>
            <pc:sldMk cId="3027998341" sldId="863"/>
            <ac:spMk id="11" creationId="{CED52913-1A48-6A02-77F0-4F9F05FEB686}"/>
          </ac:spMkLst>
        </pc:spChg>
        <pc:spChg chg="add mod">
          <ac:chgData name="Andreas Koksrud" userId="9d9beba6-c052-407a-8599-c781a677a996" providerId="ADAL" clId="{4C89AD2D-B60A-479F-9F95-9D423A06FAEA}" dt="2024-07-20T18:57:46.830" v="26085" actId="6549"/>
          <ac:spMkLst>
            <pc:docMk/>
            <pc:sldMk cId="3027998341" sldId="863"/>
            <ac:spMk id="13" creationId="{C1ED8D54-28B4-8D9C-6C64-FB1501648279}"/>
          </ac:spMkLst>
        </pc:spChg>
        <pc:spChg chg="mod">
          <ac:chgData name="Andreas Koksrud" userId="9d9beba6-c052-407a-8599-c781a677a996" providerId="ADAL" clId="{4C89AD2D-B60A-479F-9F95-9D423A06FAEA}" dt="2024-07-02T18:12:13.396" v="19037" actId="14100"/>
          <ac:spMkLst>
            <pc:docMk/>
            <pc:sldMk cId="3027998341" sldId="863"/>
            <ac:spMk id="14" creationId="{C85A9E99-AA4E-C194-FF2A-6C5AC5C1CF94}"/>
          </ac:spMkLst>
        </pc:spChg>
        <pc:spChg chg="mod">
          <ac:chgData name="Andreas Koksrud" userId="9d9beba6-c052-407a-8599-c781a677a996" providerId="ADAL" clId="{4C89AD2D-B60A-479F-9F95-9D423A06FAEA}" dt="2024-07-02T18:11:56.946" v="18975" actId="20577"/>
          <ac:spMkLst>
            <pc:docMk/>
            <pc:sldMk cId="3027998341" sldId="863"/>
            <ac:spMk id="180" creationId="{00000000-0000-0000-0000-000000000000}"/>
          </ac:spMkLst>
        </pc:spChg>
        <pc:picChg chg="add del mod modCrop">
          <ac:chgData name="Andreas Koksrud" userId="9d9beba6-c052-407a-8599-c781a677a996" providerId="ADAL" clId="{4C89AD2D-B60A-479F-9F95-9D423A06FAEA}" dt="2024-07-02T18:20:49.365" v="19222" actId="478"/>
          <ac:picMkLst>
            <pc:docMk/>
            <pc:sldMk cId="3027998341" sldId="863"/>
            <ac:picMk id="5" creationId="{10B6AE89-5894-0CBC-5D4F-85FB66660FAB}"/>
          </ac:picMkLst>
        </pc:picChg>
        <pc:picChg chg="add del mod">
          <ac:chgData name="Andreas Koksrud" userId="9d9beba6-c052-407a-8599-c781a677a996" providerId="ADAL" clId="{4C89AD2D-B60A-479F-9F95-9D423A06FAEA}" dt="2024-07-02T18:19:26.645" v="19212" actId="478"/>
          <ac:picMkLst>
            <pc:docMk/>
            <pc:sldMk cId="3027998341" sldId="863"/>
            <ac:picMk id="8" creationId="{F50CFD08-9AB6-81D5-CE87-F5F3F24D1EBB}"/>
          </ac:picMkLst>
        </pc:picChg>
        <pc:picChg chg="del">
          <ac:chgData name="Andreas Koksrud" userId="9d9beba6-c052-407a-8599-c781a677a996" providerId="ADAL" clId="{4C89AD2D-B60A-479F-9F95-9D423A06FAEA}" dt="2024-07-02T18:17:55.299" v="19129" actId="478"/>
          <ac:picMkLst>
            <pc:docMk/>
            <pc:sldMk cId="3027998341" sldId="863"/>
            <ac:picMk id="9" creationId="{B39AEE37-E5E1-FD33-5317-53FB4A2C1415}"/>
          </ac:picMkLst>
        </pc:picChg>
        <pc:picChg chg="del">
          <ac:chgData name="Andreas Koksrud" userId="9d9beba6-c052-407a-8599-c781a677a996" providerId="ADAL" clId="{4C89AD2D-B60A-479F-9F95-9D423A06FAEA}" dt="2024-07-02T18:13:19.433" v="19038" actId="478"/>
          <ac:picMkLst>
            <pc:docMk/>
            <pc:sldMk cId="3027998341" sldId="863"/>
            <ac:picMk id="10" creationId="{D53ABFBC-DDEE-E0B1-EBD7-A03E15A1AD96}"/>
          </ac:picMkLst>
        </pc:picChg>
        <pc:picChg chg="del">
          <ac:chgData name="Andreas Koksrud" userId="9d9beba6-c052-407a-8599-c781a677a996" providerId="ADAL" clId="{4C89AD2D-B60A-479F-9F95-9D423A06FAEA}" dt="2024-07-02T18:18:57.308" v="19208" actId="478"/>
          <ac:picMkLst>
            <pc:docMk/>
            <pc:sldMk cId="3027998341" sldId="863"/>
            <ac:picMk id="12" creationId="{36E36D84-4DF4-898C-B0E4-F15DFC15B501}"/>
          </ac:picMkLst>
        </pc:picChg>
      </pc:sldChg>
      <pc:sldChg chg="addSp delSp modSp add del mod">
        <pc:chgData name="Andreas Koksrud" userId="9d9beba6-c052-407a-8599-c781a677a996" providerId="ADAL" clId="{4C89AD2D-B60A-479F-9F95-9D423A06FAEA}" dt="2024-07-20T18:58:47.139" v="26109" actId="20577"/>
        <pc:sldMkLst>
          <pc:docMk/>
          <pc:sldMk cId="2970237999" sldId="864"/>
        </pc:sldMkLst>
        <pc:spChg chg="add mod">
          <ac:chgData name="Andreas Koksrud" userId="9d9beba6-c052-407a-8599-c781a677a996" providerId="ADAL" clId="{4C89AD2D-B60A-479F-9F95-9D423A06FAEA}" dt="2024-06-14T18:20:43.793" v="6534"/>
          <ac:spMkLst>
            <pc:docMk/>
            <pc:sldMk cId="2970237999" sldId="864"/>
            <ac:spMk id="2" creationId="{5A56B88F-F533-AA01-EE24-F49D6CE124E8}"/>
          </ac:spMkLst>
        </pc:spChg>
        <pc:spChg chg="del">
          <ac:chgData name="Andreas Koksrud" userId="9d9beba6-c052-407a-8599-c781a677a996" providerId="ADAL" clId="{4C89AD2D-B60A-479F-9F95-9D423A06FAEA}" dt="2024-07-02T18:45:36.345" v="19891" actId="478"/>
          <ac:spMkLst>
            <pc:docMk/>
            <pc:sldMk cId="2970237999" sldId="864"/>
            <ac:spMk id="4" creationId="{573949ED-BBE9-BE91-D23E-060B19D06828}"/>
          </ac:spMkLst>
        </pc:spChg>
        <pc:spChg chg="add mod">
          <ac:chgData name="Andreas Koksrud" userId="9d9beba6-c052-407a-8599-c781a677a996" providerId="ADAL" clId="{4C89AD2D-B60A-479F-9F95-9D423A06FAEA}" dt="2024-06-14T18:20:43.793" v="6534"/>
          <ac:spMkLst>
            <pc:docMk/>
            <pc:sldMk cId="2970237999" sldId="864"/>
            <ac:spMk id="5" creationId="{3A51921F-6FDD-0861-65C2-D29FFCE1CD90}"/>
          </ac:spMkLst>
        </pc:spChg>
        <pc:spChg chg="del mod">
          <ac:chgData name="Andreas Koksrud" userId="9d9beba6-c052-407a-8599-c781a677a996" providerId="ADAL" clId="{4C89AD2D-B60A-479F-9F95-9D423A06FAEA}" dt="2024-07-02T18:45:37.749" v="19892" actId="478"/>
          <ac:spMkLst>
            <pc:docMk/>
            <pc:sldMk cId="2970237999" sldId="864"/>
            <ac:spMk id="6" creationId="{AFC032CF-68CF-022B-D3ED-67C34FCA9DA6}"/>
          </ac:spMkLst>
        </pc:spChg>
        <pc:spChg chg="add del mod">
          <ac:chgData name="Andreas Koksrud" userId="9d9beba6-c052-407a-8599-c781a677a996" providerId="ADAL" clId="{4C89AD2D-B60A-479F-9F95-9D423A06FAEA}" dt="2024-07-02T18:47:36.019" v="19977" actId="478"/>
          <ac:spMkLst>
            <pc:docMk/>
            <pc:sldMk cId="2970237999" sldId="864"/>
            <ac:spMk id="7" creationId="{2A7F7F57-E92E-80BB-F4EB-78182E544B22}"/>
          </ac:spMkLst>
        </pc:spChg>
        <pc:spChg chg="add mod">
          <ac:chgData name="Andreas Koksrud" userId="9d9beba6-c052-407a-8599-c781a677a996" providerId="ADAL" clId="{4C89AD2D-B60A-479F-9F95-9D423A06FAEA}" dt="2024-07-02T18:45:50.814" v="19893"/>
          <ac:spMkLst>
            <pc:docMk/>
            <pc:sldMk cId="2970237999" sldId="864"/>
            <ac:spMk id="8" creationId="{D895C0DE-5A5E-BAD0-09E1-C0CCA6D2E272}"/>
          </ac:spMkLst>
        </pc:spChg>
        <pc:spChg chg="add mod">
          <ac:chgData name="Andreas Koksrud" userId="9d9beba6-c052-407a-8599-c781a677a996" providerId="ADAL" clId="{4C89AD2D-B60A-479F-9F95-9D423A06FAEA}" dt="2024-07-02T18:47:48.221" v="20019" actId="20577"/>
          <ac:spMkLst>
            <pc:docMk/>
            <pc:sldMk cId="2970237999" sldId="864"/>
            <ac:spMk id="9" creationId="{C5D0C8DA-7085-00DB-1E89-BC180452B60B}"/>
          </ac:spMkLst>
        </pc:spChg>
        <pc:spChg chg="del">
          <ac:chgData name="Andreas Koksrud" userId="9d9beba6-c052-407a-8599-c781a677a996" providerId="ADAL" clId="{4C89AD2D-B60A-479F-9F95-9D423A06FAEA}" dt="2024-07-02T18:47:54.238" v="20020" actId="478"/>
          <ac:spMkLst>
            <pc:docMk/>
            <pc:sldMk cId="2970237999" sldId="864"/>
            <ac:spMk id="10" creationId="{2C5B1494-1D58-BF1C-FD1F-05B2284547CD}"/>
          </ac:spMkLst>
        </pc:spChg>
        <pc:spChg chg="del">
          <ac:chgData name="Andreas Koksrud" userId="9d9beba6-c052-407a-8599-c781a677a996" providerId="ADAL" clId="{4C89AD2D-B60A-479F-9F95-9D423A06FAEA}" dt="2024-07-02T18:47:55.938" v="20021" actId="478"/>
          <ac:spMkLst>
            <pc:docMk/>
            <pc:sldMk cId="2970237999" sldId="864"/>
            <ac:spMk id="11" creationId="{A033C1BF-07A1-0CE1-77A7-B916038F8BFB}"/>
          </ac:spMkLst>
        </pc:spChg>
        <pc:spChg chg="mod">
          <ac:chgData name="Andreas Koksrud" userId="9d9beba6-c052-407a-8599-c781a677a996" providerId="ADAL" clId="{4C89AD2D-B60A-479F-9F95-9D423A06FAEA}" dt="2024-07-02T18:45:30.982" v="19890" actId="20577"/>
          <ac:spMkLst>
            <pc:docMk/>
            <pc:sldMk cId="2970237999" sldId="864"/>
            <ac:spMk id="14" creationId="{C85A9E99-AA4E-C194-FF2A-6C5AC5C1CF94}"/>
          </ac:spMkLst>
        </pc:spChg>
        <pc:spChg chg="add mod">
          <ac:chgData name="Andreas Koksrud" userId="9d9beba6-c052-407a-8599-c781a677a996" providerId="ADAL" clId="{4C89AD2D-B60A-479F-9F95-9D423A06FAEA}" dt="2024-07-02T18:49:13.985" v="20032" actId="14100"/>
          <ac:spMkLst>
            <pc:docMk/>
            <pc:sldMk cId="2970237999" sldId="864"/>
            <ac:spMk id="19" creationId="{FF82F14C-31B3-80C9-C4DB-E8559F942254}"/>
          </ac:spMkLst>
        </pc:spChg>
        <pc:spChg chg="mod">
          <ac:chgData name="Andreas Koksrud" userId="9d9beba6-c052-407a-8599-c781a677a996" providerId="ADAL" clId="{4C89AD2D-B60A-479F-9F95-9D423A06FAEA}" dt="2024-07-20T18:58:47.139" v="26109" actId="20577"/>
          <ac:spMkLst>
            <pc:docMk/>
            <pc:sldMk cId="2970237999" sldId="864"/>
            <ac:spMk id="180" creationId="{00000000-0000-0000-0000-000000000000}"/>
          </ac:spMkLst>
        </pc:spChg>
        <pc:picChg chg="mod">
          <ac:chgData name="Andreas Koksrud" userId="9d9beba6-c052-407a-8599-c781a677a996" providerId="ADAL" clId="{4C89AD2D-B60A-479F-9F95-9D423A06FAEA}" dt="2024-07-02T18:33:27.808" v="19795" actId="14826"/>
          <ac:picMkLst>
            <pc:docMk/>
            <pc:sldMk cId="2970237999" sldId="864"/>
            <ac:picMk id="3" creationId="{C73A5D59-A3A1-B1EB-7D4C-49EAFDDF8D35}"/>
          </ac:picMkLst>
        </pc:picChg>
        <pc:picChg chg="add mod modCrop">
          <ac:chgData name="Andreas Koksrud" userId="9d9beba6-c052-407a-8599-c781a677a996" providerId="ADAL" clId="{4C89AD2D-B60A-479F-9F95-9D423A06FAEA}" dt="2024-07-02T18:48:22.437" v="20024" actId="732"/>
          <ac:picMkLst>
            <pc:docMk/>
            <pc:sldMk cId="2970237999" sldId="864"/>
            <ac:picMk id="13" creationId="{5AC913F4-50DE-366E-19F6-ADB839FEAF31}"/>
          </ac:picMkLst>
        </pc:picChg>
        <pc:cxnChg chg="add mod">
          <ac:chgData name="Andreas Koksrud" userId="9d9beba6-c052-407a-8599-c781a677a996" providerId="ADAL" clId="{4C89AD2D-B60A-479F-9F95-9D423A06FAEA}" dt="2024-07-02T18:49:22.932" v="20033" actId="14100"/>
          <ac:cxnSpMkLst>
            <pc:docMk/>
            <pc:sldMk cId="2970237999" sldId="864"/>
            <ac:cxnSpMk id="15" creationId="{19DA8578-13B5-7BEC-8B5B-8636BC334503}"/>
          </ac:cxnSpMkLst>
        </pc:cxnChg>
      </pc:sldChg>
      <pc:sldChg chg="addSp delSp modSp add del mod">
        <pc:chgData name="Andreas Koksrud" userId="9d9beba6-c052-407a-8599-c781a677a996" providerId="ADAL" clId="{4C89AD2D-B60A-479F-9F95-9D423A06FAEA}" dt="2024-07-02T18:51:39.687" v="20037" actId="1076"/>
        <pc:sldMkLst>
          <pc:docMk/>
          <pc:sldMk cId="1445178992" sldId="865"/>
        </pc:sldMkLst>
        <pc:spChg chg="add mod">
          <ac:chgData name="Andreas Koksrud" userId="9d9beba6-c052-407a-8599-c781a677a996" providerId="ADAL" clId="{4C89AD2D-B60A-479F-9F95-9D423A06FAEA}" dt="2024-06-14T18:20:44.765" v="6535"/>
          <ac:spMkLst>
            <pc:docMk/>
            <pc:sldMk cId="1445178992" sldId="865"/>
            <ac:spMk id="2" creationId="{905DF99C-FD39-BD07-8B7D-CD8CEB3BA98F}"/>
          </ac:spMkLst>
        </pc:spChg>
        <pc:spChg chg="add mod">
          <ac:chgData name="Andreas Koksrud" userId="9d9beba6-c052-407a-8599-c781a677a996" providerId="ADAL" clId="{4C89AD2D-B60A-479F-9F95-9D423A06FAEA}" dt="2024-06-14T18:20:44.765" v="6535"/>
          <ac:spMkLst>
            <pc:docMk/>
            <pc:sldMk cId="1445178992" sldId="865"/>
            <ac:spMk id="4" creationId="{3440CA42-C58B-F058-4FA1-B62FA1632640}"/>
          </ac:spMkLst>
        </pc:spChg>
        <pc:spChg chg="mod">
          <ac:chgData name="Andreas Koksrud" userId="9d9beba6-c052-407a-8599-c781a677a996" providerId="ADAL" clId="{4C89AD2D-B60A-479F-9F95-9D423A06FAEA}" dt="2024-07-02T18:51:04.733" v="20035" actId="20577"/>
          <ac:spMkLst>
            <pc:docMk/>
            <pc:sldMk cId="1445178992" sldId="865"/>
            <ac:spMk id="180" creationId="{00000000-0000-0000-0000-000000000000}"/>
          </ac:spMkLst>
        </pc:spChg>
        <pc:picChg chg="del">
          <ac:chgData name="Andreas Koksrud" userId="9d9beba6-c052-407a-8599-c781a677a996" providerId="ADAL" clId="{4C89AD2D-B60A-479F-9F95-9D423A06FAEA}" dt="2024-07-02T18:51:02.528" v="20034" actId="478"/>
          <ac:picMkLst>
            <pc:docMk/>
            <pc:sldMk cId="1445178992" sldId="865"/>
            <ac:picMk id="3" creationId="{5CDD4ADA-7AE8-6882-B49C-4834CA98ED6E}"/>
          </ac:picMkLst>
        </pc:picChg>
        <pc:picChg chg="add mod">
          <ac:chgData name="Andreas Koksrud" userId="9d9beba6-c052-407a-8599-c781a677a996" providerId="ADAL" clId="{4C89AD2D-B60A-479F-9F95-9D423A06FAEA}" dt="2024-07-02T18:51:39.687" v="20037" actId="1076"/>
          <ac:picMkLst>
            <pc:docMk/>
            <pc:sldMk cId="1445178992" sldId="865"/>
            <ac:picMk id="6" creationId="{406014D9-A234-5B5D-E8B8-68513C21336B}"/>
          </ac:picMkLst>
        </pc:picChg>
      </pc:sldChg>
      <pc:sldChg chg="addSp modSp add del">
        <pc:chgData name="Andreas Koksrud" userId="9d9beba6-c052-407a-8599-c781a677a996" providerId="ADAL" clId="{4C89AD2D-B60A-479F-9F95-9D423A06FAEA}" dt="2024-07-20T19:00:01.639" v="26111" actId="2696"/>
        <pc:sldMkLst>
          <pc:docMk/>
          <pc:sldMk cId="141793938" sldId="866"/>
        </pc:sldMkLst>
        <pc:spChg chg="add mod">
          <ac:chgData name="Andreas Koksrud" userId="9d9beba6-c052-407a-8599-c781a677a996" providerId="ADAL" clId="{4C89AD2D-B60A-479F-9F95-9D423A06FAEA}" dt="2024-06-14T18:20:46.607" v="6537"/>
          <ac:spMkLst>
            <pc:docMk/>
            <pc:sldMk cId="141793938" sldId="866"/>
            <ac:spMk id="2" creationId="{6A7E35AE-BC31-EA0A-D241-CBD854D7F0CF}"/>
          </ac:spMkLst>
        </pc:spChg>
        <pc:spChg chg="add mod">
          <ac:chgData name="Andreas Koksrud" userId="9d9beba6-c052-407a-8599-c781a677a996" providerId="ADAL" clId="{4C89AD2D-B60A-479F-9F95-9D423A06FAEA}" dt="2024-06-14T18:20:46.607" v="6537"/>
          <ac:spMkLst>
            <pc:docMk/>
            <pc:sldMk cId="141793938" sldId="866"/>
            <ac:spMk id="5" creationId="{234C2E22-9175-2E32-DE66-E8C998431A36}"/>
          </ac:spMkLst>
        </pc:spChg>
      </pc:sldChg>
      <pc:sldChg chg="addSp modSp add del mod">
        <pc:chgData name="Andreas Koksrud" userId="9d9beba6-c052-407a-8599-c781a677a996" providerId="ADAL" clId="{4C89AD2D-B60A-479F-9F95-9D423A06FAEA}" dt="2024-07-20T18:59:29.290" v="26110" actId="732"/>
        <pc:sldMkLst>
          <pc:docMk/>
          <pc:sldMk cId="3994882627" sldId="867"/>
        </pc:sldMkLst>
        <pc:spChg chg="add mod">
          <ac:chgData name="Andreas Koksrud" userId="9d9beba6-c052-407a-8599-c781a677a996" providerId="ADAL" clId="{4C89AD2D-B60A-479F-9F95-9D423A06FAEA}" dt="2024-06-14T18:20:45.705" v="6536"/>
          <ac:spMkLst>
            <pc:docMk/>
            <pc:sldMk cId="3994882627" sldId="867"/>
            <ac:spMk id="2" creationId="{D32DEF22-23EF-3705-A8AC-D7D9A74FC18A}"/>
          </ac:spMkLst>
        </pc:spChg>
        <pc:spChg chg="add mod">
          <ac:chgData name="Andreas Koksrud" userId="9d9beba6-c052-407a-8599-c781a677a996" providerId="ADAL" clId="{4C89AD2D-B60A-479F-9F95-9D423A06FAEA}" dt="2024-06-14T18:20:45.705" v="6536"/>
          <ac:spMkLst>
            <pc:docMk/>
            <pc:sldMk cId="3994882627" sldId="867"/>
            <ac:spMk id="3" creationId="{021D0895-1BD4-E42E-90B2-511DFB6CF3C8}"/>
          </ac:spMkLst>
        </pc:spChg>
        <pc:picChg chg="mod modCrop">
          <ac:chgData name="Andreas Koksrud" userId="9d9beba6-c052-407a-8599-c781a677a996" providerId="ADAL" clId="{4C89AD2D-B60A-479F-9F95-9D423A06FAEA}" dt="2024-07-20T18:59:29.290" v="26110" actId="732"/>
          <ac:picMkLst>
            <pc:docMk/>
            <pc:sldMk cId="3994882627" sldId="867"/>
            <ac:picMk id="7" creationId="{0C39E68A-7DF6-807B-0249-BADDB1320D18}"/>
          </ac:picMkLst>
        </pc:picChg>
      </pc:sldChg>
      <pc:sldChg chg="addSp modSp add">
        <pc:chgData name="Andreas Koksrud" userId="9d9beba6-c052-407a-8599-c781a677a996" providerId="ADAL" clId="{4C89AD2D-B60A-479F-9F95-9D423A06FAEA}" dt="2024-06-14T18:23:18.039" v="6651"/>
        <pc:sldMkLst>
          <pc:docMk/>
          <pc:sldMk cId="4078051789" sldId="868"/>
        </pc:sldMkLst>
        <pc:spChg chg="add mod">
          <ac:chgData name="Andreas Koksrud" userId="9d9beba6-c052-407a-8599-c781a677a996" providerId="ADAL" clId="{4C89AD2D-B60A-479F-9F95-9D423A06FAEA}" dt="2024-06-14T18:23:18.039" v="6651"/>
          <ac:spMkLst>
            <pc:docMk/>
            <pc:sldMk cId="4078051789" sldId="868"/>
            <ac:spMk id="4" creationId="{51A729EE-1E8B-DEA3-1D41-E1838F14F2D4}"/>
          </ac:spMkLst>
        </pc:spChg>
        <pc:spChg chg="add mod">
          <ac:chgData name="Andreas Koksrud" userId="9d9beba6-c052-407a-8599-c781a677a996" providerId="ADAL" clId="{4C89AD2D-B60A-479F-9F95-9D423A06FAEA}" dt="2024-06-14T18:23:18.039" v="6651"/>
          <ac:spMkLst>
            <pc:docMk/>
            <pc:sldMk cId="4078051789" sldId="868"/>
            <ac:spMk id="5" creationId="{76E046D2-E50A-AB22-7C8B-E67A10B15C9E}"/>
          </ac:spMkLst>
        </pc:spChg>
      </pc:sldChg>
      <pc:sldChg chg="addSp modSp add del">
        <pc:chgData name="Andreas Koksrud" userId="9d9beba6-c052-407a-8599-c781a677a996" providerId="ADAL" clId="{4C89AD2D-B60A-479F-9F95-9D423A06FAEA}" dt="2024-06-14T18:24:43.141" v="6772"/>
        <pc:sldMkLst>
          <pc:docMk/>
          <pc:sldMk cId="612492956" sldId="869"/>
        </pc:sldMkLst>
        <pc:spChg chg="add mod">
          <ac:chgData name="Andreas Koksrud" userId="9d9beba6-c052-407a-8599-c781a677a996" providerId="ADAL" clId="{4C89AD2D-B60A-479F-9F95-9D423A06FAEA}" dt="2024-06-14T18:24:43.141" v="6772"/>
          <ac:spMkLst>
            <pc:docMk/>
            <pc:sldMk cId="612492956" sldId="869"/>
            <ac:spMk id="2" creationId="{C60CABA2-F0CC-8F29-585F-FBFA154CD34F}"/>
          </ac:spMkLst>
        </pc:spChg>
        <pc:spChg chg="add mod">
          <ac:chgData name="Andreas Koksrud" userId="9d9beba6-c052-407a-8599-c781a677a996" providerId="ADAL" clId="{4C89AD2D-B60A-479F-9F95-9D423A06FAEA}" dt="2024-06-14T18:24:43.141" v="6772"/>
          <ac:spMkLst>
            <pc:docMk/>
            <pc:sldMk cId="612492956" sldId="869"/>
            <ac:spMk id="3" creationId="{32020905-DC1C-CCD1-C4AE-62F8994946A2}"/>
          </ac:spMkLst>
        </pc:spChg>
      </pc:sldChg>
      <pc:sldChg chg="addSp modSp add del">
        <pc:chgData name="Andreas Koksrud" userId="9d9beba6-c052-407a-8599-c781a677a996" providerId="ADAL" clId="{4C89AD2D-B60A-479F-9F95-9D423A06FAEA}" dt="2024-06-14T18:24:36.916" v="6767"/>
        <pc:sldMkLst>
          <pc:docMk/>
          <pc:sldMk cId="118550550" sldId="870"/>
        </pc:sldMkLst>
        <pc:spChg chg="add mod">
          <ac:chgData name="Andreas Koksrud" userId="9d9beba6-c052-407a-8599-c781a677a996" providerId="ADAL" clId="{4C89AD2D-B60A-479F-9F95-9D423A06FAEA}" dt="2024-06-14T18:24:36.916" v="6767"/>
          <ac:spMkLst>
            <pc:docMk/>
            <pc:sldMk cId="118550550" sldId="870"/>
            <ac:spMk id="2" creationId="{8A4A0167-F03C-40E4-378A-CCAF143EE3B0}"/>
          </ac:spMkLst>
        </pc:spChg>
        <pc:spChg chg="add mod">
          <ac:chgData name="Andreas Koksrud" userId="9d9beba6-c052-407a-8599-c781a677a996" providerId="ADAL" clId="{4C89AD2D-B60A-479F-9F95-9D423A06FAEA}" dt="2024-06-14T18:24:36.916" v="6767"/>
          <ac:spMkLst>
            <pc:docMk/>
            <pc:sldMk cId="118550550" sldId="870"/>
            <ac:spMk id="3" creationId="{1116D423-D4BC-D2DB-0D85-F7A742563FE2}"/>
          </ac:spMkLst>
        </pc:spChg>
      </pc:sldChg>
      <pc:sldChg chg="addSp modSp add del">
        <pc:chgData name="Andreas Koksrud" userId="9d9beba6-c052-407a-8599-c781a677a996" providerId="ADAL" clId="{4C89AD2D-B60A-479F-9F95-9D423A06FAEA}" dt="2024-06-14T18:24:53.617" v="6783"/>
        <pc:sldMkLst>
          <pc:docMk/>
          <pc:sldMk cId="548472017" sldId="871"/>
        </pc:sldMkLst>
        <pc:spChg chg="add mod">
          <ac:chgData name="Andreas Koksrud" userId="9d9beba6-c052-407a-8599-c781a677a996" providerId="ADAL" clId="{4C89AD2D-B60A-479F-9F95-9D423A06FAEA}" dt="2024-06-14T18:24:53.617" v="6783"/>
          <ac:spMkLst>
            <pc:docMk/>
            <pc:sldMk cId="548472017" sldId="871"/>
            <ac:spMk id="5" creationId="{0543135C-85B8-2502-BDC6-802652B285FF}"/>
          </ac:spMkLst>
        </pc:spChg>
        <pc:spChg chg="add mod">
          <ac:chgData name="Andreas Koksrud" userId="9d9beba6-c052-407a-8599-c781a677a996" providerId="ADAL" clId="{4C89AD2D-B60A-479F-9F95-9D423A06FAEA}" dt="2024-06-14T18:24:53.617" v="6783"/>
          <ac:spMkLst>
            <pc:docMk/>
            <pc:sldMk cId="548472017" sldId="871"/>
            <ac:spMk id="8" creationId="{F59D8BF2-DFB8-6916-C01F-05C5791D6F82}"/>
          </ac:spMkLst>
        </pc:spChg>
      </pc:sldChg>
      <pc:sldChg chg="addSp delSp modSp add del mod ord">
        <pc:chgData name="Andreas Koksrud" userId="9d9beba6-c052-407a-8599-c781a677a996" providerId="ADAL" clId="{4C89AD2D-B60A-479F-9F95-9D423A06FAEA}" dt="2024-08-03T09:24:05.449" v="34760" actId="2696"/>
        <pc:sldMkLst>
          <pc:docMk/>
          <pc:sldMk cId="1118540174" sldId="872"/>
        </pc:sldMkLst>
        <pc:spChg chg="mod">
          <ac:chgData name="Andreas Koksrud" userId="9d9beba6-c052-407a-8599-c781a677a996" providerId="ADAL" clId="{4C89AD2D-B60A-479F-9F95-9D423A06FAEA}" dt="2024-07-01T18:53:29.703" v="16945" actId="20577"/>
          <ac:spMkLst>
            <pc:docMk/>
            <pc:sldMk cId="1118540174" sldId="872"/>
            <ac:spMk id="2" creationId="{9796E8C1-5924-9DB3-B51B-75296717F89F}"/>
          </ac:spMkLst>
        </pc:spChg>
        <pc:spChg chg="add mod">
          <ac:chgData name="Andreas Koksrud" userId="9d9beba6-c052-407a-8599-c781a677a996" providerId="ADAL" clId="{4C89AD2D-B60A-479F-9F95-9D423A06FAEA}" dt="2024-06-14T18:16:23.627" v="6163"/>
          <ac:spMkLst>
            <pc:docMk/>
            <pc:sldMk cId="1118540174" sldId="872"/>
            <ac:spMk id="3" creationId="{5FE68121-81AE-F2E5-DCD9-C328BBA3F909}"/>
          </ac:spMkLst>
        </pc:spChg>
        <pc:spChg chg="add mod">
          <ac:chgData name="Andreas Koksrud" userId="9d9beba6-c052-407a-8599-c781a677a996" providerId="ADAL" clId="{4C89AD2D-B60A-479F-9F95-9D423A06FAEA}" dt="2024-06-14T18:16:23.627" v="6163"/>
          <ac:spMkLst>
            <pc:docMk/>
            <pc:sldMk cId="1118540174" sldId="872"/>
            <ac:spMk id="4" creationId="{E53BC320-EB76-AACD-B492-E0CEFD69F83A}"/>
          </ac:spMkLst>
        </pc:spChg>
        <pc:spChg chg="add mod">
          <ac:chgData name="Andreas Koksrud" userId="9d9beba6-c052-407a-8599-c781a677a996" providerId="ADAL" clId="{4C89AD2D-B60A-479F-9F95-9D423A06FAEA}" dt="2024-07-01T18:54:40.157" v="16951" actId="207"/>
          <ac:spMkLst>
            <pc:docMk/>
            <pc:sldMk cId="1118540174" sldId="872"/>
            <ac:spMk id="7" creationId="{9CAD7A78-C297-D5CB-20C2-F9524B68D8F8}"/>
          </ac:spMkLst>
        </pc:spChg>
        <pc:spChg chg="mod">
          <ac:chgData name="Andreas Koksrud" userId="9d9beba6-c052-407a-8599-c781a677a996" providerId="ADAL" clId="{4C89AD2D-B60A-479F-9F95-9D423A06FAEA}" dt="2024-06-30T17:05:48.039" v="14409" actId="20577"/>
          <ac:spMkLst>
            <pc:docMk/>
            <pc:sldMk cId="1118540174" sldId="872"/>
            <ac:spMk id="180" creationId="{00000000-0000-0000-0000-000000000000}"/>
          </ac:spMkLst>
        </pc:spChg>
        <pc:picChg chg="add mod">
          <ac:chgData name="Andreas Koksrud" userId="9d9beba6-c052-407a-8599-c781a677a996" providerId="ADAL" clId="{4C89AD2D-B60A-479F-9F95-9D423A06FAEA}" dt="2024-07-01T18:54:19.414" v="16947" actId="1076"/>
          <ac:picMkLst>
            <pc:docMk/>
            <pc:sldMk cId="1118540174" sldId="872"/>
            <ac:picMk id="6" creationId="{D64A7E8A-68D4-500A-2EBD-B2086500FE7B}"/>
          </ac:picMkLst>
        </pc:picChg>
        <pc:picChg chg="del">
          <ac:chgData name="Andreas Koksrud" userId="9d9beba6-c052-407a-8599-c781a677a996" providerId="ADAL" clId="{4C89AD2D-B60A-479F-9F95-9D423A06FAEA}" dt="2024-07-01T18:53:11.863" v="16879" actId="478"/>
          <ac:picMkLst>
            <pc:docMk/>
            <pc:sldMk cId="1118540174" sldId="872"/>
            <ac:picMk id="10" creationId="{89AD7208-33E1-786F-68C4-B07CE69D9B90}"/>
          </ac:picMkLst>
        </pc:picChg>
        <pc:picChg chg="del">
          <ac:chgData name="Andreas Koksrud" userId="9d9beba6-c052-407a-8599-c781a677a996" providerId="ADAL" clId="{4C89AD2D-B60A-479F-9F95-9D423A06FAEA}" dt="2024-07-01T18:53:09.544" v="16878" actId="478"/>
          <ac:picMkLst>
            <pc:docMk/>
            <pc:sldMk cId="1118540174" sldId="872"/>
            <ac:picMk id="13" creationId="{64C063CB-5F33-4B77-965C-B90C6AE27B39}"/>
          </ac:picMkLst>
        </pc:picChg>
        <pc:picChg chg="del">
          <ac:chgData name="Andreas Koksrud" userId="9d9beba6-c052-407a-8599-c781a677a996" providerId="ADAL" clId="{4C89AD2D-B60A-479F-9F95-9D423A06FAEA}" dt="2024-07-01T18:53:11.863" v="16879" actId="478"/>
          <ac:picMkLst>
            <pc:docMk/>
            <pc:sldMk cId="1118540174" sldId="872"/>
            <ac:picMk id="19" creationId="{16102E3D-30A8-E8EE-D800-B326185287B8}"/>
          </ac:picMkLst>
        </pc:picChg>
        <pc:cxnChg chg="add mod">
          <ac:chgData name="Andreas Koksrud" userId="9d9beba6-c052-407a-8599-c781a677a996" providerId="ADAL" clId="{4C89AD2D-B60A-479F-9F95-9D423A06FAEA}" dt="2024-07-01T18:54:57.090" v="16955" actId="14100"/>
          <ac:cxnSpMkLst>
            <pc:docMk/>
            <pc:sldMk cId="1118540174" sldId="872"/>
            <ac:cxnSpMk id="8" creationId="{116A7440-C9A1-683B-A2FF-7FE26B92B190}"/>
          </ac:cxnSpMkLst>
        </pc:cxnChg>
        <pc:cxnChg chg="del">
          <ac:chgData name="Andreas Koksrud" userId="9d9beba6-c052-407a-8599-c781a677a996" providerId="ADAL" clId="{4C89AD2D-B60A-479F-9F95-9D423A06FAEA}" dt="2024-07-01T18:53:11.863" v="16879" actId="478"/>
          <ac:cxnSpMkLst>
            <pc:docMk/>
            <pc:sldMk cId="1118540174" sldId="872"/>
            <ac:cxnSpMk id="14" creationId="{EBD79003-BA5F-9EC4-AB1E-B169474A75BA}"/>
          </ac:cxnSpMkLst>
        </pc:cxnChg>
        <pc:cxnChg chg="del">
          <ac:chgData name="Andreas Koksrud" userId="9d9beba6-c052-407a-8599-c781a677a996" providerId="ADAL" clId="{4C89AD2D-B60A-479F-9F95-9D423A06FAEA}" dt="2024-07-01T18:53:11.863" v="16879" actId="478"/>
          <ac:cxnSpMkLst>
            <pc:docMk/>
            <pc:sldMk cId="1118540174" sldId="872"/>
            <ac:cxnSpMk id="22" creationId="{21009E25-D8DE-E975-55FA-12227386461E}"/>
          </ac:cxnSpMkLst>
        </pc:cxnChg>
      </pc:sldChg>
      <pc:sldChg chg="addSp delSp modSp add mod">
        <pc:chgData name="Andreas Koksrud" userId="9d9beba6-c052-407a-8599-c781a677a996" providerId="ADAL" clId="{4C89AD2D-B60A-479F-9F95-9D423A06FAEA}" dt="2024-08-03T09:27:16.771" v="35039"/>
        <pc:sldMkLst>
          <pc:docMk/>
          <pc:sldMk cId="2547417480" sldId="872"/>
        </pc:sldMkLst>
        <pc:spChg chg="del">
          <ac:chgData name="Andreas Koksrud" userId="9d9beba6-c052-407a-8599-c781a677a996" providerId="ADAL" clId="{4C89AD2D-B60A-479F-9F95-9D423A06FAEA}" dt="2024-08-03T09:27:15.156" v="35037" actId="478"/>
          <ac:spMkLst>
            <pc:docMk/>
            <pc:sldMk cId="2547417480" sldId="872"/>
            <ac:spMk id="3" creationId="{5FE68121-81AE-F2E5-DCD9-C328BBA3F909}"/>
          </ac:spMkLst>
        </pc:spChg>
        <pc:spChg chg="del">
          <ac:chgData name="Andreas Koksrud" userId="9d9beba6-c052-407a-8599-c781a677a996" providerId="ADAL" clId="{4C89AD2D-B60A-479F-9F95-9D423A06FAEA}" dt="2024-08-03T09:27:15.906" v="35038" actId="478"/>
          <ac:spMkLst>
            <pc:docMk/>
            <pc:sldMk cId="2547417480" sldId="872"/>
            <ac:spMk id="4" creationId="{E53BC320-EB76-AACD-B492-E0CEFD69F83A}"/>
          </ac:spMkLst>
        </pc:spChg>
        <pc:spChg chg="add mod">
          <ac:chgData name="Andreas Koksrud" userId="9d9beba6-c052-407a-8599-c781a677a996" providerId="ADAL" clId="{4C89AD2D-B60A-479F-9F95-9D423A06FAEA}" dt="2024-08-03T09:27:16.771" v="35039"/>
          <ac:spMkLst>
            <pc:docMk/>
            <pc:sldMk cId="2547417480" sldId="872"/>
            <ac:spMk id="5" creationId="{10F2D6BD-B21C-8FE8-238D-ED5B9A7DFB0A}"/>
          </ac:spMkLst>
        </pc:spChg>
        <pc:spChg chg="add mod">
          <ac:chgData name="Andreas Koksrud" userId="9d9beba6-c052-407a-8599-c781a677a996" providerId="ADAL" clId="{4C89AD2D-B60A-479F-9F95-9D423A06FAEA}" dt="2024-08-03T09:27:16.771" v="35039"/>
          <ac:spMkLst>
            <pc:docMk/>
            <pc:sldMk cId="2547417480" sldId="872"/>
            <ac:spMk id="9" creationId="{66D07394-7DFD-A3DF-E040-0288B2538468}"/>
          </ac:spMkLst>
        </pc:spChg>
      </pc:sldChg>
      <pc:sldChg chg="addSp modSp add del mod">
        <pc:chgData name="Andreas Koksrud" userId="9d9beba6-c052-407a-8599-c781a677a996" providerId="ADAL" clId="{4C89AD2D-B60A-479F-9F95-9D423A06FAEA}" dt="2024-06-30T17:03:28.286" v="14369" actId="47"/>
        <pc:sldMkLst>
          <pc:docMk/>
          <pc:sldMk cId="2716145312" sldId="873"/>
        </pc:sldMkLst>
        <pc:spChg chg="mod">
          <ac:chgData name="Andreas Koksrud" userId="9d9beba6-c052-407a-8599-c781a677a996" providerId="ADAL" clId="{4C89AD2D-B60A-479F-9F95-9D423A06FAEA}" dt="2024-06-14T18:16:10.824" v="6160" actId="20577"/>
          <ac:spMkLst>
            <pc:docMk/>
            <pc:sldMk cId="2716145312" sldId="873"/>
            <ac:spMk id="2" creationId="{9796E8C1-5924-9DB3-B51B-75296717F89F}"/>
          </ac:spMkLst>
        </pc:spChg>
        <pc:spChg chg="add mod">
          <ac:chgData name="Andreas Koksrud" userId="9d9beba6-c052-407a-8599-c781a677a996" providerId="ADAL" clId="{4C89AD2D-B60A-479F-9F95-9D423A06FAEA}" dt="2024-06-14T18:15:06.643" v="6053"/>
          <ac:spMkLst>
            <pc:docMk/>
            <pc:sldMk cId="2716145312" sldId="873"/>
            <ac:spMk id="3" creationId="{5EA04F7A-278E-36A0-DE0B-AEC138D133FE}"/>
          </ac:spMkLst>
        </pc:spChg>
        <pc:spChg chg="add mod">
          <ac:chgData name="Andreas Koksrud" userId="9d9beba6-c052-407a-8599-c781a677a996" providerId="ADAL" clId="{4C89AD2D-B60A-479F-9F95-9D423A06FAEA}" dt="2024-06-14T18:15:06.643" v="6053"/>
          <ac:spMkLst>
            <pc:docMk/>
            <pc:sldMk cId="2716145312" sldId="873"/>
            <ac:spMk id="4" creationId="{33AE4B2E-5286-0162-46C1-8C49534500D9}"/>
          </ac:spMkLst>
        </pc:spChg>
      </pc:sldChg>
      <pc:sldChg chg="addSp delSp modSp add del mod">
        <pc:chgData name="Andreas Koksrud" userId="9d9beba6-c052-407a-8599-c781a677a996" providerId="ADAL" clId="{4C89AD2D-B60A-479F-9F95-9D423A06FAEA}" dt="2024-07-02T18:47:22.378" v="19976" actId="20577"/>
        <pc:sldMkLst>
          <pc:docMk/>
          <pc:sldMk cId="3240008992" sldId="874"/>
        </pc:sldMkLst>
        <pc:spChg chg="del mod">
          <ac:chgData name="Andreas Koksrud" userId="9d9beba6-c052-407a-8599-c781a677a996" providerId="ADAL" clId="{4C89AD2D-B60A-479F-9F95-9D423A06FAEA}" dt="2024-07-02T18:10:07.437" v="18915" actId="478"/>
          <ac:spMkLst>
            <pc:docMk/>
            <pc:sldMk cId="3240008992" sldId="874"/>
            <ac:spMk id="2" creationId="{8D0A2D7E-A45D-7F55-64BC-5169991AD9FF}"/>
          </ac:spMkLst>
        </pc:spChg>
        <pc:spChg chg="add mod">
          <ac:chgData name="Andreas Koksrud" userId="9d9beba6-c052-407a-8599-c781a677a996" providerId="ADAL" clId="{4C89AD2D-B60A-479F-9F95-9D423A06FAEA}" dt="2024-06-14T18:20:41.751" v="6532"/>
          <ac:spMkLst>
            <pc:docMk/>
            <pc:sldMk cId="3240008992" sldId="874"/>
            <ac:spMk id="4" creationId="{17301EEE-DB8B-DDE6-2EC5-CA50E9CF5C83}"/>
          </ac:spMkLst>
        </pc:spChg>
        <pc:spChg chg="add mod">
          <ac:chgData name="Andreas Koksrud" userId="9d9beba6-c052-407a-8599-c781a677a996" providerId="ADAL" clId="{4C89AD2D-B60A-479F-9F95-9D423A06FAEA}" dt="2024-06-14T18:20:41.751" v="6532"/>
          <ac:spMkLst>
            <pc:docMk/>
            <pc:sldMk cId="3240008992" sldId="874"/>
            <ac:spMk id="5" creationId="{5D1F7A92-C360-088A-2BFA-E464B5120023}"/>
          </ac:spMkLst>
        </pc:spChg>
        <pc:spChg chg="mod">
          <ac:chgData name="Andreas Koksrud" userId="9d9beba6-c052-407a-8599-c781a677a996" providerId="ADAL" clId="{4C89AD2D-B60A-479F-9F95-9D423A06FAEA}" dt="2024-07-02T18:09:07.083" v="18911" actId="20577"/>
          <ac:spMkLst>
            <pc:docMk/>
            <pc:sldMk cId="3240008992" sldId="874"/>
            <ac:spMk id="6" creationId="{D33A7F7C-0CFF-12D8-D3F9-55EA11817DA1}"/>
          </ac:spMkLst>
        </pc:spChg>
        <pc:spChg chg="del mod">
          <ac:chgData name="Andreas Koksrud" userId="9d9beba6-c052-407a-8599-c781a677a996" providerId="ADAL" clId="{4C89AD2D-B60A-479F-9F95-9D423A06FAEA}" dt="2024-07-02T18:10:09.396" v="18916" actId="478"/>
          <ac:spMkLst>
            <pc:docMk/>
            <pc:sldMk cId="3240008992" sldId="874"/>
            <ac:spMk id="7" creationId="{3E2A9D77-722A-7DF2-641F-63C31ADA7283}"/>
          </ac:spMkLst>
        </pc:spChg>
        <pc:spChg chg="add mod">
          <ac:chgData name="Andreas Koksrud" userId="9d9beba6-c052-407a-8599-c781a677a996" providerId="ADAL" clId="{4C89AD2D-B60A-479F-9F95-9D423A06FAEA}" dt="2024-07-02T18:47:22.378" v="19976" actId="20577"/>
          <ac:spMkLst>
            <pc:docMk/>
            <pc:sldMk cId="3240008992" sldId="874"/>
            <ac:spMk id="8" creationId="{8928A11D-61E0-D194-E095-83A6945E510F}"/>
          </ac:spMkLst>
        </pc:spChg>
        <pc:spChg chg="add mod">
          <ac:chgData name="Andreas Koksrud" userId="9d9beba6-c052-407a-8599-c781a677a996" providerId="ADAL" clId="{4C89AD2D-B60A-479F-9F95-9D423A06FAEA}" dt="2024-07-02T18:08:11.041" v="18869" actId="20577"/>
          <ac:spMkLst>
            <pc:docMk/>
            <pc:sldMk cId="3240008992" sldId="874"/>
            <ac:spMk id="9" creationId="{17DE3E7F-EEBC-12A2-C27B-3EB30C84980C}"/>
          </ac:spMkLst>
        </pc:spChg>
        <pc:spChg chg="del">
          <ac:chgData name="Andreas Koksrud" userId="9d9beba6-c052-407a-8599-c781a677a996" providerId="ADAL" clId="{4C89AD2D-B60A-479F-9F95-9D423A06FAEA}" dt="2024-07-02T18:07:29.696" v="18800" actId="478"/>
          <ac:spMkLst>
            <pc:docMk/>
            <pc:sldMk cId="3240008992" sldId="874"/>
            <ac:spMk id="20" creationId="{EBA460F1-79A3-E8FA-8EEE-CE28CA6EBCC2}"/>
          </ac:spMkLst>
        </pc:spChg>
        <pc:spChg chg="mod">
          <ac:chgData name="Andreas Koksrud" userId="9d9beba6-c052-407a-8599-c781a677a996" providerId="ADAL" clId="{4C89AD2D-B60A-479F-9F95-9D423A06FAEA}" dt="2024-07-02T18:07:18.694" v="18798" actId="20577"/>
          <ac:spMkLst>
            <pc:docMk/>
            <pc:sldMk cId="3240008992" sldId="874"/>
            <ac:spMk id="180" creationId="{00000000-0000-0000-0000-000000000000}"/>
          </ac:spMkLst>
        </pc:spChg>
        <pc:picChg chg="del">
          <ac:chgData name="Andreas Koksrud" userId="9d9beba6-c052-407a-8599-c781a677a996" providerId="ADAL" clId="{4C89AD2D-B60A-479F-9F95-9D423A06FAEA}" dt="2024-07-02T18:07:35.080" v="18802" actId="478"/>
          <ac:picMkLst>
            <pc:docMk/>
            <pc:sldMk cId="3240008992" sldId="874"/>
            <ac:picMk id="3" creationId="{464C77B1-57DA-B3A2-90F0-9BD177989E1A}"/>
          </ac:picMkLst>
        </pc:picChg>
        <pc:picChg chg="add mod">
          <ac:chgData name="Andreas Koksrud" userId="9d9beba6-c052-407a-8599-c781a677a996" providerId="ADAL" clId="{4C89AD2D-B60A-479F-9F95-9D423A06FAEA}" dt="2024-07-02T18:08:56.159" v="18872" actId="1076"/>
          <ac:picMkLst>
            <pc:docMk/>
            <pc:sldMk cId="3240008992" sldId="874"/>
            <ac:picMk id="11" creationId="{0657F2E5-C1D0-5271-98F9-0C9B91D9D3E0}"/>
          </ac:picMkLst>
        </pc:picChg>
        <pc:picChg chg="del">
          <ac:chgData name="Andreas Koksrud" userId="9d9beba6-c052-407a-8599-c781a677a996" providerId="ADAL" clId="{4C89AD2D-B60A-479F-9F95-9D423A06FAEA}" dt="2024-07-02T18:07:26.145" v="18799" actId="478"/>
          <ac:picMkLst>
            <pc:docMk/>
            <pc:sldMk cId="3240008992" sldId="874"/>
            <ac:picMk id="13" creationId="{A391CAD2-13C6-0DF9-61B2-EB6C186128C8}"/>
          </ac:picMkLst>
        </pc:picChg>
        <pc:picChg chg="add mod">
          <ac:chgData name="Andreas Koksrud" userId="9d9beba6-c052-407a-8599-c781a677a996" providerId="ADAL" clId="{4C89AD2D-B60A-479F-9F95-9D423A06FAEA}" dt="2024-07-02T18:10:19.698" v="18917" actId="1076"/>
          <ac:picMkLst>
            <pc:docMk/>
            <pc:sldMk cId="3240008992" sldId="874"/>
            <ac:picMk id="14" creationId="{7608F687-685D-C88B-3341-A9421C76EA4C}"/>
          </ac:picMkLst>
        </pc:picChg>
        <pc:picChg chg="add mod">
          <ac:chgData name="Andreas Koksrud" userId="9d9beba6-c052-407a-8599-c781a677a996" providerId="ADAL" clId="{4C89AD2D-B60A-479F-9F95-9D423A06FAEA}" dt="2024-07-02T18:31:46.135" v="19794" actId="14826"/>
          <ac:picMkLst>
            <pc:docMk/>
            <pc:sldMk cId="3240008992" sldId="874"/>
            <ac:picMk id="17" creationId="{A2E35820-F204-C5BA-5DAF-EE7048B44AA6}"/>
          </ac:picMkLst>
        </pc:picChg>
        <pc:cxnChg chg="del">
          <ac:chgData name="Andreas Koksrud" userId="9d9beba6-c052-407a-8599-c781a677a996" providerId="ADAL" clId="{4C89AD2D-B60A-479F-9F95-9D423A06FAEA}" dt="2024-07-02T18:07:31.972" v="18801" actId="478"/>
          <ac:cxnSpMkLst>
            <pc:docMk/>
            <pc:sldMk cId="3240008992" sldId="874"/>
            <ac:cxnSpMk id="15" creationId="{95E809D4-907B-DDAA-B441-48BBD6C78CE4}"/>
          </ac:cxnSpMkLst>
        </pc:cxnChg>
        <pc:cxnChg chg="add mod">
          <ac:chgData name="Andreas Koksrud" userId="9d9beba6-c052-407a-8599-c781a677a996" providerId="ADAL" clId="{4C89AD2D-B60A-479F-9F95-9D423A06FAEA}" dt="2024-07-02T18:11:06.681" v="18922" actId="1076"/>
          <ac:cxnSpMkLst>
            <pc:docMk/>
            <pc:sldMk cId="3240008992" sldId="874"/>
            <ac:cxnSpMk id="18" creationId="{F15954A3-9EAE-986F-8780-828A4F5F6201}"/>
          </ac:cxnSpMkLst>
        </pc:cxnChg>
      </pc:sldChg>
      <pc:sldChg chg="addSp modSp add del mod">
        <pc:chgData name="Andreas Koksrud" userId="9d9beba6-c052-407a-8599-c781a677a996" providerId="ADAL" clId="{4C89AD2D-B60A-479F-9F95-9D423A06FAEA}" dt="2024-07-20T19:00:08.825" v="26122" actId="6549"/>
        <pc:sldMkLst>
          <pc:docMk/>
          <pc:sldMk cId="3825753762" sldId="875"/>
        </pc:sldMkLst>
        <pc:spChg chg="mod">
          <ac:chgData name="Andreas Koksrud" userId="9d9beba6-c052-407a-8599-c781a677a996" providerId="ADAL" clId="{4C89AD2D-B60A-479F-9F95-9D423A06FAEA}" dt="2024-07-20T19:00:08.825" v="26122" actId="6549"/>
          <ac:spMkLst>
            <pc:docMk/>
            <pc:sldMk cId="3825753762" sldId="875"/>
            <ac:spMk id="2" creationId="{0C578A6C-5215-9DFE-51D6-8AA7A3E4A34A}"/>
          </ac:spMkLst>
        </pc:spChg>
        <pc:spChg chg="add mod">
          <ac:chgData name="Andreas Koksrud" userId="9d9beba6-c052-407a-8599-c781a677a996" providerId="ADAL" clId="{4C89AD2D-B60A-479F-9F95-9D423A06FAEA}" dt="2024-06-14T18:20:47.593" v="6538"/>
          <ac:spMkLst>
            <pc:docMk/>
            <pc:sldMk cId="3825753762" sldId="875"/>
            <ac:spMk id="4" creationId="{4A4FE96D-551B-763D-866F-E4D821F14B85}"/>
          </ac:spMkLst>
        </pc:spChg>
        <pc:spChg chg="add mod">
          <ac:chgData name="Andreas Koksrud" userId="9d9beba6-c052-407a-8599-c781a677a996" providerId="ADAL" clId="{4C89AD2D-B60A-479F-9F95-9D423A06FAEA}" dt="2024-06-14T18:20:47.593" v="6538"/>
          <ac:spMkLst>
            <pc:docMk/>
            <pc:sldMk cId="3825753762" sldId="875"/>
            <ac:spMk id="8" creationId="{2DEEE9B2-D543-DD70-2451-4C6596D07989}"/>
          </ac:spMkLst>
        </pc:spChg>
      </pc:sldChg>
      <pc:sldChg chg="addSp modSp add del">
        <pc:chgData name="Andreas Koksrud" userId="9d9beba6-c052-407a-8599-c781a677a996" providerId="ADAL" clId="{4C89AD2D-B60A-479F-9F95-9D423A06FAEA}" dt="2024-06-14T18:24:38.674" v="6768"/>
        <pc:sldMkLst>
          <pc:docMk/>
          <pc:sldMk cId="1529294142" sldId="876"/>
        </pc:sldMkLst>
        <pc:spChg chg="add mod">
          <ac:chgData name="Andreas Koksrud" userId="9d9beba6-c052-407a-8599-c781a677a996" providerId="ADAL" clId="{4C89AD2D-B60A-479F-9F95-9D423A06FAEA}" dt="2024-06-14T18:24:38.674" v="6768"/>
          <ac:spMkLst>
            <pc:docMk/>
            <pc:sldMk cId="1529294142" sldId="876"/>
            <ac:spMk id="4" creationId="{084E59C7-DC57-617C-4D2B-9DECE61BC81D}"/>
          </ac:spMkLst>
        </pc:spChg>
        <pc:spChg chg="add mod">
          <ac:chgData name="Andreas Koksrud" userId="9d9beba6-c052-407a-8599-c781a677a996" providerId="ADAL" clId="{4C89AD2D-B60A-479F-9F95-9D423A06FAEA}" dt="2024-06-14T18:24:38.674" v="6768"/>
          <ac:spMkLst>
            <pc:docMk/>
            <pc:sldMk cId="1529294142" sldId="876"/>
            <ac:spMk id="10" creationId="{3622807A-09F7-1FB4-2813-51CC9244ABE6}"/>
          </ac:spMkLst>
        </pc:spChg>
      </pc:sldChg>
      <pc:sldChg chg="addSp modSp add del">
        <pc:chgData name="Andreas Koksrud" userId="9d9beba6-c052-407a-8599-c781a677a996" providerId="ADAL" clId="{4C89AD2D-B60A-479F-9F95-9D423A06FAEA}" dt="2024-06-14T18:24:39.667" v="6769"/>
        <pc:sldMkLst>
          <pc:docMk/>
          <pc:sldMk cId="1680702220" sldId="877"/>
        </pc:sldMkLst>
        <pc:spChg chg="add mod">
          <ac:chgData name="Andreas Koksrud" userId="9d9beba6-c052-407a-8599-c781a677a996" providerId="ADAL" clId="{4C89AD2D-B60A-479F-9F95-9D423A06FAEA}" dt="2024-06-14T18:24:39.667" v="6769"/>
          <ac:spMkLst>
            <pc:docMk/>
            <pc:sldMk cId="1680702220" sldId="877"/>
            <ac:spMk id="3" creationId="{256C9DAD-B610-D337-4EAF-00D8D7BBFEF7}"/>
          </ac:spMkLst>
        </pc:spChg>
        <pc:spChg chg="add mod">
          <ac:chgData name="Andreas Koksrud" userId="9d9beba6-c052-407a-8599-c781a677a996" providerId="ADAL" clId="{4C89AD2D-B60A-479F-9F95-9D423A06FAEA}" dt="2024-06-14T18:24:39.667" v="6769"/>
          <ac:spMkLst>
            <pc:docMk/>
            <pc:sldMk cId="1680702220" sldId="877"/>
            <ac:spMk id="4" creationId="{E3077F41-C077-C248-0226-EB8B51D385B8}"/>
          </ac:spMkLst>
        </pc:spChg>
      </pc:sldChg>
      <pc:sldChg chg="addSp modSp add del">
        <pc:chgData name="Andreas Koksrud" userId="9d9beba6-c052-407a-8599-c781a677a996" providerId="ADAL" clId="{4C89AD2D-B60A-479F-9F95-9D423A06FAEA}" dt="2024-06-14T18:24:40.579" v="6770"/>
        <pc:sldMkLst>
          <pc:docMk/>
          <pc:sldMk cId="3516004309" sldId="878"/>
        </pc:sldMkLst>
        <pc:spChg chg="add mod">
          <ac:chgData name="Andreas Koksrud" userId="9d9beba6-c052-407a-8599-c781a677a996" providerId="ADAL" clId="{4C89AD2D-B60A-479F-9F95-9D423A06FAEA}" dt="2024-06-14T18:24:40.579" v="6770"/>
          <ac:spMkLst>
            <pc:docMk/>
            <pc:sldMk cId="3516004309" sldId="878"/>
            <ac:spMk id="2" creationId="{10E2DAEA-DC14-88BF-0C36-E359DDB07F5D}"/>
          </ac:spMkLst>
        </pc:spChg>
        <pc:spChg chg="add mod">
          <ac:chgData name="Andreas Koksrud" userId="9d9beba6-c052-407a-8599-c781a677a996" providerId="ADAL" clId="{4C89AD2D-B60A-479F-9F95-9D423A06FAEA}" dt="2024-06-14T18:24:40.579" v="6770"/>
          <ac:spMkLst>
            <pc:docMk/>
            <pc:sldMk cId="3516004309" sldId="878"/>
            <ac:spMk id="4" creationId="{22B7F2B1-6542-BFA6-0B83-E4991033BE0F}"/>
          </ac:spMkLst>
        </pc:spChg>
      </pc:sldChg>
      <pc:sldChg chg="addSp modSp add del">
        <pc:chgData name="Andreas Koksrud" userId="9d9beba6-c052-407a-8599-c781a677a996" providerId="ADAL" clId="{4C89AD2D-B60A-479F-9F95-9D423A06FAEA}" dt="2024-06-14T18:24:41.652" v="6771"/>
        <pc:sldMkLst>
          <pc:docMk/>
          <pc:sldMk cId="999972062" sldId="879"/>
        </pc:sldMkLst>
        <pc:spChg chg="add mod">
          <ac:chgData name="Andreas Koksrud" userId="9d9beba6-c052-407a-8599-c781a677a996" providerId="ADAL" clId="{4C89AD2D-B60A-479F-9F95-9D423A06FAEA}" dt="2024-06-14T18:24:41.652" v="6771"/>
          <ac:spMkLst>
            <pc:docMk/>
            <pc:sldMk cId="999972062" sldId="879"/>
            <ac:spMk id="2" creationId="{E990B076-9AAA-9165-1B2D-33736094D900}"/>
          </ac:spMkLst>
        </pc:spChg>
        <pc:spChg chg="add mod">
          <ac:chgData name="Andreas Koksrud" userId="9d9beba6-c052-407a-8599-c781a677a996" providerId="ADAL" clId="{4C89AD2D-B60A-479F-9F95-9D423A06FAEA}" dt="2024-06-14T18:24:41.652" v="6771"/>
          <ac:spMkLst>
            <pc:docMk/>
            <pc:sldMk cId="999972062" sldId="879"/>
            <ac:spMk id="3" creationId="{92331FA2-2710-EFC4-A914-C8FD060DA2E2}"/>
          </ac:spMkLst>
        </pc:spChg>
      </pc:sldChg>
      <pc:sldChg chg="addSp modSp add del">
        <pc:chgData name="Andreas Koksrud" userId="9d9beba6-c052-407a-8599-c781a677a996" providerId="ADAL" clId="{4C89AD2D-B60A-479F-9F95-9D423A06FAEA}" dt="2024-06-14T18:24:50.545" v="6780"/>
        <pc:sldMkLst>
          <pc:docMk/>
          <pc:sldMk cId="3205976706" sldId="880"/>
        </pc:sldMkLst>
        <pc:spChg chg="add mod">
          <ac:chgData name="Andreas Koksrud" userId="9d9beba6-c052-407a-8599-c781a677a996" providerId="ADAL" clId="{4C89AD2D-B60A-479F-9F95-9D423A06FAEA}" dt="2024-06-14T18:24:50.545" v="6780"/>
          <ac:spMkLst>
            <pc:docMk/>
            <pc:sldMk cId="3205976706" sldId="880"/>
            <ac:spMk id="2" creationId="{47318929-5447-3513-C07B-8802599ABBE9}"/>
          </ac:spMkLst>
        </pc:spChg>
        <pc:spChg chg="add mod">
          <ac:chgData name="Andreas Koksrud" userId="9d9beba6-c052-407a-8599-c781a677a996" providerId="ADAL" clId="{4C89AD2D-B60A-479F-9F95-9D423A06FAEA}" dt="2024-06-14T18:24:50.545" v="6780"/>
          <ac:spMkLst>
            <pc:docMk/>
            <pc:sldMk cId="3205976706" sldId="880"/>
            <ac:spMk id="3" creationId="{6553EA35-8395-9E04-B733-9B1A549A7D14}"/>
          </ac:spMkLst>
        </pc:spChg>
      </pc:sldChg>
      <pc:sldChg chg="addSp modSp add del">
        <pc:chgData name="Andreas Koksrud" userId="9d9beba6-c052-407a-8599-c781a677a996" providerId="ADAL" clId="{4C89AD2D-B60A-479F-9F95-9D423A06FAEA}" dt="2024-06-14T18:24:44.940" v="6774"/>
        <pc:sldMkLst>
          <pc:docMk/>
          <pc:sldMk cId="2279528697" sldId="881"/>
        </pc:sldMkLst>
        <pc:spChg chg="add mod">
          <ac:chgData name="Andreas Koksrud" userId="9d9beba6-c052-407a-8599-c781a677a996" providerId="ADAL" clId="{4C89AD2D-B60A-479F-9F95-9D423A06FAEA}" dt="2024-06-14T18:24:44.940" v="6774"/>
          <ac:spMkLst>
            <pc:docMk/>
            <pc:sldMk cId="2279528697" sldId="881"/>
            <ac:spMk id="2" creationId="{0884D1F7-A58F-CFF9-5C93-CE0DAA3FF5E7}"/>
          </ac:spMkLst>
        </pc:spChg>
        <pc:spChg chg="add mod">
          <ac:chgData name="Andreas Koksrud" userId="9d9beba6-c052-407a-8599-c781a677a996" providerId="ADAL" clId="{4C89AD2D-B60A-479F-9F95-9D423A06FAEA}" dt="2024-06-14T18:24:44.940" v="6774"/>
          <ac:spMkLst>
            <pc:docMk/>
            <pc:sldMk cId="2279528697" sldId="881"/>
            <ac:spMk id="3" creationId="{768856BF-81FE-B758-9370-AECA5AC63195}"/>
          </ac:spMkLst>
        </pc:spChg>
      </pc:sldChg>
      <pc:sldChg chg="addSp modSp add del">
        <pc:chgData name="Andreas Koksrud" userId="9d9beba6-c052-407a-8599-c781a677a996" providerId="ADAL" clId="{4C89AD2D-B60A-479F-9F95-9D423A06FAEA}" dt="2024-06-14T18:24:45.908" v="6775"/>
        <pc:sldMkLst>
          <pc:docMk/>
          <pc:sldMk cId="360095748" sldId="882"/>
        </pc:sldMkLst>
        <pc:spChg chg="add mod">
          <ac:chgData name="Andreas Koksrud" userId="9d9beba6-c052-407a-8599-c781a677a996" providerId="ADAL" clId="{4C89AD2D-B60A-479F-9F95-9D423A06FAEA}" dt="2024-06-14T18:24:45.908" v="6775"/>
          <ac:spMkLst>
            <pc:docMk/>
            <pc:sldMk cId="360095748" sldId="882"/>
            <ac:spMk id="2" creationId="{88118934-25C8-67FE-C498-E5D3C68D216C}"/>
          </ac:spMkLst>
        </pc:spChg>
        <pc:spChg chg="add mod">
          <ac:chgData name="Andreas Koksrud" userId="9d9beba6-c052-407a-8599-c781a677a996" providerId="ADAL" clId="{4C89AD2D-B60A-479F-9F95-9D423A06FAEA}" dt="2024-06-14T18:24:45.908" v="6775"/>
          <ac:spMkLst>
            <pc:docMk/>
            <pc:sldMk cId="360095748" sldId="882"/>
            <ac:spMk id="3" creationId="{4042013A-7FFE-A422-1E55-6E3D09AE940E}"/>
          </ac:spMkLst>
        </pc:spChg>
      </pc:sldChg>
      <pc:sldChg chg="addSp modSp add del">
        <pc:chgData name="Andreas Koksrud" userId="9d9beba6-c052-407a-8599-c781a677a996" providerId="ADAL" clId="{4C89AD2D-B60A-479F-9F95-9D423A06FAEA}" dt="2024-06-14T18:24:44.063" v="6773"/>
        <pc:sldMkLst>
          <pc:docMk/>
          <pc:sldMk cId="1917928831" sldId="883"/>
        </pc:sldMkLst>
        <pc:spChg chg="add mod">
          <ac:chgData name="Andreas Koksrud" userId="9d9beba6-c052-407a-8599-c781a677a996" providerId="ADAL" clId="{4C89AD2D-B60A-479F-9F95-9D423A06FAEA}" dt="2024-06-14T18:24:44.063" v="6773"/>
          <ac:spMkLst>
            <pc:docMk/>
            <pc:sldMk cId="1917928831" sldId="883"/>
            <ac:spMk id="2" creationId="{FB858C18-4913-7244-C319-31D7088B8696}"/>
          </ac:spMkLst>
        </pc:spChg>
        <pc:spChg chg="add mod">
          <ac:chgData name="Andreas Koksrud" userId="9d9beba6-c052-407a-8599-c781a677a996" providerId="ADAL" clId="{4C89AD2D-B60A-479F-9F95-9D423A06FAEA}" dt="2024-06-14T18:24:44.063" v="6773"/>
          <ac:spMkLst>
            <pc:docMk/>
            <pc:sldMk cId="1917928831" sldId="883"/>
            <ac:spMk id="4" creationId="{C03ABAAB-2035-B644-7ABE-819D898C131B}"/>
          </ac:spMkLst>
        </pc:spChg>
      </pc:sldChg>
      <pc:sldChg chg="addSp modSp add del">
        <pc:chgData name="Andreas Koksrud" userId="9d9beba6-c052-407a-8599-c781a677a996" providerId="ADAL" clId="{4C89AD2D-B60A-479F-9F95-9D423A06FAEA}" dt="2024-06-14T18:24:47.839" v="6777"/>
        <pc:sldMkLst>
          <pc:docMk/>
          <pc:sldMk cId="33461568" sldId="884"/>
        </pc:sldMkLst>
        <pc:spChg chg="add mod">
          <ac:chgData name="Andreas Koksrud" userId="9d9beba6-c052-407a-8599-c781a677a996" providerId="ADAL" clId="{4C89AD2D-B60A-479F-9F95-9D423A06FAEA}" dt="2024-06-14T18:24:47.839" v="6777"/>
          <ac:spMkLst>
            <pc:docMk/>
            <pc:sldMk cId="33461568" sldId="884"/>
            <ac:spMk id="2" creationId="{2D9048DA-20F4-84F3-E5E8-E4F3E3418E6A}"/>
          </ac:spMkLst>
        </pc:spChg>
        <pc:spChg chg="add mod">
          <ac:chgData name="Andreas Koksrud" userId="9d9beba6-c052-407a-8599-c781a677a996" providerId="ADAL" clId="{4C89AD2D-B60A-479F-9F95-9D423A06FAEA}" dt="2024-06-14T18:24:47.839" v="6777"/>
          <ac:spMkLst>
            <pc:docMk/>
            <pc:sldMk cId="33461568" sldId="884"/>
            <ac:spMk id="4" creationId="{855BBEB5-E635-9D79-3078-F8BA46C99AD6}"/>
          </ac:spMkLst>
        </pc:spChg>
      </pc:sldChg>
      <pc:sldChg chg="addSp modSp add del">
        <pc:chgData name="Andreas Koksrud" userId="9d9beba6-c052-407a-8599-c781a677a996" providerId="ADAL" clId="{4C89AD2D-B60A-479F-9F95-9D423A06FAEA}" dt="2024-06-14T18:24:46.824" v="6776"/>
        <pc:sldMkLst>
          <pc:docMk/>
          <pc:sldMk cId="2228775269" sldId="885"/>
        </pc:sldMkLst>
        <pc:spChg chg="add mod">
          <ac:chgData name="Andreas Koksrud" userId="9d9beba6-c052-407a-8599-c781a677a996" providerId="ADAL" clId="{4C89AD2D-B60A-479F-9F95-9D423A06FAEA}" dt="2024-06-14T18:24:46.824" v="6776"/>
          <ac:spMkLst>
            <pc:docMk/>
            <pc:sldMk cId="2228775269" sldId="885"/>
            <ac:spMk id="2" creationId="{B2770F2F-A44C-5418-7C09-2D45BDB35F76}"/>
          </ac:spMkLst>
        </pc:spChg>
        <pc:spChg chg="add mod">
          <ac:chgData name="Andreas Koksrud" userId="9d9beba6-c052-407a-8599-c781a677a996" providerId="ADAL" clId="{4C89AD2D-B60A-479F-9F95-9D423A06FAEA}" dt="2024-06-14T18:24:46.824" v="6776"/>
          <ac:spMkLst>
            <pc:docMk/>
            <pc:sldMk cId="2228775269" sldId="885"/>
            <ac:spMk id="4" creationId="{452039D2-F0B9-28EF-AD57-5BDF547F4FED}"/>
          </ac:spMkLst>
        </pc:spChg>
      </pc:sldChg>
      <pc:sldChg chg="addSp modSp add del">
        <pc:chgData name="Andreas Koksrud" userId="9d9beba6-c052-407a-8599-c781a677a996" providerId="ADAL" clId="{4C89AD2D-B60A-479F-9F95-9D423A06FAEA}" dt="2024-06-14T18:24:48.629" v="6778"/>
        <pc:sldMkLst>
          <pc:docMk/>
          <pc:sldMk cId="3576402817" sldId="886"/>
        </pc:sldMkLst>
        <pc:spChg chg="add mod">
          <ac:chgData name="Andreas Koksrud" userId="9d9beba6-c052-407a-8599-c781a677a996" providerId="ADAL" clId="{4C89AD2D-B60A-479F-9F95-9D423A06FAEA}" dt="2024-06-14T18:24:48.629" v="6778"/>
          <ac:spMkLst>
            <pc:docMk/>
            <pc:sldMk cId="3576402817" sldId="886"/>
            <ac:spMk id="2" creationId="{0A4BDE7A-8668-271A-B944-06DD862C8563}"/>
          </ac:spMkLst>
        </pc:spChg>
        <pc:spChg chg="add mod">
          <ac:chgData name="Andreas Koksrud" userId="9d9beba6-c052-407a-8599-c781a677a996" providerId="ADAL" clId="{4C89AD2D-B60A-479F-9F95-9D423A06FAEA}" dt="2024-06-14T18:24:48.629" v="6778"/>
          <ac:spMkLst>
            <pc:docMk/>
            <pc:sldMk cId="3576402817" sldId="886"/>
            <ac:spMk id="3" creationId="{621F9B19-ED37-E0F0-EAC7-FB3303393888}"/>
          </ac:spMkLst>
        </pc:spChg>
      </pc:sldChg>
      <pc:sldChg chg="addSp modSp add del">
        <pc:chgData name="Andreas Koksrud" userId="9d9beba6-c052-407a-8599-c781a677a996" providerId="ADAL" clId="{4C89AD2D-B60A-479F-9F95-9D423A06FAEA}" dt="2024-06-14T18:24:51.459" v="6781"/>
        <pc:sldMkLst>
          <pc:docMk/>
          <pc:sldMk cId="3284537785" sldId="887"/>
        </pc:sldMkLst>
        <pc:spChg chg="add mod">
          <ac:chgData name="Andreas Koksrud" userId="9d9beba6-c052-407a-8599-c781a677a996" providerId="ADAL" clId="{4C89AD2D-B60A-479F-9F95-9D423A06FAEA}" dt="2024-06-14T18:24:51.459" v="6781"/>
          <ac:spMkLst>
            <pc:docMk/>
            <pc:sldMk cId="3284537785" sldId="887"/>
            <ac:spMk id="2" creationId="{6113FC9A-DE65-5299-22AF-6569C3A01497}"/>
          </ac:spMkLst>
        </pc:spChg>
        <pc:spChg chg="add mod">
          <ac:chgData name="Andreas Koksrud" userId="9d9beba6-c052-407a-8599-c781a677a996" providerId="ADAL" clId="{4C89AD2D-B60A-479F-9F95-9D423A06FAEA}" dt="2024-06-14T18:24:51.459" v="6781"/>
          <ac:spMkLst>
            <pc:docMk/>
            <pc:sldMk cId="3284537785" sldId="887"/>
            <ac:spMk id="4" creationId="{2DBBFA18-7084-06CA-5B0B-091D1C963B3B}"/>
          </ac:spMkLst>
        </pc:spChg>
      </pc:sldChg>
      <pc:sldChg chg="addSp modSp add del">
        <pc:chgData name="Andreas Koksrud" userId="9d9beba6-c052-407a-8599-c781a677a996" providerId="ADAL" clId="{4C89AD2D-B60A-479F-9F95-9D423A06FAEA}" dt="2024-06-14T18:24:49.621" v="6779"/>
        <pc:sldMkLst>
          <pc:docMk/>
          <pc:sldMk cId="2194220150" sldId="888"/>
        </pc:sldMkLst>
        <pc:spChg chg="add mod">
          <ac:chgData name="Andreas Koksrud" userId="9d9beba6-c052-407a-8599-c781a677a996" providerId="ADAL" clId="{4C89AD2D-B60A-479F-9F95-9D423A06FAEA}" dt="2024-06-14T18:24:49.621" v="6779"/>
          <ac:spMkLst>
            <pc:docMk/>
            <pc:sldMk cId="2194220150" sldId="888"/>
            <ac:spMk id="2" creationId="{B81D3910-E93D-AF54-C73A-37F52467C874}"/>
          </ac:spMkLst>
        </pc:spChg>
        <pc:spChg chg="add mod">
          <ac:chgData name="Andreas Koksrud" userId="9d9beba6-c052-407a-8599-c781a677a996" providerId="ADAL" clId="{4C89AD2D-B60A-479F-9F95-9D423A06FAEA}" dt="2024-06-14T18:24:49.621" v="6779"/>
          <ac:spMkLst>
            <pc:docMk/>
            <pc:sldMk cId="2194220150" sldId="888"/>
            <ac:spMk id="3" creationId="{A0C121F7-D3D0-0F43-3B80-3C6C6E105932}"/>
          </ac:spMkLst>
        </pc:spChg>
      </pc:sldChg>
      <pc:sldChg chg="addSp modSp add del">
        <pc:chgData name="Andreas Koksrud" userId="9d9beba6-c052-407a-8599-c781a677a996" providerId="ADAL" clId="{4C89AD2D-B60A-479F-9F95-9D423A06FAEA}" dt="2024-06-14T18:24:52.373" v="6782"/>
        <pc:sldMkLst>
          <pc:docMk/>
          <pc:sldMk cId="797114304" sldId="889"/>
        </pc:sldMkLst>
        <pc:spChg chg="add mod">
          <ac:chgData name="Andreas Koksrud" userId="9d9beba6-c052-407a-8599-c781a677a996" providerId="ADAL" clId="{4C89AD2D-B60A-479F-9F95-9D423A06FAEA}" dt="2024-06-14T18:24:52.373" v="6782"/>
          <ac:spMkLst>
            <pc:docMk/>
            <pc:sldMk cId="797114304" sldId="889"/>
            <ac:spMk id="3" creationId="{E60ADC3A-E449-C067-3990-51EC2DF6B99A}"/>
          </ac:spMkLst>
        </pc:spChg>
        <pc:spChg chg="add mod">
          <ac:chgData name="Andreas Koksrud" userId="9d9beba6-c052-407a-8599-c781a677a996" providerId="ADAL" clId="{4C89AD2D-B60A-479F-9F95-9D423A06FAEA}" dt="2024-06-14T18:24:52.373" v="6782"/>
          <ac:spMkLst>
            <pc:docMk/>
            <pc:sldMk cId="797114304" sldId="889"/>
            <ac:spMk id="5" creationId="{EFEBA978-71D6-967C-9479-C6EEFF00A117}"/>
          </ac:spMkLst>
        </pc:spChg>
      </pc:sldChg>
      <pc:sldChg chg="addSp modSp add del">
        <pc:chgData name="Andreas Koksrud" userId="9d9beba6-c052-407a-8599-c781a677a996" providerId="ADAL" clId="{4C89AD2D-B60A-479F-9F95-9D423A06FAEA}" dt="2024-06-14T18:24:54.644" v="6784"/>
        <pc:sldMkLst>
          <pc:docMk/>
          <pc:sldMk cId="2383107090" sldId="890"/>
        </pc:sldMkLst>
        <pc:spChg chg="add mod">
          <ac:chgData name="Andreas Koksrud" userId="9d9beba6-c052-407a-8599-c781a677a996" providerId="ADAL" clId="{4C89AD2D-B60A-479F-9F95-9D423A06FAEA}" dt="2024-06-14T18:24:54.644" v="6784"/>
          <ac:spMkLst>
            <pc:docMk/>
            <pc:sldMk cId="2383107090" sldId="890"/>
            <ac:spMk id="3" creationId="{0FB9824C-9CAA-96A9-078C-2DB0CB368E96}"/>
          </ac:spMkLst>
        </pc:spChg>
        <pc:spChg chg="add mod">
          <ac:chgData name="Andreas Koksrud" userId="9d9beba6-c052-407a-8599-c781a677a996" providerId="ADAL" clId="{4C89AD2D-B60A-479F-9F95-9D423A06FAEA}" dt="2024-06-14T18:24:54.644" v="6784"/>
          <ac:spMkLst>
            <pc:docMk/>
            <pc:sldMk cId="2383107090" sldId="890"/>
            <ac:spMk id="5" creationId="{890AAFA2-1B6E-35EE-8B1E-399437B13189}"/>
          </ac:spMkLst>
        </pc:spChg>
      </pc:sldChg>
      <pc:sldChg chg="addSp delSp modSp add mod ord chgLayout">
        <pc:chgData name="Andreas Koksrud" userId="9d9beba6-c052-407a-8599-c781a677a996" providerId="ADAL" clId="{4C89AD2D-B60A-479F-9F95-9D423A06FAEA}" dt="2024-08-04T15:44:52.140" v="35986"/>
        <pc:sldMkLst>
          <pc:docMk/>
          <pc:sldMk cId="3146980650" sldId="891"/>
        </pc:sldMkLst>
        <pc:spChg chg="add del mod">
          <ac:chgData name="Andreas Koksrud" userId="9d9beba6-c052-407a-8599-c781a677a996" providerId="ADAL" clId="{4C89AD2D-B60A-479F-9F95-9D423A06FAEA}" dt="2024-06-14T18:11:22.350" v="5885" actId="478"/>
          <ac:spMkLst>
            <pc:docMk/>
            <pc:sldMk cId="3146980650" sldId="891"/>
            <ac:spMk id="3" creationId="{6E4D2412-49CD-897E-3C9A-4B96F2327E45}"/>
          </ac:spMkLst>
        </pc:spChg>
        <pc:spChg chg="add mod">
          <ac:chgData name="Andreas Koksrud" userId="9d9beba6-c052-407a-8599-c781a677a996" providerId="ADAL" clId="{4C89AD2D-B60A-479F-9F95-9D423A06FAEA}" dt="2024-06-14T18:12:14.598" v="5913"/>
          <ac:spMkLst>
            <pc:docMk/>
            <pc:sldMk cId="3146980650" sldId="891"/>
            <ac:spMk id="4" creationId="{FAFA46FA-B501-269C-8563-699E3F5DE947}"/>
          </ac:spMkLst>
        </pc:spChg>
        <pc:spChg chg="del mod">
          <ac:chgData name="Andreas Koksrud" userId="9d9beba6-c052-407a-8599-c781a677a996" providerId="ADAL" clId="{4C89AD2D-B60A-479F-9F95-9D423A06FAEA}" dt="2024-06-14T12:38:02.061" v="4966" actId="26606"/>
          <ac:spMkLst>
            <pc:docMk/>
            <pc:sldMk cId="3146980650" sldId="891"/>
            <ac:spMk id="5" creationId="{06C331F7-EF3E-5E7F-9901-C355F1A9896B}"/>
          </ac:spMkLst>
        </pc:spChg>
        <pc:spChg chg="add mod">
          <ac:chgData name="Andreas Koksrud" userId="9d9beba6-c052-407a-8599-c781a677a996" providerId="ADAL" clId="{4C89AD2D-B60A-479F-9F95-9D423A06FAEA}" dt="2024-06-14T18:12:46.899" v="5961" actId="20577"/>
          <ac:spMkLst>
            <pc:docMk/>
            <pc:sldMk cId="3146980650" sldId="891"/>
            <ac:spMk id="6" creationId="{9594E367-A5C0-9E5F-38CE-5B5E04D992E1}"/>
          </ac:spMkLst>
        </pc:spChg>
        <pc:spChg chg="mod ord">
          <ac:chgData name="Andreas Koksrud" userId="9d9beba6-c052-407a-8599-c781a677a996" providerId="ADAL" clId="{4C89AD2D-B60A-479F-9F95-9D423A06FAEA}" dt="2024-06-14T12:38:02.061" v="4966" actId="26606"/>
          <ac:spMkLst>
            <pc:docMk/>
            <pc:sldMk cId="3146980650" sldId="891"/>
            <ac:spMk id="124" creationId="{84E04E4E-021A-44EA-A21F-D749783987DC}"/>
          </ac:spMkLst>
        </pc:spChg>
        <pc:spChg chg="mod">
          <ac:chgData name="Andreas Koksrud" userId="9d9beba6-c052-407a-8599-c781a677a996" providerId="ADAL" clId="{4C89AD2D-B60A-479F-9F95-9D423A06FAEA}" dt="2024-06-14T12:38:02.061" v="4966" actId="26606"/>
          <ac:spMkLst>
            <pc:docMk/>
            <pc:sldMk cId="3146980650" sldId="891"/>
            <ac:spMk id="180" creationId="{00000000-0000-0000-0000-000000000000}"/>
          </ac:spMkLst>
        </pc:spChg>
        <pc:spChg chg="add del mod">
          <ac:chgData name="Andreas Koksrud" userId="9d9beba6-c052-407a-8599-c781a677a996" providerId="ADAL" clId="{4C89AD2D-B60A-479F-9F95-9D423A06FAEA}" dt="2024-06-14T12:38:05.015" v="4967" actId="478"/>
          <ac:spMkLst>
            <pc:docMk/>
            <pc:sldMk cId="3146980650" sldId="891"/>
            <ac:spMk id="186" creationId="{65136EB8-A26E-20B7-0F85-53FAE7E48792}"/>
          </ac:spMkLst>
        </pc:spChg>
        <pc:graphicFrameChg chg="add mod modGraphic">
          <ac:chgData name="Andreas Koksrud" userId="9d9beba6-c052-407a-8599-c781a677a996" providerId="ADAL" clId="{4C89AD2D-B60A-479F-9F95-9D423A06FAEA}" dt="2024-08-04T15:44:52.140" v="35986"/>
          <ac:graphicFrameMkLst>
            <pc:docMk/>
            <pc:sldMk cId="3146980650" sldId="891"/>
            <ac:graphicFrameMk id="182" creationId="{31C961BD-9981-8CD8-539D-AB011F3808BE}"/>
          </ac:graphicFrameMkLst>
        </pc:graphicFrameChg>
      </pc:sldChg>
      <pc:sldChg chg="addSp delSp modSp add mod ord">
        <pc:chgData name="Andreas Koksrud" userId="9d9beba6-c052-407a-8599-c781a677a996" providerId="ADAL" clId="{4C89AD2D-B60A-479F-9F95-9D423A06FAEA}" dt="2024-06-30T15:43:10.979" v="13920" actId="20577"/>
        <pc:sldMkLst>
          <pc:docMk/>
          <pc:sldMk cId="3243061228" sldId="892"/>
        </pc:sldMkLst>
        <pc:spChg chg="add del mod">
          <ac:chgData name="Andreas Koksrud" userId="9d9beba6-c052-407a-8599-c781a677a996" providerId="ADAL" clId="{4C89AD2D-B60A-479F-9F95-9D423A06FAEA}" dt="2024-06-14T18:11:24.170" v="5886" actId="478"/>
          <ac:spMkLst>
            <pc:docMk/>
            <pc:sldMk cId="3243061228" sldId="892"/>
            <ac:spMk id="3" creationId="{7B7D6619-59E8-33ED-D074-3700A1C437C1}"/>
          </ac:spMkLst>
        </pc:spChg>
        <pc:spChg chg="add mod">
          <ac:chgData name="Andreas Koksrud" userId="9d9beba6-c052-407a-8599-c781a677a996" providerId="ADAL" clId="{4C89AD2D-B60A-479F-9F95-9D423A06FAEA}" dt="2024-06-14T18:12:16.078" v="5914"/>
          <ac:spMkLst>
            <pc:docMk/>
            <pc:sldMk cId="3243061228" sldId="892"/>
            <ac:spMk id="4" creationId="{DE0C575D-F875-9B15-8F31-C1C17BBB6875}"/>
          </ac:spMkLst>
        </pc:spChg>
        <pc:spChg chg="mod">
          <ac:chgData name="Andreas Koksrud" userId="9d9beba6-c052-407a-8599-c781a677a996" providerId="ADAL" clId="{4C89AD2D-B60A-479F-9F95-9D423A06FAEA}" dt="2024-06-30T15:43:10.979" v="13920" actId="20577"/>
          <ac:spMkLst>
            <pc:docMk/>
            <pc:sldMk cId="3243061228" sldId="892"/>
            <ac:spMk id="5" creationId="{06C331F7-EF3E-5E7F-9901-C355F1A9896B}"/>
          </ac:spMkLst>
        </pc:spChg>
        <pc:spChg chg="add mod">
          <ac:chgData name="Andreas Koksrud" userId="9d9beba6-c052-407a-8599-c781a677a996" providerId="ADAL" clId="{4C89AD2D-B60A-479F-9F95-9D423A06FAEA}" dt="2024-06-14T18:12:42.899" v="5954" actId="20577"/>
          <ac:spMkLst>
            <pc:docMk/>
            <pc:sldMk cId="3243061228" sldId="892"/>
            <ac:spMk id="6" creationId="{8AD0F756-29C2-587E-484F-82A0EBA49B8C}"/>
          </ac:spMkLst>
        </pc:spChg>
        <pc:spChg chg="mod">
          <ac:chgData name="Andreas Koksrud" userId="9d9beba6-c052-407a-8599-c781a677a996" providerId="ADAL" clId="{4C89AD2D-B60A-479F-9F95-9D423A06FAEA}" dt="2024-06-30T15:24:41.926" v="13396" actId="20577"/>
          <ac:spMkLst>
            <pc:docMk/>
            <pc:sldMk cId="3243061228" sldId="892"/>
            <ac:spMk id="180" creationId="{00000000-0000-0000-0000-000000000000}"/>
          </ac:spMkLst>
        </pc:spChg>
      </pc:sldChg>
      <pc:sldChg chg="addSp delSp modSp add mod">
        <pc:chgData name="Andreas Koksrud" userId="9d9beba6-c052-407a-8599-c781a677a996" providerId="ADAL" clId="{4C89AD2D-B60A-479F-9F95-9D423A06FAEA}" dt="2024-07-24T19:28:02.102" v="27567" actId="13926"/>
        <pc:sldMkLst>
          <pc:docMk/>
          <pc:sldMk cId="2673461105" sldId="893"/>
        </pc:sldMkLst>
        <pc:spChg chg="add del mod">
          <ac:chgData name="Andreas Koksrud" userId="9d9beba6-c052-407a-8599-c781a677a996" providerId="ADAL" clId="{4C89AD2D-B60A-479F-9F95-9D423A06FAEA}" dt="2024-06-14T18:11:18.820" v="5884" actId="478"/>
          <ac:spMkLst>
            <pc:docMk/>
            <pc:sldMk cId="2673461105" sldId="893"/>
            <ac:spMk id="3" creationId="{35265085-39B9-E63E-54B2-BBC0553162CB}"/>
          </ac:spMkLst>
        </pc:spChg>
        <pc:spChg chg="add mod">
          <ac:chgData name="Andreas Koksrud" userId="9d9beba6-c052-407a-8599-c781a677a996" providerId="ADAL" clId="{4C89AD2D-B60A-479F-9F95-9D423A06FAEA}" dt="2024-06-14T18:12:12.420" v="5912"/>
          <ac:spMkLst>
            <pc:docMk/>
            <pc:sldMk cId="2673461105" sldId="893"/>
            <ac:spMk id="4" creationId="{DEC98ECE-C34E-0F75-4962-EEA1044FEDC0}"/>
          </ac:spMkLst>
        </pc:spChg>
        <pc:spChg chg="mod">
          <ac:chgData name="Andreas Koksrud" userId="9d9beba6-c052-407a-8599-c781a677a996" providerId="ADAL" clId="{4C89AD2D-B60A-479F-9F95-9D423A06FAEA}" dt="2024-07-24T19:28:02.102" v="27567" actId="13926"/>
          <ac:spMkLst>
            <pc:docMk/>
            <pc:sldMk cId="2673461105" sldId="893"/>
            <ac:spMk id="5" creationId="{06C331F7-EF3E-5E7F-9901-C355F1A9896B}"/>
          </ac:spMkLst>
        </pc:spChg>
        <pc:spChg chg="add mod">
          <ac:chgData name="Andreas Koksrud" userId="9d9beba6-c052-407a-8599-c781a677a996" providerId="ADAL" clId="{4C89AD2D-B60A-479F-9F95-9D423A06FAEA}" dt="2024-06-14T18:12:55.638" v="5967" actId="20577"/>
          <ac:spMkLst>
            <pc:docMk/>
            <pc:sldMk cId="2673461105" sldId="893"/>
            <ac:spMk id="6" creationId="{C92B53A4-DA29-40AD-336D-B4CDEE76B510}"/>
          </ac:spMkLst>
        </pc:spChg>
        <pc:spChg chg="mod">
          <ac:chgData name="Andreas Koksrud" userId="9d9beba6-c052-407a-8599-c781a677a996" providerId="ADAL" clId="{4C89AD2D-B60A-479F-9F95-9D423A06FAEA}" dt="2024-06-09T15:56:12.042" v="632" actId="20577"/>
          <ac:spMkLst>
            <pc:docMk/>
            <pc:sldMk cId="2673461105" sldId="893"/>
            <ac:spMk id="180" creationId="{00000000-0000-0000-0000-000000000000}"/>
          </ac:spMkLst>
        </pc:spChg>
      </pc:sldChg>
      <pc:sldChg chg="addSp delSp modSp add mod">
        <pc:chgData name="Andreas Koksrud" userId="9d9beba6-c052-407a-8599-c781a677a996" providerId="ADAL" clId="{4C89AD2D-B60A-479F-9F95-9D423A06FAEA}" dt="2024-07-25T22:21:12.531" v="30243" actId="20577"/>
        <pc:sldMkLst>
          <pc:docMk/>
          <pc:sldMk cId="3219145646" sldId="894"/>
        </pc:sldMkLst>
        <pc:spChg chg="add del mod">
          <ac:chgData name="Andreas Koksrud" userId="9d9beba6-c052-407a-8599-c781a677a996" providerId="ADAL" clId="{4C89AD2D-B60A-479F-9F95-9D423A06FAEA}" dt="2024-06-15T12:44:23.613" v="7906" actId="478"/>
          <ac:spMkLst>
            <pc:docMk/>
            <pc:sldMk cId="3219145646" sldId="894"/>
            <ac:spMk id="2" creationId="{D2218BBC-5F79-26A8-11EB-A8418B65A000}"/>
          </ac:spMkLst>
        </pc:spChg>
        <pc:spChg chg="add mod">
          <ac:chgData name="Andreas Koksrud" userId="9d9beba6-c052-407a-8599-c781a677a996" providerId="ADAL" clId="{4C89AD2D-B60A-479F-9F95-9D423A06FAEA}" dt="2024-06-14T18:13:10.066" v="5969"/>
          <ac:spMkLst>
            <pc:docMk/>
            <pc:sldMk cId="3219145646" sldId="894"/>
            <ac:spMk id="4" creationId="{1B53A489-8570-0099-E749-8FD7574DC86E}"/>
          </ac:spMkLst>
        </pc:spChg>
        <pc:spChg chg="add mod">
          <ac:chgData name="Andreas Koksrud" userId="9d9beba6-c052-407a-8599-c781a677a996" providerId="ADAL" clId="{4C89AD2D-B60A-479F-9F95-9D423A06FAEA}" dt="2024-06-14T18:13:16.679" v="5978" actId="20577"/>
          <ac:spMkLst>
            <pc:docMk/>
            <pc:sldMk cId="3219145646" sldId="894"/>
            <ac:spMk id="5" creationId="{6166047B-8814-0C38-10C7-8EB2A421732A}"/>
          </ac:spMkLst>
        </pc:spChg>
        <pc:spChg chg="mod">
          <ac:chgData name="Andreas Koksrud" userId="9d9beba6-c052-407a-8599-c781a677a996" providerId="ADAL" clId="{4C89AD2D-B60A-479F-9F95-9D423A06FAEA}" dt="2024-06-09T16:04:07.680" v="1258" actId="20577"/>
          <ac:spMkLst>
            <pc:docMk/>
            <pc:sldMk cId="3219145646" sldId="894"/>
            <ac:spMk id="180" creationId="{00000000-0000-0000-0000-000000000000}"/>
          </ac:spMkLst>
        </pc:spChg>
        <pc:spChg chg="mod">
          <ac:chgData name="Andreas Koksrud" userId="9d9beba6-c052-407a-8599-c781a677a996" providerId="ADAL" clId="{4C89AD2D-B60A-479F-9F95-9D423A06FAEA}" dt="2024-07-25T22:21:12.531" v="30243" actId="20577"/>
          <ac:spMkLst>
            <pc:docMk/>
            <pc:sldMk cId="3219145646" sldId="894"/>
            <ac:spMk id="181" creationId="{00000000-0000-0000-0000-000000000000}"/>
          </ac:spMkLst>
        </pc:spChg>
        <pc:picChg chg="add mod">
          <ac:chgData name="Andreas Koksrud" userId="9d9beba6-c052-407a-8599-c781a677a996" providerId="ADAL" clId="{4C89AD2D-B60A-479F-9F95-9D423A06FAEA}" dt="2024-07-25T22:19:47.389" v="30227" actId="1076"/>
          <ac:picMkLst>
            <pc:docMk/>
            <pc:sldMk cId="3219145646" sldId="894"/>
            <ac:picMk id="2" creationId="{AB32F7D6-E19E-497A-3F86-C104ABA28F5A}"/>
          </ac:picMkLst>
        </pc:picChg>
      </pc:sldChg>
      <pc:sldChg chg="modSp add del mod">
        <pc:chgData name="Andreas Koksrud" userId="9d9beba6-c052-407a-8599-c781a677a996" providerId="ADAL" clId="{4C89AD2D-B60A-479F-9F95-9D423A06FAEA}" dt="2024-06-09T16:06:52.111" v="1624" actId="47"/>
        <pc:sldMkLst>
          <pc:docMk/>
          <pc:sldMk cId="2918476849" sldId="895"/>
        </pc:sldMkLst>
        <pc:spChg chg="mod">
          <ac:chgData name="Andreas Koksrud" userId="9d9beba6-c052-407a-8599-c781a677a996" providerId="ADAL" clId="{4C89AD2D-B60A-479F-9F95-9D423A06FAEA}" dt="2024-06-09T16:04:46.500" v="1364" actId="20577"/>
          <ac:spMkLst>
            <pc:docMk/>
            <pc:sldMk cId="2918476849" sldId="895"/>
            <ac:spMk id="181" creationId="{00000000-0000-0000-0000-000000000000}"/>
          </ac:spMkLst>
        </pc:spChg>
      </pc:sldChg>
      <pc:sldChg chg="addSp delSp modSp add mod">
        <pc:chgData name="Andreas Koksrud" userId="9d9beba6-c052-407a-8599-c781a677a996" providerId="ADAL" clId="{4C89AD2D-B60A-479F-9F95-9D423A06FAEA}" dt="2024-07-31T19:24:29.615" v="31664"/>
        <pc:sldMkLst>
          <pc:docMk/>
          <pc:sldMk cId="2337525422" sldId="896"/>
        </pc:sldMkLst>
        <pc:spChg chg="add mod">
          <ac:chgData name="Andreas Koksrud" userId="9d9beba6-c052-407a-8599-c781a677a996" providerId="ADAL" clId="{4C89AD2D-B60A-479F-9F95-9D423A06FAEA}" dt="2024-06-14T18:13:20.266" v="5979"/>
          <ac:spMkLst>
            <pc:docMk/>
            <pc:sldMk cId="2337525422" sldId="896"/>
            <ac:spMk id="3" creationId="{0436C1E6-849D-6F32-454C-85CD2D06213E}"/>
          </ac:spMkLst>
        </pc:spChg>
        <pc:spChg chg="add mod">
          <ac:chgData name="Andreas Koksrud" userId="9d9beba6-c052-407a-8599-c781a677a996" providerId="ADAL" clId="{4C89AD2D-B60A-479F-9F95-9D423A06FAEA}" dt="2024-06-14T18:13:28.676" v="6008" actId="20577"/>
          <ac:spMkLst>
            <pc:docMk/>
            <pc:sldMk cId="2337525422" sldId="896"/>
            <ac:spMk id="4" creationId="{0974462C-B6CD-5AC1-6F38-F41CD1EDA65A}"/>
          </ac:spMkLst>
        </pc:spChg>
        <pc:spChg chg="add del mod">
          <ac:chgData name="Andreas Koksrud" userId="9d9beba6-c052-407a-8599-c781a677a996" providerId="ADAL" clId="{4C89AD2D-B60A-479F-9F95-9D423A06FAEA}" dt="2024-06-16T14:20:01.308" v="10402" actId="478"/>
          <ac:spMkLst>
            <pc:docMk/>
            <pc:sldMk cId="2337525422" sldId="896"/>
            <ac:spMk id="5" creationId="{A4755D63-F9C8-E71F-23AE-B7EBA116228D}"/>
          </ac:spMkLst>
        </pc:spChg>
        <pc:spChg chg="add mod">
          <ac:chgData name="Andreas Koksrud" userId="9d9beba6-c052-407a-8599-c781a677a996" providerId="ADAL" clId="{4C89AD2D-B60A-479F-9F95-9D423A06FAEA}" dt="2024-07-31T19:24:29.615" v="31664"/>
          <ac:spMkLst>
            <pc:docMk/>
            <pc:sldMk cId="2337525422" sldId="896"/>
            <ac:spMk id="6" creationId="{9C969DAC-2EBB-2DBC-9A8C-B83F40D2323A}"/>
          </ac:spMkLst>
        </pc:spChg>
        <pc:spChg chg="mod">
          <ac:chgData name="Andreas Koksrud" userId="9d9beba6-c052-407a-8599-c781a677a996" providerId="ADAL" clId="{4C89AD2D-B60A-479F-9F95-9D423A06FAEA}" dt="2024-07-30T04:18:59.368" v="31403" actId="20577"/>
          <ac:spMkLst>
            <pc:docMk/>
            <pc:sldMk cId="2337525422" sldId="896"/>
            <ac:spMk id="181" creationId="{00000000-0000-0000-0000-000000000000}"/>
          </ac:spMkLst>
        </pc:spChg>
        <pc:picChg chg="add del mod">
          <ac:chgData name="Andreas Koksrud" userId="9d9beba6-c052-407a-8599-c781a677a996" providerId="ADAL" clId="{4C89AD2D-B60A-479F-9F95-9D423A06FAEA}" dt="2024-06-17T17:54:50.456" v="11049" actId="478"/>
          <ac:picMkLst>
            <pc:docMk/>
            <pc:sldMk cId="2337525422" sldId="896"/>
            <ac:picMk id="5" creationId="{AB363283-69CC-A760-5008-223E8BAC2C22}"/>
          </ac:picMkLst>
        </pc:picChg>
        <pc:picChg chg="add mod ord">
          <ac:chgData name="Andreas Koksrud" userId="9d9beba6-c052-407a-8599-c781a677a996" providerId="ADAL" clId="{4C89AD2D-B60A-479F-9F95-9D423A06FAEA}" dt="2024-07-30T04:18:11.941" v="31311" actId="1076"/>
          <ac:picMkLst>
            <pc:docMk/>
            <pc:sldMk cId="2337525422" sldId="896"/>
            <ac:picMk id="13" creationId="{9261188E-BBB4-0D58-0DC3-A894997552E0}"/>
          </ac:picMkLst>
        </pc:picChg>
        <pc:cxnChg chg="add mod">
          <ac:chgData name="Andreas Koksrud" userId="9d9beba6-c052-407a-8599-c781a677a996" providerId="ADAL" clId="{4C89AD2D-B60A-479F-9F95-9D423A06FAEA}" dt="2024-07-30T04:18:11.941" v="31311" actId="1076"/>
          <ac:cxnSpMkLst>
            <pc:docMk/>
            <pc:sldMk cId="2337525422" sldId="896"/>
            <ac:cxnSpMk id="7" creationId="{B5825064-216D-4ADC-EAF0-DBB9144907A1}"/>
          </ac:cxnSpMkLst>
        </pc:cxnChg>
        <pc:cxnChg chg="add mod">
          <ac:chgData name="Andreas Koksrud" userId="9d9beba6-c052-407a-8599-c781a677a996" providerId="ADAL" clId="{4C89AD2D-B60A-479F-9F95-9D423A06FAEA}" dt="2024-06-17T17:49:31.886" v="11001"/>
          <ac:cxnSpMkLst>
            <pc:docMk/>
            <pc:sldMk cId="2337525422" sldId="896"/>
            <ac:cxnSpMk id="11" creationId="{A8358E83-B44C-507D-6E8C-05351FAFE7F6}"/>
          </ac:cxnSpMkLst>
        </pc:cxnChg>
      </pc:sldChg>
      <pc:sldChg chg="addSp modSp add mod">
        <pc:chgData name="Andreas Koksrud" userId="9d9beba6-c052-407a-8599-c781a677a996" providerId="ADAL" clId="{4C89AD2D-B60A-479F-9F95-9D423A06FAEA}" dt="2024-08-01T08:39:35.283" v="32830" actId="20577"/>
        <pc:sldMkLst>
          <pc:docMk/>
          <pc:sldMk cId="1698186835" sldId="897"/>
        </pc:sldMkLst>
        <pc:spChg chg="add mod">
          <ac:chgData name="Andreas Koksrud" userId="9d9beba6-c052-407a-8599-c781a677a996" providerId="ADAL" clId="{4C89AD2D-B60A-479F-9F95-9D423A06FAEA}" dt="2024-06-14T18:14:12.394" v="6018"/>
          <ac:spMkLst>
            <pc:docMk/>
            <pc:sldMk cId="1698186835" sldId="897"/>
            <ac:spMk id="3" creationId="{DE195669-58C7-6809-ADBB-87302C17F5B3}"/>
          </ac:spMkLst>
        </pc:spChg>
        <pc:spChg chg="add mod">
          <ac:chgData name="Andreas Koksrud" userId="9d9beba6-c052-407a-8599-c781a677a996" providerId="ADAL" clId="{4C89AD2D-B60A-479F-9F95-9D423A06FAEA}" dt="2024-06-14T18:14:18.793" v="6026" actId="20577"/>
          <ac:spMkLst>
            <pc:docMk/>
            <pc:sldMk cId="1698186835" sldId="897"/>
            <ac:spMk id="4" creationId="{14230EE4-A9B6-BD86-C62A-2BFAE71A2822}"/>
          </ac:spMkLst>
        </pc:spChg>
        <pc:spChg chg="mod">
          <ac:chgData name="Andreas Koksrud" userId="9d9beba6-c052-407a-8599-c781a677a996" providerId="ADAL" clId="{4C89AD2D-B60A-479F-9F95-9D423A06FAEA}" dt="2024-06-09T16:07:27.307" v="1671" actId="20577"/>
          <ac:spMkLst>
            <pc:docMk/>
            <pc:sldMk cId="1698186835" sldId="897"/>
            <ac:spMk id="180" creationId="{00000000-0000-0000-0000-000000000000}"/>
          </ac:spMkLst>
        </pc:spChg>
        <pc:spChg chg="mod">
          <ac:chgData name="Andreas Koksrud" userId="9d9beba6-c052-407a-8599-c781a677a996" providerId="ADAL" clId="{4C89AD2D-B60A-479F-9F95-9D423A06FAEA}" dt="2024-08-01T08:39:35.283" v="32830" actId="20577"/>
          <ac:spMkLst>
            <pc:docMk/>
            <pc:sldMk cId="1698186835" sldId="897"/>
            <ac:spMk id="181" creationId="{00000000-0000-0000-0000-000000000000}"/>
          </ac:spMkLst>
        </pc:spChg>
        <pc:picChg chg="add mod">
          <ac:chgData name="Andreas Koksrud" userId="9d9beba6-c052-407a-8599-c781a677a996" providerId="ADAL" clId="{4C89AD2D-B60A-479F-9F95-9D423A06FAEA}" dt="2024-06-30T09:31:06.456" v="12460" actId="1076"/>
          <ac:picMkLst>
            <pc:docMk/>
            <pc:sldMk cId="1698186835" sldId="897"/>
            <ac:picMk id="2050" creationId="{4D1C5D00-C5E4-7749-7197-C9B46645681E}"/>
          </ac:picMkLst>
        </pc:picChg>
      </pc:sldChg>
      <pc:sldChg chg="addSp delSp modSp add mod">
        <pc:chgData name="Andreas Koksrud" userId="9d9beba6-c052-407a-8599-c781a677a996" providerId="ADAL" clId="{4C89AD2D-B60A-479F-9F95-9D423A06FAEA}" dt="2024-08-01T09:00:17.818" v="34414" actId="1076"/>
        <pc:sldMkLst>
          <pc:docMk/>
          <pc:sldMk cId="3624130659" sldId="898"/>
        </pc:sldMkLst>
        <pc:spChg chg="add mod">
          <ac:chgData name="Andreas Koksrud" userId="9d9beba6-c052-407a-8599-c781a677a996" providerId="ADAL" clId="{4C89AD2D-B60A-479F-9F95-9D423A06FAEA}" dt="2024-06-14T18:14:34.907" v="6030"/>
          <ac:spMkLst>
            <pc:docMk/>
            <pc:sldMk cId="3624130659" sldId="898"/>
            <ac:spMk id="4" creationId="{DE31E3CE-1F59-7A8C-281A-D17BCA8237EA}"/>
          </ac:spMkLst>
        </pc:spChg>
        <pc:spChg chg="add mod">
          <ac:chgData name="Andreas Koksrud" userId="9d9beba6-c052-407a-8599-c781a677a996" providerId="ADAL" clId="{4C89AD2D-B60A-479F-9F95-9D423A06FAEA}" dt="2024-06-14T18:14:40.979" v="6039" actId="20577"/>
          <ac:spMkLst>
            <pc:docMk/>
            <pc:sldMk cId="3624130659" sldId="898"/>
            <ac:spMk id="5" creationId="{F8C53B93-A4D2-5C78-E224-F1F4C6AB4C84}"/>
          </ac:spMkLst>
        </pc:spChg>
        <pc:spChg chg="mod">
          <ac:chgData name="Andreas Koksrud" userId="9d9beba6-c052-407a-8599-c781a677a996" providerId="ADAL" clId="{4C89AD2D-B60A-479F-9F95-9D423A06FAEA}" dt="2024-06-09T16:07:48.229" v="1724" actId="20577"/>
          <ac:spMkLst>
            <pc:docMk/>
            <pc:sldMk cId="3624130659" sldId="898"/>
            <ac:spMk id="180" creationId="{00000000-0000-0000-0000-000000000000}"/>
          </ac:spMkLst>
        </pc:spChg>
        <pc:spChg chg="mod">
          <ac:chgData name="Andreas Koksrud" userId="9d9beba6-c052-407a-8599-c781a677a996" providerId="ADAL" clId="{4C89AD2D-B60A-479F-9F95-9D423A06FAEA}" dt="2024-08-01T08:59:16.754" v="34404"/>
          <ac:spMkLst>
            <pc:docMk/>
            <pc:sldMk cId="3624130659" sldId="898"/>
            <ac:spMk id="181" creationId="{00000000-0000-0000-0000-000000000000}"/>
          </ac:spMkLst>
        </pc:spChg>
        <pc:picChg chg="add del mod">
          <ac:chgData name="Andreas Koksrud" userId="9d9beba6-c052-407a-8599-c781a677a996" providerId="ADAL" clId="{4C89AD2D-B60A-479F-9F95-9D423A06FAEA}" dt="2024-07-05T19:19:04.431" v="20063" actId="478"/>
          <ac:picMkLst>
            <pc:docMk/>
            <pc:sldMk cId="3624130659" sldId="898"/>
            <ac:picMk id="3" creationId="{DBFC979B-2C45-BC09-60D9-9CD280D1798B}"/>
          </ac:picMkLst>
        </pc:picChg>
        <pc:picChg chg="add mod">
          <ac:chgData name="Andreas Koksrud" userId="9d9beba6-c052-407a-8599-c781a677a996" providerId="ADAL" clId="{4C89AD2D-B60A-479F-9F95-9D423A06FAEA}" dt="2024-08-01T09:00:17.818" v="34414" actId="1076"/>
          <ac:picMkLst>
            <pc:docMk/>
            <pc:sldMk cId="3624130659" sldId="898"/>
            <ac:picMk id="6" creationId="{C4B9405E-09BB-FE31-021E-77CB22C502A7}"/>
          </ac:picMkLst>
        </pc:picChg>
        <pc:picChg chg="add del mod">
          <ac:chgData name="Andreas Koksrud" userId="9d9beba6-c052-407a-8599-c781a677a996" providerId="ADAL" clId="{4C89AD2D-B60A-479F-9F95-9D423A06FAEA}" dt="2024-08-01T09:00:07.755" v="34410" actId="21"/>
          <ac:picMkLst>
            <pc:docMk/>
            <pc:sldMk cId="3624130659" sldId="898"/>
            <ac:picMk id="1026" creationId="{94E51968-0C13-D58E-DB77-78CBB7E99A6F}"/>
          </ac:picMkLst>
        </pc:picChg>
        <pc:cxnChg chg="add del mod">
          <ac:chgData name="Andreas Koksrud" userId="9d9beba6-c052-407a-8599-c781a677a996" providerId="ADAL" clId="{4C89AD2D-B60A-479F-9F95-9D423A06FAEA}" dt="2024-07-05T19:19:05.716" v="20064" actId="478"/>
          <ac:cxnSpMkLst>
            <pc:docMk/>
            <pc:sldMk cId="3624130659" sldId="898"/>
            <ac:cxnSpMk id="2" creationId="{4AD50FEF-2D91-79F7-C2C0-E3BFC6566731}"/>
          </ac:cxnSpMkLst>
        </pc:cxnChg>
      </pc:sldChg>
      <pc:sldChg chg="addSp modSp add mod">
        <pc:chgData name="Andreas Koksrud" userId="9d9beba6-c052-407a-8599-c781a677a996" providerId="ADAL" clId="{4C89AD2D-B60A-479F-9F95-9D423A06FAEA}" dt="2024-08-04T15:53:38.080" v="36223" actId="20577"/>
        <pc:sldMkLst>
          <pc:docMk/>
          <pc:sldMk cId="1695057909" sldId="899"/>
        </pc:sldMkLst>
        <pc:spChg chg="add mod">
          <ac:chgData name="Andreas Koksrud" userId="9d9beba6-c052-407a-8599-c781a677a996" providerId="ADAL" clId="{4C89AD2D-B60A-479F-9F95-9D423A06FAEA}" dt="2024-06-14T18:14:47.368" v="6040"/>
          <ac:spMkLst>
            <pc:docMk/>
            <pc:sldMk cId="1695057909" sldId="899"/>
            <ac:spMk id="3" creationId="{B79B450D-8DFD-EF2D-F0F8-4BB41A055BDC}"/>
          </ac:spMkLst>
        </pc:spChg>
        <pc:spChg chg="add mod">
          <ac:chgData name="Andreas Koksrud" userId="9d9beba6-c052-407a-8599-c781a677a996" providerId="ADAL" clId="{4C89AD2D-B60A-479F-9F95-9D423A06FAEA}" dt="2024-06-14T18:14:52.602" v="6049" actId="20577"/>
          <ac:spMkLst>
            <pc:docMk/>
            <pc:sldMk cId="1695057909" sldId="899"/>
            <ac:spMk id="4" creationId="{AC1EBB48-0581-2CD1-8294-9EAA10B2195B}"/>
          </ac:spMkLst>
        </pc:spChg>
        <pc:spChg chg="mod">
          <ac:chgData name="Andreas Koksrud" userId="9d9beba6-c052-407a-8599-c781a677a996" providerId="ADAL" clId="{4C89AD2D-B60A-479F-9F95-9D423A06FAEA}" dt="2024-06-09T16:09:06.033" v="1975" actId="20577"/>
          <ac:spMkLst>
            <pc:docMk/>
            <pc:sldMk cId="1695057909" sldId="899"/>
            <ac:spMk id="180" creationId="{00000000-0000-0000-0000-000000000000}"/>
          </ac:spMkLst>
        </pc:spChg>
        <pc:spChg chg="mod">
          <ac:chgData name="Andreas Koksrud" userId="9d9beba6-c052-407a-8599-c781a677a996" providerId="ADAL" clId="{4C89AD2D-B60A-479F-9F95-9D423A06FAEA}" dt="2024-08-04T15:53:38.080" v="36223" actId="20577"/>
          <ac:spMkLst>
            <pc:docMk/>
            <pc:sldMk cId="1695057909" sldId="899"/>
            <ac:spMk id="181" creationId="{00000000-0000-0000-0000-000000000000}"/>
          </ac:spMkLst>
        </pc:spChg>
      </pc:sldChg>
      <pc:sldChg chg="addSp modSp add mod">
        <pc:chgData name="Andreas Koksrud" userId="9d9beba6-c052-407a-8599-c781a677a996" providerId="ADAL" clId="{4C89AD2D-B60A-479F-9F95-9D423A06FAEA}" dt="2024-08-03T09:30:22.735" v="35091" actId="6549"/>
        <pc:sldMkLst>
          <pc:docMk/>
          <pc:sldMk cId="1681035015" sldId="900"/>
        </pc:sldMkLst>
        <pc:spChg chg="add mod">
          <ac:chgData name="Andreas Koksrud" userId="9d9beba6-c052-407a-8599-c781a677a996" providerId="ADAL" clId="{4C89AD2D-B60A-479F-9F95-9D423A06FAEA}" dt="2024-06-14T18:16:49.140" v="6224" actId="20577"/>
          <ac:spMkLst>
            <pc:docMk/>
            <pc:sldMk cId="1681035015" sldId="900"/>
            <ac:spMk id="3" creationId="{8B0EB746-8244-5757-EA77-ABE9D60BF1DB}"/>
          </ac:spMkLst>
        </pc:spChg>
        <pc:spChg chg="add mod">
          <ac:chgData name="Andreas Koksrud" userId="9d9beba6-c052-407a-8599-c781a677a996" providerId="ADAL" clId="{4C89AD2D-B60A-479F-9F95-9D423A06FAEA}" dt="2024-06-14T18:17:10.941" v="6295" actId="20577"/>
          <ac:spMkLst>
            <pc:docMk/>
            <pc:sldMk cId="1681035015" sldId="900"/>
            <ac:spMk id="4" creationId="{6D5A99BA-E2FE-FBF1-0ABF-DEC72FED1C6A}"/>
          </ac:spMkLst>
        </pc:spChg>
        <pc:spChg chg="mod">
          <ac:chgData name="Andreas Koksrud" userId="9d9beba6-c052-407a-8599-c781a677a996" providerId="ADAL" clId="{4C89AD2D-B60A-479F-9F95-9D423A06FAEA}" dt="2024-06-09T16:18:41.260" v="2435" actId="20577"/>
          <ac:spMkLst>
            <pc:docMk/>
            <pc:sldMk cId="1681035015" sldId="900"/>
            <ac:spMk id="180" creationId="{00000000-0000-0000-0000-000000000000}"/>
          </ac:spMkLst>
        </pc:spChg>
        <pc:spChg chg="mod">
          <ac:chgData name="Andreas Koksrud" userId="9d9beba6-c052-407a-8599-c781a677a996" providerId="ADAL" clId="{4C89AD2D-B60A-479F-9F95-9D423A06FAEA}" dt="2024-08-03T09:30:22.735" v="35091" actId="6549"/>
          <ac:spMkLst>
            <pc:docMk/>
            <pc:sldMk cId="1681035015" sldId="900"/>
            <ac:spMk id="181" creationId="{00000000-0000-0000-0000-000000000000}"/>
          </ac:spMkLst>
        </pc:spChg>
      </pc:sldChg>
      <pc:sldChg chg="addSp delSp modSp add mod">
        <pc:chgData name="Andreas Koksrud" userId="9d9beba6-c052-407a-8599-c781a677a996" providerId="ADAL" clId="{4C89AD2D-B60A-479F-9F95-9D423A06FAEA}" dt="2024-06-14T18:12:35.425" v="5937" actId="20577"/>
        <pc:sldMkLst>
          <pc:docMk/>
          <pc:sldMk cId="1864432717" sldId="901"/>
        </pc:sldMkLst>
        <pc:spChg chg="del mod">
          <ac:chgData name="Andreas Koksrud" userId="9d9beba6-c052-407a-8599-c781a677a996" providerId="ADAL" clId="{4C89AD2D-B60A-479F-9F95-9D423A06FAEA}" dt="2024-06-14T12:00:16.277" v="4654" actId="478"/>
          <ac:spMkLst>
            <pc:docMk/>
            <pc:sldMk cId="1864432717" sldId="901"/>
            <ac:spMk id="2" creationId="{E83F8947-299D-4698-B80E-56B8E23125F0}"/>
          </ac:spMkLst>
        </pc:spChg>
        <pc:spChg chg="add">
          <ac:chgData name="Andreas Koksrud" userId="9d9beba6-c052-407a-8599-c781a677a996" providerId="ADAL" clId="{4C89AD2D-B60A-479F-9F95-9D423A06FAEA}" dt="2024-06-14T11:59:21.889" v="4634"/>
          <ac:spMkLst>
            <pc:docMk/>
            <pc:sldMk cId="1864432717" sldId="901"/>
            <ac:spMk id="4" creationId="{3769DA31-0B9F-AAD4-8E75-F6F0750D830D}"/>
          </ac:spMkLst>
        </pc:spChg>
        <pc:spChg chg="mod">
          <ac:chgData name="Andreas Koksrud" userId="9d9beba6-c052-407a-8599-c781a677a996" providerId="ADAL" clId="{4C89AD2D-B60A-479F-9F95-9D423A06FAEA}" dt="2024-06-09T16:16:41.630" v="2274" actId="20577"/>
          <ac:spMkLst>
            <pc:docMk/>
            <pc:sldMk cId="1864432717" sldId="901"/>
            <ac:spMk id="8" creationId="{F6664A8B-FDC6-48AB-8C23-E58136970003}"/>
          </ac:spMkLst>
        </pc:spChg>
        <pc:spChg chg="add mod">
          <ac:chgData name="Andreas Koksrud" userId="9d9beba6-c052-407a-8599-c781a677a996" providerId="ADAL" clId="{4C89AD2D-B60A-479F-9F95-9D423A06FAEA}" dt="2024-06-14T12:23:00.344" v="4730" actId="20577"/>
          <ac:spMkLst>
            <pc:docMk/>
            <pc:sldMk cId="1864432717" sldId="901"/>
            <ac:spMk id="9" creationId="{D85862BA-0BD7-3D66-8C45-40921FA8DDEE}"/>
          </ac:spMkLst>
        </pc:spChg>
        <pc:spChg chg="add del mod">
          <ac:chgData name="Andreas Koksrud" userId="9d9beba6-c052-407a-8599-c781a677a996" providerId="ADAL" clId="{4C89AD2D-B60A-479F-9F95-9D423A06FAEA}" dt="2024-06-14T18:11:25.738" v="5887" actId="478"/>
          <ac:spMkLst>
            <pc:docMk/>
            <pc:sldMk cId="1864432717" sldId="901"/>
            <ac:spMk id="11" creationId="{39F9BF4A-984D-6626-ACFA-0DD0BB401F93}"/>
          </ac:spMkLst>
        </pc:spChg>
        <pc:spChg chg="add mod">
          <ac:chgData name="Andreas Koksrud" userId="9d9beba6-c052-407a-8599-c781a677a996" providerId="ADAL" clId="{4C89AD2D-B60A-479F-9F95-9D423A06FAEA}" dt="2024-06-14T18:12:17.221" v="5915"/>
          <ac:spMkLst>
            <pc:docMk/>
            <pc:sldMk cId="1864432717" sldId="901"/>
            <ac:spMk id="12" creationId="{1F8D2083-F5C2-184E-E92C-EAFB1AD854A6}"/>
          </ac:spMkLst>
        </pc:spChg>
        <pc:spChg chg="add mod">
          <ac:chgData name="Andreas Koksrud" userId="9d9beba6-c052-407a-8599-c781a677a996" providerId="ADAL" clId="{4C89AD2D-B60A-479F-9F95-9D423A06FAEA}" dt="2024-06-14T18:12:35.425" v="5937" actId="20577"/>
          <ac:spMkLst>
            <pc:docMk/>
            <pc:sldMk cId="1864432717" sldId="901"/>
            <ac:spMk id="13" creationId="{786F22B3-FE13-B1BE-B6B7-43E9EFCFFB2A}"/>
          </ac:spMkLst>
        </pc:spChg>
      </pc:sldChg>
      <pc:sldChg chg="addSp modSp add mod">
        <pc:chgData name="Andreas Koksrud" userId="9d9beba6-c052-407a-8599-c781a677a996" providerId="ADAL" clId="{4C89AD2D-B60A-479F-9F95-9D423A06FAEA}" dt="2024-08-03T09:29:36.151" v="35077" actId="6549"/>
        <pc:sldMkLst>
          <pc:docMk/>
          <pc:sldMk cId="1114492161" sldId="902"/>
        </pc:sldMkLst>
        <pc:spChg chg="add mod">
          <ac:chgData name="Andreas Koksrud" userId="9d9beba6-c052-407a-8599-c781a677a996" providerId="ADAL" clId="{4C89AD2D-B60A-479F-9F95-9D423A06FAEA}" dt="2024-07-15T20:21:49.662" v="22835" actId="14100"/>
          <ac:spMkLst>
            <pc:docMk/>
            <pc:sldMk cId="1114492161" sldId="902"/>
            <ac:spMk id="2" creationId="{0E718D1A-BAB2-5007-8BE6-61156E0C9DD0}"/>
          </ac:spMkLst>
        </pc:spChg>
        <pc:spChg chg="add mod">
          <ac:chgData name="Andreas Koksrud" userId="9d9beba6-c052-407a-8599-c781a677a996" providerId="ADAL" clId="{4C89AD2D-B60A-479F-9F95-9D423A06FAEA}" dt="2024-06-14T18:17:19.022" v="6296"/>
          <ac:spMkLst>
            <pc:docMk/>
            <pc:sldMk cId="1114492161" sldId="902"/>
            <ac:spMk id="3" creationId="{E90CFC7B-40A5-35FF-22C5-CF969BC4FD9A}"/>
          </ac:spMkLst>
        </pc:spChg>
        <pc:spChg chg="add mod">
          <ac:chgData name="Andreas Koksrud" userId="9d9beba6-c052-407a-8599-c781a677a996" providerId="ADAL" clId="{4C89AD2D-B60A-479F-9F95-9D423A06FAEA}" dt="2024-06-14T18:17:29.373" v="6314" actId="20577"/>
          <ac:spMkLst>
            <pc:docMk/>
            <pc:sldMk cId="1114492161" sldId="902"/>
            <ac:spMk id="4" creationId="{3BBB086E-1ADE-1D88-9765-B028FBD8ABA8}"/>
          </ac:spMkLst>
        </pc:spChg>
        <pc:spChg chg="add mod">
          <ac:chgData name="Andreas Koksrud" userId="9d9beba6-c052-407a-8599-c781a677a996" providerId="ADAL" clId="{4C89AD2D-B60A-479F-9F95-9D423A06FAEA}" dt="2024-07-15T20:17:57.563" v="22622"/>
          <ac:spMkLst>
            <pc:docMk/>
            <pc:sldMk cId="1114492161" sldId="902"/>
            <ac:spMk id="5" creationId="{38C55325-C963-B30A-575B-D0D8D37D4303}"/>
          </ac:spMkLst>
        </pc:spChg>
        <pc:spChg chg="add mod">
          <ac:chgData name="Andreas Koksrud" userId="9d9beba6-c052-407a-8599-c781a677a996" providerId="ADAL" clId="{4C89AD2D-B60A-479F-9F95-9D423A06FAEA}" dt="2024-07-15T20:21:47.737" v="22834" actId="14100"/>
          <ac:spMkLst>
            <pc:docMk/>
            <pc:sldMk cId="1114492161" sldId="902"/>
            <ac:spMk id="6" creationId="{8D384051-5895-E085-AA2D-49067265D8D5}"/>
          </ac:spMkLst>
        </pc:spChg>
        <pc:spChg chg="mod">
          <ac:chgData name="Andreas Koksrud" userId="9d9beba6-c052-407a-8599-c781a677a996" providerId="ADAL" clId="{4C89AD2D-B60A-479F-9F95-9D423A06FAEA}" dt="2024-06-09T16:19:13.751" v="2453" actId="20577"/>
          <ac:spMkLst>
            <pc:docMk/>
            <pc:sldMk cId="1114492161" sldId="902"/>
            <ac:spMk id="180" creationId="{00000000-0000-0000-0000-000000000000}"/>
          </ac:spMkLst>
        </pc:spChg>
        <pc:spChg chg="mod">
          <ac:chgData name="Andreas Koksrud" userId="9d9beba6-c052-407a-8599-c781a677a996" providerId="ADAL" clId="{4C89AD2D-B60A-479F-9F95-9D423A06FAEA}" dt="2024-08-03T09:29:36.151" v="35077" actId="6549"/>
          <ac:spMkLst>
            <pc:docMk/>
            <pc:sldMk cId="1114492161" sldId="902"/>
            <ac:spMk id="181" creationId="{00000000-0000-0000-0000-000000000000}"/>
          </ac:spMkLst>
        </pc:spChg>
        <pc:picChg chg="add mod">
          <ac:chgData name="Andreas Koksrud" userId="9d9beba6-c052-407a-8599-c781a677a996" providerId="ADAL" clId="{4C89AD2D-B60A-479F-9F95-9D423A06FAEA}" dt="2024-07-15T20:24:15.203" v="23180" actId="1076"/>
          <ac:picMkLst>
            <pc:docMk/>
            <pc:sldMk cId="1114492161" sldId="902"/>
            <ac:picMk id="8" creationId="{798A868B-B767-69E4-287E-CB3B6F648DAA}"/>
          </ac:picMkLst>
        </pc:picChg>
        <pc:picChg chg="add mod">
          <ac:chgData name="Andreas Koksrud" userId="9d9beba6-c052-407a-8599-c781a677a996" providerId="ADAL" clId="{4C89AD2D-B60A-479F-9F95-9D423A06FAEA}" dt="2024-07-15T20:24:30.776" v="23182" actId="1076"/>
          <ac:picMkLst>
            <pc:docMk/>
            <pc:sldMk cId="1114492161" sldId="902"/>
            <ac:picMk id="10" creationId="{22831BB3-841B-0F08-C44F-165A331C068E}"/>
          </ac:picMkLst>
        </pc:picChg>
        <pc:picChg chg="add mod">
          <ac:chgData name="Andreas Koksrud" userId="9d9beba6-c052-407a-8599-c781a677a996" providerId="ADAL" clId="{4C89AD2D-B60A-479F-9F95-9D423A06FAEA}" dt="2024-07-15T20:24:59.099" v="23185" actId="14100"/>
          <ac:picMkLst>
            <pc:docMk/>
            <pc:sldMk cId="1114492161" sldId="902"/>
            <ac:picMk id="12" creationId="{CCFAB7E3-EF10-C317-0531-416DA91BAF25}"/>
          </ac:picMkLst>
        </pc:picChg>
      </pc:sldChg>
      <pc:sldChg chg="addSp modSp add mod">
        <pc:chgData name="Andreas Koksrud" userId="9d9beba6-c052-407a-8599-c781a677a996" providerId="ADAL" clId="{4C89AD2D-B60A-479F-9F95-9D423A06FAEA}" dt="2024-08-04T15:57:14.436" v="36360" actId="20577"/>
        <pc:sldMkLst>
          <pc:docMk/>
          <pc:sldMk cId="2933509549" sldId="903"/>
        </pc:sldMkLst>
        <pc:spChg chg="add mod">
          <ac:chgData name="Andreas Koksrud" userId="9d9beba6-c052-407a-8599-c781a677a996" providerId="ADAL" clId="{4C89AD2D-B60A-479F-9F95-9D423A06FAEA}" dt="2024-06-14T18:17:31.069" v="6315"/>
          <ac:spMkLst>
            <pc:docMk/>
            <pc:sldMk cId="2933509549" sldId="903"/>
            <ac:spMk id="3" creationId="{A5C4ADF1-3D1F-20DA-C1A9-2BBF14F5D437}"/>
          </ac:spMkLst>
        </pc:spChg>
        <pc:spChg chg="add mod">
          <ac:chgData name="Andreas Koksrud" userId="9d9beba6-c052-407a-8599-c781a677a996" providerId="ADAL" clId="{4C89AD2D-B60A-479F-9F95-9D423A06FAEA}" dt="2024-06-14T18:17:39.901" v="6337" actId="20577"/>
          <ac:spMkLst>
            <pc:docMk/>
            <pc:sldMk cId="2933509549" sldId="903"/>
            <ac:spMk id="4" creationId="{4E1C2F61-69D1-C4C7-A93C-FAB0264657C4}"/>
          </ac:spMkLst>
        </pc:spChg>
        <pc:spChg chg="mod">
          <ac:chgData name="Andreas Koksrud" userId="9d9beba6-c052-407a-8599-c781a677a996" providerId="ADAL" clId="{4C89AD2D-B60A-479F-9F95-9D423A06FAEA}" dt="2024-08-04T15:56:21.595" v="36280" actId="20577"/>
          <ac:spMkLst>
            <pc:docMk/>
            <pc:sldMk cId="2933509549" sldId="903"/>
            <ac:spMk id="180" creationId="{00000000-0000-0000-0000-000000000000}"/>
          </ac:spMkLst>
        </pc:spChg>
        <pc:spChg chg="mod">
          <ac:chgData name="Andreas Koksrud" userId="9d9beba6-c052-407a-8599-c781a677a996" providerId="ADAL" clId="{4C89AD2D-B60A-479F-9F95-9D423A06FAEA}" dt="2024-08-04T15:57:14.436" v="36360" actId="20577"/>
          <ac:spMkLst>
            <pc:docMk/>
            <pc:sldMk cId="2933509549" sldId="903"/>
            <ac:spMk id="181" creationId="{00000000-0000-0000-0000-000000000000}"/>
          </ac:spMkLst>
        </pc:spChg>
      </pc:sldChg>
      <pc:sldChg chg="addSp modSp add mod">
        <pc:chgData name="Andreas Koksrud" userId="9d9beba6-c052-407a-8599-c781a677a996" providerId="ADAL" clId="{4C89AD2D-B60A-479F-9F95-9D423A06FAEA}" dt="2024-08-04T16:17:33.430" v="36616" actId="15"/>
        <pc:sldMkLst>
          <pc:docMk/>
          <pc:sldMk cId="2986239912" sldId="904"/>
        </pc:sldMkLst>
        <pc:spChg chg="add mod">
          <ac:chgData name="Andreas Koksrud" userId="9d9beba6-c052-407a-8599-c781a677a996" providerId="ADAL" clId="{4C89AD2D-B60A-479F-9F95-9D423A06FAEA}" dt="2024-06-14T18:18:23.065" v="6350"/>
          <ac:spMkLst>
            <pc:docMk/>
            <pc:sldMk cId="2986239912" sldId="904"/>
            <ac:spMk id="3" creationId="{1EEFFF91-E5FB-BE38-D2DD-FD38DA4AA6E0}"/>
          </ac:spMkLst>
        </pc:spChg>
        <pc:spChg chg="add mod">
          <ac:chgData name="Andreas Koksrud" userId="9d9beba6-c052-407a-8599-c781a677a996" providerId="ADAL" clId="{4C89AD2D-B60A-479F-9F95-9D423A06FAEA}" dt="2024-06-14T18:18:29.048" v="6370" actId="20577"/>
          <ac:spMkLst>
            <pc:docMk/>
            <pc:sldMk cId="2986239912" sldId="904"/>
            <ac:spMk id="4" creationId="{2AAFDAAC-8F4B-153F-5BA4-4AA004EB1E80}"/>
          </ac:spMkLst>
        </pc:spChg>
        <pc:spChg chg="mod">
          <ac:chgData name="Andreas Koksrud" userId="9d9beba6-c052-407a-8599-c781a677a996" providerId="ADAL" clId="{4C89AD2D-B60A-479F-9F95-9D423A06FAEA}" dt="2024-08-04T16:16:36.496" v="36549" actId="20577"/>
          <ac:spMkLst>
            <pc:docMk/>
            <pc:sldMk cId="2986239912" sldId="904"/>
            <ac:spMk id="180" creationId="{00000000-0000-0000-0000-000000000000}"/>
          </ac:spMkLst>
        </pc:spChg>
        <pc:spChg chg="mod">
          <ac:chgData name="Andreas Koksrud" userId="9d9beba6-c052-407a-8599-c781a677a996" providerId="ADAL" clId="{4C89AD2D-B60A-479F-9F95-9D423A06FAEA}" dt="2024-08-04T16:17:33.430" v="36616" actId="15"/>
          <ac:spMkLst>
            <pc:docMk/>
            <pc:sldMk cId="2986239912" sldId="904"/>
            <ac:spMk id="181" creationId="{00000000-0000-0000-0000-000000000000}"/>
          </ac:spMkLst>
        </pc:spChg>
      </pc:sldChg>
      <pc:sldChg chg="addSp modSp add mod">
        <pc:chgData name="Andreas Koksrud" userId="9d9beba6-c052-407a-8599-c781a677a996" providerId="ADAL" clId="{4C89AD2D-B60A-479F-9F95-9D423A06FAEA}" dt="2024-07-16T19:30:49.304" v="25731" actId="20577"/>
        <pc:sldMkLst>
          <pc:docMk/>
          <pc:sldMk cId="2439861555" sldId="905"/>
        </pc:sldMkLst>
        <pc:spChg chg="add mod">
          <ac:chgData name="Andreas Koksrud" userId="9d9beba6-c052-407a-8599-c781a677a996" providerId="ADAL" clId="{4C89AD2D-B60A-479F-9F95-9D423A06FAEA}" dt="2024-06-14T18:18:39.271" v="6371"/>
          <ac:spMkLst>
            <pc:docMk/>
            <pc:sldMk cId="2439861555" sldId="905"/>
            <ac:spMk id="3" creationId="{8270A7FD-253D-34C1-5FC1-AB0F85467474}"/>
          </ac:spMkLst>
        </pc:spChg>
        <pc:spChg chg="add mod">
          <ac:chgData name="Andreas Koksrud" userId="9d9beba6-c052-407a-8599-c781a677a996" providerId="ADAL" clId="{4C89AD2D-B60A-479F-9F95-9D423A06FAEA}" dt="2024-06-14T18:18:45.433" v="6388" actId="20577"/>
          <ac:spMkLst>
            <pc:docMk/>
            <pc:sldMk cId="2439861555" sldId="905"/>
            <ac:spMk id="4" creationId="{06D484B0-8A03-2AA5-1C90-502CFFA0A0A7}"/>
          </ac:spMkLst>
        </pc:spChg>
        <pc:spChg chg="mod">
          <ac:chgData name="Andreas Koksrud" userId="9d9beba6-c052-407a-8599-c781a677a996" providerId="ADAL" clId="{4C89AD2D-B60A-479F-9F95-9D423A06FAEA}" dt="2024-06-09T16:23:06.182" v="3072" actId="20577"/>
          <ac:spMkLst>
            <pc:docMk/>
            <pc:sldMk cId="2439861555" sldId="905"/>
            <ac:spMk id="180" creationId="{00000000-0000-0000-0000-000000000000}"/>
          </ac:spMkLst>
        </pc:spChg>
        <pc:spChg chg="mod">
          <ac:chgData name="Andreas Koksrud" userId="9d9beba6-c052-407a-8599-c781a677a996" providerId="ADAL" clId="{4C89AD2D-B60A-479F-9F95-9D423A06FAEA}" dt="2024-07-16T19:30:49.304" v="25731" actId="20577"/>
          <ac:spMkLst>
            <pc:docMk/>
            <pc:sldMk cId="2439861555" sldId="905"/>
            <ac:spMk id="181" creationId="{00000000-0000-0000-0000-000000000000}"/>
          </ac:spMkLst>
        </pc:spChg>
      </pc:sldChg>
      <pc:sldChg chg="addSp modSp add mod">
        <pc:chgData name="Andreas Koksrud" userId="9d9beba6-c052-407a-8599-c781a677a996" providerId="ADAL" clId="{4C89AD2D-B60A-479F-9F95-9D423A06FAEA}" dt="2024-08-06T13:15:45.518" v="38772" actId="20577"/>
        <pc:sldMkLst>
          <pc:docMk/>
          <pc:sldMk cId="3378771878" sldId="906"/>
        </pc:sldMkLst>
        <pc:spChg chg="add mod">
          <ac:chgData name="Andreas Koksrud" userId="9d9beba6-c052-407a-8599-c781a677a996" providerId="ADAL" clId="{4C89AD2D-B60A-479F-9F95-9D423A06FAEA}" dt="2024-06-14T18:18:52.695" v="6390"/>
          <ac:spMkLst>
            <pc:docMk/>
            <pc:sldMk cId="3378771878" sldId="906"/>
            <ac:spMk id="3" creationId="{CBF03407-D423-82A3-7799-8E22BD867126}"/>
          </ac:spMkLst>
        </pc:spChg>
        <pc:spChg chg="add mod">
          <ac:chgData name="Andreas Koksrud" userId="9d9beba6-c052-407a-8599-c781a677a996" providerId="ADAL" clId="{4C89AD2D-B60A-479F-9F95-9D423A06FAEA}" dt="2024-08-03T09:25:15.395" v="34791" actId="20577"/>
          <ac:spMkLst>
            <pc:docMk/>
            <pc:sldMk cId="3378771878" sldId="906"/>
            <ac:spMk id="4" creationId="{5DEE125A-D0E1-5DDF-028E-C5FA4A15F28C}"/>
          </ac:spMkLst>
        </pc:spChg>
        <pc:spChg chg="mod">
          <ac:chgData name="Andreas Koksrud" userId="9d9beba6-c052-407a-8599-c781a677a996" providerId="ADAL" clId="{4C89AD2D-B60A-479F-9F95-9D423A06FAEA}" dt="2024-08-03T09:25:09.124" v="34772" actId="20577"/>
          <ac:spMkLst>
            <pc:docMk/>
            <pc:sldMk cId="3378771878" sldId="906"/>
            <ac:spMk id="180" creationId="{00000000-0000-0000-0000-000000000000}"/>
          </ac:spMkLst>
        </pc:spChg>
        <pc:spChg chg="mod">
          <ac:chgData name="Andreas Koksrud" userId="9d9beba6-c052-407a-8599-c781a677a996" providerId="ADAL" clId="{4C89AD2D-B60A-479F-9F95-9D423A06FAEA}" dt="2024-08-06T13:15:45.518" v="38772" actId="20577"/>
          <ac:spMkLst>
            <pc:docMk/>
            <pc:sldMk cId="3378771878" sldId="906"/>
            <ac:spMk id="181" creationId="{00000000-0000-0000-0000-000000000000}"/>
          </ac:spMkLst>
        </pc:spChg>
      </pc:sldChg>
      <pc:sldChg chg="addSp modSp add mod">
        <pc:chgData name="Andreas Koksrud" userId="9d9beba6-c052-407a-8599-c781a677a996" providerId="ADAL" clId="{4C89AD2D-B60A-479F-9F95-9D423A06FAEA}" dt="2024-06-14T18:19:11.887" v="6418" actId="20577"/>
        <pc:sldMkLst>
          <pc:docMk/>
          <pc:sldMk cId="2223033950" sldId="907"/>
        </pc:sldMkLst>
        <pc:spChg chg="add mod">
          <ac:chgData name="Andreas Koksrud" userId="9d9beba6-c052-407a-8599-c781a677a996" providerId="ADAL" clId="{4C89AD2D-B60A-479F-9F95-9D423A06FAEA}" dt="2024-06-14T18:19:01.198" v="6397"/>
          <ac:spMkLst>
            <pc:docMk/>
            <pc:sldMk cId="2223033950" sldId="907"/>
            <ac:spMk id="3" creationId="{657E3D2A-489A-3951-E385-2B1472FCB49B}"/>
          </ac:spMkLst>
        </pc:spChg>
        <pc:spChg chg="add mod">
          <ac:chgData name="Andreas Koksrud" userId="9d9beba6-c052-407a-8599-c781a677a996" providerId="ADAL" clId="{4C89AD2D-B60A-479F-9F95-9D423A06FAEA}" dt="2024-06-14T18:19:11.887" v="6418" actId="20577"/>
          <ac:spMkLst>
            <pc:docMk/>
            <pc:sldMk cId="2223033950" sldId="907"/>
            <ac:spMk id="4" creationId="{9DE28A13-DC0E-C4C0-5958-28FED7170CC1}"/>
          </ac:spMkLst>
        </pc:spChg>
        <pc:spChg chg="mod">
          <ac:chgData name="Andreas Koksrud" userId="9d9beba6-c052-407a-8599-c781a677a996" providerId="ADAL" clId="{4C89AD2D-B60A-479F-9F95-9D423A06FAEA}" dt="2024-06-09T16:24:35.423" v="3320" actId="20577"/>
          <ac:spMkLst>
            <pc:docMk/>
            <pc:sldMk cId="2223033950" sldId="907"/>
            <ac:spMk id="180" creationId="{00000000-0000-0000-0000-000000000000}"/>
          </ac:spMkLst>
        </pc:spChg>
        <pc:spChg chg="mod">
          <ac:chgData name="Andreas Koksrud" userId="9d9beba6-c052-407a-8599-c781a677a996" providerId="ADAL" clId="{4C89AD2D-B60A-479F-9F95-9D423A06FAEA}" dt="2024-06-09T16:25:00.592" v="3406" actId="20577"/>
          <ac:spMkLst>
            <pc:docMk/>
            <pc:sldMk cId="2223033950" sldId="907"/>
            <ac:spMk id="181" creationId="{00000000-0000-0000-0000-000000000000}"/>
          </ac:spMkLst>
        </pc:spChg>
      </pc:sldChg>
      <pc:sldChg chg="addSp modSp add mod ord">
        <pc:chgData name="Andreas Koksrud" userId="9d9beba6-c052-407a-8599-c781a677a996" providerId="ADAL" clId="{4C89AD2D-B60A-479F-9F95-9D423A06FAEA}" dt="2024-06-14T18:19:45.949" v="6481" actId="20577"/>
        <pc:sldMkLst>
          <pc:docMk/>
          <pc:sldMk cId="2242358945" sldId="908"/>
        </pc:sldMkLst>
        <pc:spChg chg="add mod">
          <ac:chgData name="Andreas Koksrud" userId="9d9beba6-c052-407a-8599-c781a677a996" providerId="ADAL" clId="{4C89AD2D-B60A-479F-9F95-9D423A06FAEA}" dt="2024-06-14T18:19:37.001" v="6445"/>
          <ac:spMkLst>
            <pc:docMk/>
            <pc:sldMk cId="2242358945" sldId="908"/>
            <ac:spMk id="3" creationId="{FCA57180-36AA-80E0-D520-33930B6A4EB4}"/>
          </ac:spMkLst>
        </pc:spChg>
        <pc:spChg chg="add mod">
          <ac:chgData name="Andreas Koksrud" userId="9d9beba6-c052-407a-8599-c781a677a996" providerId="ADAL" clId="{4C89AD2D-B60A-479F-9F95-9D423A06FAEA}" dt="2024-06-14T18:19:45.949" v="6481" actId="20577"/>
          <ac:spMkLst>
            <pc:docMk/>
            <pc:sldMk cId="2242358945" sldId="908"/>
            <ac:spMk id="4" creationId="{37048664-C1F4-DCB0-A422-77268E1D8FF6}"/>
          </ac:spMkLst>
        </pc:spChg>
        <pc:spChg chg="mod">
          <ac:chgData name="Andreas Koksrud" userId="9d9beba6-c052-407a-8599-c781a677a996" providerId="ADAL" clId="{4C89AD2D-B60A-479F-9F95-9D423A06FAEA}" dt="2024-06-09T16:25:57.980" v="3522" actId="20577"/>
          <ac:spMkLst>
            <pc:docMk/>
            <pc:sldMk cId="2242358945" sldId="908"/>
            <ac:spMk id="180" creationId="{00000000-0000-0000-0000-000000000000}"/>
          </ac:spMkLst>
        </pc:spChg>
        <pc:spChg chg="mod">
          <ac:chgData name="Andreas Koksrud" userId="9d9beba6-c052-407a-8599-c781a677a996" providerId="ADAL" clId="{4C89AD2D-B60A-479F-9F95-9D423A06FAEA}" dt="2024-06-09T16:26:20.161" v="3594" actId="20577"/>
          <ac:spMkLst>
            <pc:docMk/>
            <pc:sldMk cId="2242358945" sldId="908"/>
            <ac:spMk id="181" creationId="{00000000-0000-0000-0000-000000000000}"/>
          </ac:spMkLst>
        </pc:spChg>
      </pc:sldChg>
      <pc:sldChg chg="addSp modSp add mod">
        <pc:chgData name="Andreas Koksrud" userId="9d9beba6-c052-407a-8599-c781a677a996" providerId="ADAL" clId="{4C89AD2D-B60A-479F-9F95-9D423A06FAEA}" dt="2024-06-30T17:12:20.531" v="14940" actId="6549"/>
        <pc:sldMkLst>
          <pc:docMk/>
          <pc:sldMk cId="772392015" sldId="909"/>
        </pc:sldMkLst>
        <pc:spChg chg="add mod">
          <ac:chgData name="Andreas Koksrud" userId="9d9beba6-c052-407a-8599-c781a677a996" providerId="ADAL" clId="{4C89AD2D-B60A-479F-9F95-9D423A06FAEA}" dt="2024-06-14T18:20:03.710" v="6489"/>
          <ac:spMkLst>
            <pc:docMk/>
            <pc:sldMk cId="772392015" sldId="909"/>
            <ac:spMk id="3" creationId="{855CA363-C58B-97B7-0D7A-9CB2FE0B8EA5}"/>
          </ac:spMkLst>
        </pc:spChg>
        <pc:spChg chg="add mod">
          <ac:chgData name="Andreas Koksrud" userId="9d9beba6-c052-407a-8599-c781a677a996" providerId="ADAL" clId="{4C89AD2D-B60A-479F-9F95-9D423A06FAEA}" dt="2024-06-14T18:20:10.019" v="6507" actId="20577"/>
          <ac:spMkLst>
            <pc:docMk/>
            <pc:sldMk cId="772392015" sldId="909"/>
            <ac:spMk id="4" creationId="{6336CBD7-B379-EC32-246C-7CAD902CB21E}"/>
          </ac:spMkLst>
        </pc:spChg>
        <pc:spChg chg="mod">
          <ac:chgData name="Andreas Koksrud" userId="9d9beba6-c052-407a-8599-c781a677a996" providerId="ADAL" clId="{4C89AD2D-B60A-479F-9F95-9D423A06FAEA}" dt="2024-06-09T16:26:42.747" v="3635" actId="6549"/>
          <ac:spMkLst>
            <pc:docMk/>
            <pc:sldMk cId="772392015" sldId="909"/>
            <ac:spMk id="180" creationId="{00000000-0000-0000-0000-000000000000}"/>
          </ac:spMkLst>
        </pc:spChg>
        <pc:spChg chg="mod">
          <ac:chgData name="Andreas Koksrud" userId="9d9beba6-c052-407a-8599-c781a677a996" providerId="ADAL" clId="{4C89AD2D-B60A-479F-9F95-9D423A06FAEA}" dt="2024-06-30T17:12:20.531" v="14940" actId="6549"/>
          <ac:spMkLst>
            <pc:docMk/>
            <pc:sldMk cId="772392015" sldId="909"/>
            <ac:spMk id="181" creationId="{00000000-0000-0000-0000-000000000000}"/>
          </ac:spMkLst>
        </pc:spChg>
      </pc:sldChg>
      <pc:sldChg chg="addSp modSp add mod">
        <pc:chgData name="Andreas Koksrud" userId="9d9beba6-c052-407a-8599-c781a677a996" providerId="ADAL" clId="{4C89AD2D-B60A-479F-9F95-9D423A06FAEA}" dt="2024-06-14T18:20:35.410" v="6530" actId="20577"/>
        <pc:sldMkLst>
          <pc:docMk/>
          <pc:sldMk cId="3240845591" sldId="910"/>
        </pc:sldMkLst>
        <pc:spChg chg="add mod">
          <ac:chgData name="Andreas Koksrud" userId="9d9beba6-c052-407a-8599-c781a677a996" providerId="ADAL" clId="{4C89AD2D-B60A-479F-9F95-9D423A06FAEA}" dt="2024-06-14T18:20:30.520" v="6513"/>
          <ac:spMkLst>
            <pc:docMk/>
            <pc:sldMk cId="3240845591" sldId="910"/>
            <ac:spMk id="3" creationId="{9D3E58D1-6427-C8CC-C4ED-CD9DD644C1D4}"/>
          </ac:spMkLst>
        </pc:spChg>
        <pc:spChg chg="add mod">
          <ac:chgData name="Andreas Koksrud" userId="9d9beba6-c052-407a-8599-c781a677a996" providerId="ADAL" clId="{4C89AD2D-B60A-479F-9F95-9D423A06FAEA}" dt="2024-06-14T18:20:35.410" v="6530" actId="20577"/>
          <ac:spMkLst>
            <pc:docMk/>
            <pc:sldMk cId="3240845591" sldId="910"/>
            <ac:spMk id="4" creationId="{45C76EA7-DE23-854E-87C7-0357221CF8D6}"/>
          </ac:spMkLst>
        </pc:spChg>
        <pc:spChg chg="mod">
          <ac:chgData name="Andreas Koksrud" userId="9d9beba6-c052-407a-8599-c781a677a996" providerId="ADAL" clId="{4C89AD2D-B60A-479F-9F95-9D423A06FAEA}" dt="2024-06-09T16:27:38.177" v="3823" actId="20577"/>
          <ac:spMkLst>
            <pc:docMk/>
            <pc:sldMk cId="3240845591" sldId="910"/>
            <ac:spMk id="180" creationId="{00000000-0000-0000-0000-000000000000}"/>
          </ac:spMkLst>
        </pc:spChg>
        <pc:spChg chg="mod">
          <ac:chgData name="Andreas Koksrud" userId="9d9beba6-c052-407a-8599-c781a677a996" providerId="ADAL" clId="{4C89AD2D-B60A-479F-9F95-9D423A06FAEA}" dt="2024-06-09T16:27:50.858" v="3891" actId="20577"/>
          <ac:spMkLst>
            <pc:docMk/>
            <pc:sldMk cId="3240845591" sldId="910"/>
            <ac:spMk id="181" creationId="{00000000-0000-0000-0000-000000000000}"/>
          </ac:spMkLst>
        </pc:spChg>
      </pc:sldChg>
      <pc:sldChg chg="addSp modSp add mod">
        <pc:chgData name="Andreas Koksrud" userId="9d9beba6-c052-407a-8599-c781a677a996" providerId="ADAL" clId="{4C89AD2D-B60A-479F-9F95-9D423A06FAEA}" dt="2024-07-01T18:47:26.471" v="16850" actId="20577"/>
        <pc:sldMkLst>
          <pc:docMk/>
          <pc:sldMk cId="2156656660" sldId="911"/>
        </pc:sldMkLst>
        <pc:spChg chg="add mod">
          <ac:chgData name="Andreas Koksrud" userId="9d9beba6-c052-407a-8599-c781a677a996" providerId="ADAL" clId="{4C89AD2D-B60A-479F-9F95-9D423A06FAEA}" dt="2024-06-14T18:20:49.500" v="6539"/>
          <ac:spMkLst>
            <pc:docMk/>
            <pc:sldMk cId="2156656660" sldId="911"/>
            <ac:spMk id="3" creationId="{79050CB9-26BE-C05E-9743-93569823733D}"/>
          </ac:spMkLst>
        </pc:spChg>
        <pc:spChg chg="add mod">
          <ac:chgData name="Andreas Koksrud" userId="9d9beba6-c052-407a-8599-c781a677a996" providerId="ADAL" clId="{4C89AD2D-B60A-479F-9F95-9D423A06FAEA}" dt="2024-06-14T18:21:01.506" v="6574" actId="20577"/>
          <ac:spMkLst>
            <pc:docMk/>
            <pc:sldMk cId="2156656660" sldId="911"/>
            <ac:spMk id="4" creationId="{BDF04420-95D5-A2F1-5C85-4410F0AD48ED}"/>
          </ac:spMkLst>
        </pc:spChg>
        <pc:spChg chg="mod">
          <ac:chgData name="Andreas Koksrud" userId="9d9beba6-c052-407a-8599-c781a677a996" providerId="ADAL" clId="{4C89AD2D-B60A-479F-9F95-9D423A06FAEA}" dt="2024-06-09T16:28:06.150" v="3919" actId="20577"/>
          <ac:spMkLst>
            <pc:docMk/>
            <pc:sldMk cId="2156656660" sldId="911"/>
            <ac:spMk id="180" creationId="{00000000-0000-0000-0000-000000000000}"/>
          </ac:spMkLst>
        </pc:spChg>
        <pc:spChg chg="mod">
          <ac:chgData name="Andreas Koksrud" userId="9d9beba6-c052-407a-8599-c781a677a996" providerId="ADAL" clId="{4C89AD2D-B60A-479F-9F95-9D423A06FAEA}" dt="2024-07-01T18:47:26.471" v="16850" actId="20577"/>
          <ac:spMkLst>
            <pc:docMk/>
            <pc:sldMk cId="2156656660" sldId="911"/>
            <ac:spMk id="181" creationId="{00000000-0000-0000-0000-000000000000}"/>
          </ac:spMkLst>
        </pc:spChg>
      </pc:sldChg>
      <pc:sldChg chg="add del">
        <pc:chgData name="Andreas Koksrud" userId="9d9beba6-c052-407a-8599-c781a677a996" providerId="ADAL" clId="{4C89AD2D-B60A-479F-9F95-9D423A06FAEA}" dt="2024-06-09T16:29:15.051" v="4077" actId="47"/>
        <pc:sldMkLst>
          <pc:docMk/>
          <pc:sldMk cId="1727397613" sldId="912"/>
        </pc:sldMkLst>
      </pc:sldChg>
      <pc:sldChg chg="add del">
        <pc:chgData name="Andreas Koksrud" userId="9d9beba6-c052-407a-8599-c781a677a996" providerId="ADAL" clId="{4C89AD2D-B60A-479F-9F95-9D423A06FAEA}" dt="2024-06-09T16:29:16.528" v="4078" actId="47"/>
        <pc:sldMkLst>
          <pc:docMk/>
          <pc:sldMk cId="3149442390" sldId="913"/>
        </pc:sldMkLst>
      </pc:sldChg>
      <pc:sldChg chg="addSp modSp add mod">
        <pc:chgData name="Andreas Koksrud" userId="9d9beba6-c052-407a-8599-c781a677a996" providerId="ADAL" clId="{4C89AD2D-B60A-479F-9F95-9D423A06FAEA}" dt="2024-07-16T13:56:44.783" v="24721" actId="20577"/>
        <pc:sldMkLst>
          <pc:docMk/>
          <pc:sldMk cId="3467226560" sldId="914"/>
        </pc:sldMkLst>
        <pc:spChg chg="add mod">
          <ac:chgData name="Andreas Koksrud" userId="9d9beba6-c052-407a-8599-c781a677a996" providerId="ADAL" clId="{4C89AD2D-B60A-479F-9F95-9D423A06FAEA}" dt="2024-06-14T18:21:15.531" v="6577" actId="20577"/>
          <ac:spMkLst>
            <pc:docMk/>
            <pc:sldMk cId="3467226560" sldId="914"/>
            <ac:spMk id="3" creationId="{7D365537-6E79-429D-72B1-A0DE832EA94C}"/>
          </ac:spMkLst>
        </pc:spChg>
        <pc:spChg chg="add mod">
          <ac:chgData name="Andreas Koksrud" userId="9d9beba6-c052-407a-8599-c781a677a996" providerId="ADAL" clId="{4C89AD2D-B60A-479F-9F95-9D423A06FAEA}" dt="2024-06-14T18:21:22.536" v="6588" actId="20577"/>
          <ac:spMkLst>
            <pc:docMk/>
            <pc:sldMk cId="3467226560" sldId="914"/>
            <ac:spMk id="4" creationId="{43FAD0A6-3066-A0F3-D4DE-543BA24F80AE}"/>
          </ac:spMkLst>
        </pc:spChg>
        <pc:spChg chg="mod">
          <ac:chgData name="Andreas Koksrud" userId="9d9beba6-c052-407a-8599-c781a677a996" providerId="ADAL" clId="{4C89AD2D-B60A-479F-9F95-9D423A06FAEA}" dt="2024-06-09T16:21:29.010" v="2781" actId="20577"/>
          <ac:spMkLst>
            <pc:docMk/>
            <pc:sldMk cId="3467226560" sldId="914"/>
            <ac:spMk id="180" creationId="{00000000-0000-0000-0000-000000000000}"/>
          </ac:spMkLst>
        </pc:spChg>
        <pc:spChg chg="mod">
          <ac:chgData name="Andreas Koksrud" userId="9d9beba6-c052-407a-8599-c781a677a996" providerId="ADAL" clId="{4C89AD2D-B60A-479F-9F95-9D423A06FAEA}" dt="2024-07-16T13:56:44.783" v="24721" actId="20577"/>
          <ac:spMkLst>
            <pc:docMk/>
            <pc:sldMk cId="3467226560" sldId="914"/>
            <ac:spMk id="181" creationId="{00000000-0000-0000-0000-000000000000}"/>
          </ac:spMkLst>
        </pc:spChg>
      </pc:sldChg>
      <pc:sldChg chg="addSp modSp add mod">
        <pc:chgData name="Andreas Koksrud" userId="9d9beba6-c052-407a-8599-c781a677a996" providerId="ADAL" clId="{4C89AD2D-B60A-479F-9F95-9D423A06FAEA}" dt="2024-06-14T18:19:32.072" v="6444" actId="20577"/>
        <pc:sldMkLst>
          <pc:docMk/>
          <pc:sldMk cId="2515752309" sldId="915"/>
        </pc:sldMkLst>
        <pc:spChg chg="add mod">
          <ac:chgData name="Andreas Koksrud" userId="9d9beba6-c052-407a-8599-c781a677a996" providerId="ADAL" clId="{4C89AD2D-B60A-479F-9F95-9D423A06FAEA}" dt="2024-06-14T18:19:26.035" v="6427"/>
          <ac:spMkLst>
            <pc:docMk/>
            <pc:sldMk cId="2515752309" sldId="915"/>
            <ac:spMk id="3" creationId="{EBC9B5D9-C441-5866-022A-D4B9B3EA4818}"/>
          </ac:spMkLst>
        </pc:spChg>
        <pc:spChg chg="add mod">
          <ac:chgData name="Andreas Koksrud" userId="9d9beba6-c052-407a-8599-c781a677a996" providerId="ADAL" clId="{4C89AD2D-B60A-479F-9F95-9D423A06FAEA}" dt="2024-06-14T18:19:32.072" v="6444" actId="20577"/>
          <ac:spMkLst>
            <pc:docMk/>
            <pc:sldMk cId="2515752309" sldId="915"/>
            <ac:spMk id="4" creationId="{F334D586-E06C-0D46-08AC-5AD991FB4890}"/>
          </ac:spMkLst>
        </pc:spChg>
        <pc:spChg chg="mod">
          <ac:chgData name="Andreas Koksrud" userId="9d9beba6-c052-407a-8599-c781a677a996" providerId="ADAL" clId="{4C89AD2D-B60A-479F-9F95-9D423A06FAEA}" dt="2024-06-09T16:25:29.455" v="3467" actId="20577"/>
          <ac:spMkLst>
            <pc:docMk/>
            <pc:sldMk cId="2515752309" sldId="915"/>
            <ac:spMk id="180" creationId="{00000000-0000-0000-0000-000000000000}"/>
          </ac:spMkLst>
        </pc:spChg>
        <pc:spChg chg="mod">
          <ac:chgData name="Andreas Koksrud" userId="9d9beba6-c052-407a-8599-c781a677a996" providerId="ADAL" clId="{4C89AD2D-B60A-479F-9F95-9D423A06FAEA}" dt="2024-06-09T16:25:48.626" v="3518" actId="20577"/>
          <ac:spMkLst>
            <pc:docMk/>
            <pc:sldMk cId="2515752309" sldId="915"/>
            <ac:spMk id="181" creationId="{00000000-0000-0000-0000-000000000000}"/>
          </ac:spMkLst>
        </pc:spChg>
      </pc:sldChg>
      <pc:sldChg chg="addSp modSp add del mod">
        <pc:chgData name="Andreas Koksrud" userId="9d9beba6-c052-407a-8599-c781a677a996" providerId="ADAL" clId="{4C89AD2D-B60A-479F-9F95-9D423A06FAEA}" dt="2024-07-16T13:56:48.019" v="24722" actId="47"/>
        <pc:sldMkLst>
          <pc:docMk/>
          <pc:sldMk cId="3403448712" sldId="916"/>
        </pc:sldMkLst>
        <pc:spChg chg="add mod">
          <ac:chgData name="Andreas Koksrud" userId="9d9beba6-c052-407a-8599-c781a677a996" providerId="ADAL" clId="{4C89AD2D-B60A-479F-9F95-9D423A06FAEA}" dt="2024-06-14T18:21:31.150" v="6591" actId="20577"/>
          <ac:spMkLst>
            <pc:docMk/>
            <pc:sldMk cId="3403448712" sldId="916"/>
            <ac:spMk id="3" creationId="{D2FBFAE0-C512-801C-5A0D-F9DC973E860B}"/>
          </ac:spMkLst>
        </pc:spChg>
        <pc:spChg chg="add mod">
          <ac:chgData name="Andreas Koksrud" userId="9d9beba6-c052-407a-8599-c781a677a996" providerId="ADAL" clId="{4C89AD2D-B60A-479F-9F95-9D423A06FAEA}" dt="2024-06-14T18:21:52.773" v="6635" actId="20577"/>
          <ac:spMkLst>
            <pc:docMk/>
            <pc:sldMk cId="3403448712" sldId="916"/>
            <ac:spMk id="4" creationId="{7DF7BD40-17CA-6855-F90D-5574A9574DBF}"/>
          </ac:spMkLst>
        </pc:spChg>
        <pc:spChg chg="mod">
          <ac:chgData name="Andreas Koksrud" userId="9d9beba6-c052-407a-8599-c781a677a996" providerId="ADAL" clId="{4C89AD2D-B60A-479F-9F95-9D423A06FAEA}" dt="2024-06-09T16:29:46.651" v="4103" actId="20577"/>
          <ac:spMkLst>
            <pc:docMk/>
            <pc:sldMk cId="3403448712" sldId="916"/>
            <ac:spMk id="180" creationId="{00000000-0000-0000-0000-000000000000}"/>
          </ac:spMkLst>
        </pc:spChg>
        <pc:spChg chg="mod">
          <ac:chgData name="Andreas Koksrud" userId="9d9beba6-c052-407a-8599-c781a677a996" providerId="ADAL" clId="{4C89AD2D-B60A-479F-9F95-9D423A06FAEA}" dt="2024-06-09T16:30:03.775" v="4116" actId="20577"/>
          <ac:spMkLst>
            <pc:docMk/>
            <pc:sldMk cId="3403448712" sldId="916"/>
            <ac:spMk id="181" creationId="{00000000-0000-0000-0000-000000000000}"/>
          </ac:spMkLst>
        </pc:spChg>
      </pc:sldChg>
      <pc:sldChg chg="addSp modSp add mod">
        <pc:chgData name="Andreas Koksrud" userId="9d9beba6-c052-407a-8599-c781a677a996" providerId="ADAL" clId="{4C89AD2D-B60A-479F-9F95-9D423A06FAEA}" dt="2024-06-14T18:22:25.948" v="6643" actId="20577"/>
        <pc:sldMkLst>
          <pc:docMk/>
          <pc:sldMk cId="2176964589" sldId="917"/>
        </pc:sldMkLst>
        <pc:spChg chg="add mod">
          <ac:chgData name="Andreas Koksrud" userId="9d9beba6-c052-407a-8599-c781a677a996" providerId="ADAL" clId="{4C89AD2D-B60A-479F-9F95-9D423A06FAEA}" dt="2024-06-14T18:22:19.250" v="6636"/>
          <ac:spMkLst>
            <pc:docMk/>
            <pc:sldMk cId="2176964589" sldId="917"/>
            <ac:spMk id="3" creationId="{5501154E-27B2-E571-762E-E8FBC1308377}"/>
          </ac:spMkLst>
        </pc:spChg>
        <pc:spChg chg="add mod">
          <ac:chgData name="Andreas Koksrud" userId="9d9beba6-c052-407a-8599-c781a677a996" providerId="ADAL" clId="{4C89AD2D-B60A-479F-9F95-9D423A06FAEA}" dt="2024-06-14T18:22:25.948" v="6643" actId="20577"/>
          <ac:spMkLst>
            <pc:docMk/>
            <pc:sldMk cId="2176964589" sldId="917"/>
            <ac:spMk id="4" creationId="{ED4D6ECF-1BF5-74C6-7129-3B7AA90A95E5}"/>
          </ac:spMkLst>
        </pc:spChg>
        <pc:spChg chg="mod">
          <ac:chgData name="Andreas Koksrud" userId="9d9beba6-c052-407a-8599-c781a677a996" providerId="ADAL" clId="{4C89AD2D-B60A-479F-9F95-9D423A06FAEA}" dt="2024-06-09T16:30:14.827" v="4138" actId="20577"/>
          <ac:spMkLst>
            <pc:docMk/>
            <pc:sldMk cId="2176964589" sldId="917"/>
            <ac:spMk id="180" creationId="{00000000-0000-0000-0000-000000000000}"/>
          </ac:spMkLst>
        </pc:spChg>
      </pc:sldChg>
      <pc:sldChg chg="addSp modSp add mod">
        <pc:chgData name="Andreas Koksrud" userId="9d9beba6-c052-407a-8599-c781a677a996" providerId="ADAL" clId="{4C89AD2D-B60A-479F-9F95-9D423A06FAEA}" dt="2024-06-14T18:23:54.106" v="6676" actId="20577"/>
        <pc:sldMkLst>
          <pc:docMk/>
          <pc:sldMk cId="1758492541" sldId="918"/>
        </pc:sldMkLst>
        <pc:spChg chg="add mod">
          <ac:chgData name="Andreas Koksrud" userId="9d9beba6-c052-407a-8599-c781a677a996" providerId="ADAL" clId="{4C89AD2D-B60A-479F-9F95-9D423A06FAEA}" dt="2024-06-14T18:23:51.100" v="6670"/>
          <ac:spMkLst>
            <pc:docMk/>
            <pc:sldMk cId="1758492541" sldId="918"/>
            <ac:spMk id="3" creationId="{40E1B586-5A5D-DCEE-46BD-3AF66F37C62C}"/>
          </ac:spMkLst>
        </pc:spChg>
        <pc:spChg chg="add mod">
          <ac:chgData name="Andreas Koksrud" userId="9d9beba6-c052-407a-8599-c781a677a996" providerId="ADAL" clId="{4C89AD2D-B60A-479F-9F95-9D423A06FAEA}" dt="2024-06-14T18:23:54.106" v="6676" actId="20577"/>
          <ac:spMkLst>
            <pc:docMk/>
            <pc:sldMk cId="1758492541" sldId="918"/>
            <ac:spMk id="4" creationId="{AD92383D-3A9F-2357-A202-AB8E8E6C7CBA}"/>
          </ac:spMkLst>
        </pc:spChg>
        <pc:spChg chg="mod">
          <ac:chgData name="Andreas Koksrud" userId="9d9beba6-c052-407a-8599-c781a677a996" providerId="ADAL" clId="{4C89AD2D-B60A-479F-9F95-9D423A06FAEA}" dt="2024-06-09T16:30:23.173" v="4144" actId="20577"/>
          <ac:spMkLst>
            <pc:docMk/>
            <pc:sldMk cId="1758492541" sldId="918"/>
            <ac:spMk id="180" creationId="{00000000-0000-0000-0000-000000000000}"/>
          </ac:spMkLst>
        </pc:spChg>
      </pc:sldChg>
      <pc:sldChg chg="addSp modSp add mod">
        <pc:chgData name="Andreas Koksrud" userId="9d9beba6-c052-407a-8599-c781a677a996" providerId="ADAL" clId="{4C89AD2D-B60A-479F-9F95-9D423A06FAEA}" dt="2024-06-14T18:24:31.062" v="6766" actId="20577"/>
        <pc:sldMkLst>
          <pc:docMk/>
          <pc:sldMk cId="1808846110" sldId="919"/>
        </pc:sldMkLst>
        <pc:spChg chg="add mod">
          <ac:chgData name="Andreas Koksrud" userId="9d9beba6-c052-407a-8599-c781a677a996" providerId="ADAL" clId="{4C89AD2D-B60A-479F-9F95-9D423A06FAEA}" dt="2024-06-14T18:24:06.605" v="6684"/>
          <ac:spMkLst>
            <pc:docMk/>
            <pc:sldMk cId="1808846110" sldId="919"/>
            <ac:spMk id="3" creationId="{AFC413DF-988F-BD7B-1532-1F234914F567}"/>
          </ac:spMkLst>
        </pc:spChg>
        <pc:spChg chg="add mod">
          <ac:chgData name="Andreas Koksrud" userId="9d9beba6-c052-407a-8599-c781a677a996" providerId="ADAL" clId="{4C89AD2D-B60A-479F-9F95-9D423A06FAEA}" dt="2024-06-14T18:24:31.062" v="6766" actId="20577"/>
          <ac:spMkLst>
            <pc:docMk/>
            <pc:sldMk cId="1808846110" sldId="919"/>
            <ac:spMk id="4" creationId="{BCF4F0BF-1623-F3B2-405E-AB01D015445B}"/>
          </ac:spMkLst>
        </pc:spChg>
        <pc:spChg chg="mod">
          <ac:chgData name="Andreas Koksrud" userId="9d9beba6-c052-407a-8599-c781a677a996" providerId="ADAL" clId="{4C89AD2D-B60A-479F-9F95-9D423A06FAEA}" dt="2024-06-09T16:30:31.381" v="4152" actId="20577"/>
          <ac:spMkLst>
            <pc:docMk/>
            <pc:sldMk cId="1808846110" sldId="919"/>
            <ac:spMk id="180" creationId="{00000000-0000-0000-0000-000000000000}"/>
          </ac:spMkLst>
        </pc:spChg>
      </pc:sldChg>
      <pc:sldChg chg="addSp delSp modSp add mod">
        <pc:chgData name="Andreas Koksrud" userId="9d9beba6-c052-407a-8599-c781a677a996" providerId="ADAL" clId="{4C89AD2D-B60A-479F-9F95-9D423A06FAEA}" dt="2024-07-16T13:59:18.608" v="24773" actId="20577"/>
        <pc:sldMkLst>
          <pc:docMk/>
          <pc:sldMk cId="1801208341" sldId="920"/>
        </pc:sldMkLst>
        <pc:spChg chg="add del mod">
          <ac:chgData name="Andreas Koksrud" userId="9d9beba6-c052-407a-8599-c781a677a996" providerId="ADAL" clId="{4C89AD2D-B60A-479F-9F95-9D423A06FAEA}" dt="2024-07-16T13:59:05.731" v="24725" actId="478"/>
          <ac:spMkLst>
            <pc:docMk/>
            <pc:sldMk cId="1801208341" sldId="920"/>
            <ac:spMk id="2" creationId="{8D9AF8E0-ED58-049B-F591-0FAE74AD16DC}"/>
          </ac:spMkLst>
        </pc:spChg>
        <pc:spChg chg="add mod">
          <ac:chgData name="Andreas Koksrud" userId="9d9beba6-c052-407a-8599-c781a677a996" providerId="ADAL" clId="{4C89AD2D-B60A-479F-9F95-9D423A06FAEA}" dt="2024-06-14T18:24:56.364" v="6785"/>
          <ac:spMkLst>
            <pc:docMk/>
            <pc:sldMk cId="1801208341" sldId="920"/>
            <ac:spMk id="3" creationId="{71352E93-6E68-981B-DC0C-37AF22A35786}"/>
          </ac:spMkLst>
        </pc:spChg>
        <pc:spChg chg="add mod">
          <ac:chgData name="Andreas Koksrud" userId="9d9beba6-c052-407a-8599-c781a677a996" providerId="ADAL" clId="{4C89AD2D-B60A-479F-9F95-9D423A06FAEA}" dt="2024-06-14T18:25:00.385" v="6791" actId="20577"/>
          <ac:spMkLst>
            <pc:docMk/>
            <pc:sldMk cId="1801208341" sldId="920"/>
            <ac:spMk id="4" creationId="{CA228427-F960-EBF3-4E36-7628B86A118C}"/>
          </ac:spMkLst>
        </pc:spChg>
        <pc:spChg chg="add del mod">
          <ac:chgData name="Andreas Koksrud" userId="9d9beba6-c052-407a-8599-c781a677a996" providerId="ADAL" clId="{4C89AD2D-B60A-479F-9F95-9D423A06FAEA}" dt="2024-07-16T13:59:07.372" v="24726" actId="478"/>
          <ac:spMkLst>
            <pc:docMk/>
            <pc:sldMk cId="1801208341" sldId="920"/>
            <ac:spMk id="5" creationId="{6FF65290-59AB-6DD3-3EA1-31BF85E26153}"/>
          </ac:spMkLst>
        </pc:spChg>
        <pc:spChg chg="mod">
          <ac:chgData name="Andreas Koksrud" userId="9d9beba6-c052-407a-8599-c781a677a996" providerId="ADAL" clId="{4C89AD2D-B60A-479F-9F95-9D423A06FAEA}" dt="2024-06-09T16:30:38.117" v="4159" actId="20577"/>
          <ac:spMkLst>
            <pc:docMk/>
            <pc:sldMk cId="1801208341" sldId="920"/>
            <ac:spMk id="180" creationId="{00000000-0000-0000-0000-000000000000}"/>
          </ac:spMkLst>
        </pc:spChg>
        <pc:spChg chg="mod">
          <ac:chgData name="Andreas Koksrud" userId="9d9beba6-c052-407a-8599-c781a677a996" providerId="ADAL" clId="{4C89AD2D-B60A-479F-9F95-9D423A06FAEA}" dt="2024-07-16T13:59:18.608" v="24773" actId="20577"/>
          <ac:spMkLst>
            <pc:docMk/>
            <pc:sldMk cId="1801208341" sldId="920"/>
            <ac:spMk id="181" creationId="{00000000-0000-0000-0000-000000000000}"/>
          </ac:spMkLst>
        </pc:spChg>
      </pc:sldChg>
      <pc:sldChg chg="addSp modSp add mod">
        <pc:chgData name="Andreas Koksrud" userId="9d9beba6-c052-407a-8599-c781a677a996" providerId="ADAL" clId="{4C89AD2D-B60A-479F-9F95-9D423A06FAEA}" dt="2024-06-14T18:25:05.777" v="6796" actId="20577"/>
        <pc:sldMkLst>
          <pc:docMk/>
          <pc:sldMk cId="2341160540" sldId="921"/>
        </pc:sldMkLst>
        <pc:spChg chg="add mod">
          <ac:chgData name="Andreas Koksrud" userId="9d9beba6-c052-407a-8599-c781a677a996" providerId="ADAL" clId="{4C89AD2D-B60A-479F-9F95-9D423A06FAEA}" dt="2024-06-14T18:25:03.010" v="6792"/>
          <ac:spMkLst>
            <pc:docMk/>
            <pc:sldMk cId="2341160540" sldId="921"/>
            <ac:spMk id="3" creationId="{A7125C9D-BCF1-3755-4881-C8620A278717}"/>
          </ac:spMkLst>
        </pc:spChg>
        <pc:spChg chg="add mod">
          <ac:chgData name="Andreas Koksrud" userId="9d9beba6-c052-407a-8599-c781a677a996" providerId="ADAL" clId="{4C89AD2D-B60A-479F-9F95-9D423A06FAEA}" dt="2024-06-14T18:25:05.777" v="6796" actId="20577"/>
          <ac:spMkLst>
            <pc:docMk/>
            <pc:sldMk cId="2341160540" sldId="921"/>
            <ac:spMk id="4" creationId="{7922935E-E146-85EB-25BE-08A8292BFCE8}"/>
          </ac:spMkLst>
        </pc:spChg>
        <pc:spChg chg="mod">
          <ac:chgData name="Andreas Koksrud" userId="9d9beba6-c052-407a-8599-c781a677a996" providerId="ADAL" clId="{4C89AD2D-B60A-479F-9F95-9D423A06FAEA}" dt="2024-06-09T16:30:50.553" v="4180" actId="20577"/>
          <ac:spMkLst>
            <pc:docMk/>
            <pc:sldMk cId="2341160540" sldId="921"/>
            <ac:spMk id="180" creationId="{00000000-0000-0000-0000-000000000000}"/>
          </ac:spMkLst>
        </pc:spChg>
        <pc:spChg chg="mod">
          <ac:chgData name="Andreas Koksrud" userId="9d9beba6-c052-407a-8599-c781a677a996" providerId="ADAL" clId="{4C89AD2D-B60A-479F-9F95-9D423A06FAEA}" dt="2024-06-09T16:31:11.797" v="4248" actId="20577"/>
          <ac:spMkLst>
            <pc:docMk/>
            <pc:sldMk cId="2341160540" sldId="921"/>
            <ac:spMk id="181" creationId="{00000000-0000-0000-0000-000000000000}"/>
          </ac:spMkLst>
        </pc:spChg>
      </pc:sldChg>
      <pc:sldChg chg="addSp modSp add mod">
        <pc:chgData name="Andreas Koksrud" userId="9d9beba6-c052-407a-8599-c781a677a996" providerId="ADAL" clId="{4C89AD2D-B60A-479F-9F95-9D423A06FAEA}" dt="2024-06-14T18:25:45.491" v="6924" actId="20577"/>
        <pc:sldMkLst>
          <pc:docMk/>
          <pc:sldMk cId="118872145" sldId="922"/>
        </pc:sldMkLst>
        <pc:spChg chg="add mod">
          <ac:chgData name="Andreas Koksrud" userId="9d9beba6-c052-407a-8599-c781a677a996" providerId="ADAL" clId="{4C89AD2D-B60A-479F-9F95-9D423A06FAEA}" dt="2024-06-14T18:25:08.475" v="6797"/>
          <ac:spMkLst>
            <pc:docMk/>
            <pc:sldMk cId="118872145" sldId="922"/>
            <ac:spMk id="3" creationId="{9CD2976C-206E-46DE-36B6-AC07B64C3968}"/>
          </ac:spMkLst>
        </pc:spChg>
        <pc:spChg chg="add mod">
          <ac:chgData name="Andreas Koksrud" userId="9d9beba6-c052-407a-8599-c781a677a996" providerId="ADAL" clId="{4C89AD2D-B60A-479F-9F95-9D423A06FAEA}" dt="2024-06-14T18:25:11.415" v="6803" actId="20577"/>
          <ac:spMkLst>
            <pc:docMk/>
            <pc:sldMk cId="118872145" sldId="922"/>
            <ac:spMk id="4" creationId="{22D461A0-03D2-FCE9-F6DB-C4FFE191AB05}"/>
          </ac:spMkLst>
        </pc:spChg>
        <pc:spChg chg="mod">
          <ac:chgData name="Andreas Koksrud" userId="9d9beba6-c052-407a-8599-c781a677a996" providerId="ADAL" clId="{4C89AD2D-B60A-479F-9F95-9D423A06FAEA}" dt="2024-06-09T16:31:20.879" v="4273" actId="20577"/>
          <ac:spMkLst>
            <pc:docMk/>
            <pc:sldMk cId="118872145" sldId="922"/>
            <ac:spMk id="180" creationId="{00000000-0000-0000-0000-000000000000}"/>
          </ac:spMkLst>
        </pc:spChg>
        <pc:spChg chg="mod">
          <ac:chgData name="Andreas Koksrud" userId="9d9beba6-c052-407a-8599-c781a677a996" providerId="ADAL" clId="{4C89AD2D-B60A-479F-9F95-9D423A06FAEA}" dt="2024-06-14T18:25:45.491" v="6924" actId="20577"/>
          <ac:spMkLst>
            <pc:docMk/>
            <pc:sldMk cId="118872145" sldId="922"/>
            <ac:spMk id="181" creationId="{00000000-0000-0000-0000-000000000000}"/>
          </ac:spMkLst>
        </pc:spChg>
      </pc:sldChg>
      <pc:sldChg chg="modSp add del mod">
        <pc:chgData name="Andreas Koksrud" userId="9d9beba6-c052-407a-8599-c781a677a996" providerId="ADAL" clId="{4C89AD2D-B60A-479F-9F95-9D423A06FAEA}" dt="2024-06-11T10:42:35.150" v="4388" actId="2696"/>
        <pc:sldMkLst>
          <pc:docMk/>
          <pc:sldMk cId="200824465" sldId="923"/>
        </pc:sldMkLst>
        <pc:spChg chg="mod">
          <ac:chgData name="Andreas Koksrud" userId="9d9beba6-c052-407a-8599-c781a677a996" providerId="ADAL" clId="{4C89AD2D-B60A-479F-9F95-9D423A06FAEA}" dt="2024-06-11T10:33:12.750" v="4379" actId="20577"/>
          <ac:spMkLst>
            <pc:docMk/>
            <pc:sldMk cId="200824465" sldId="923"/>
            <ac:spMk id="181" creationId="{00000000-0000-0000-0000-000000000000}"/>
          </ac:spMkLst>
        </pc:spChg>
      </pc:sldChg>
      <pc:sldChg chg="addSp delSp modSp add mod">
        <pc:chgData name="Andreas Koksrud" userId="9d9beba6-c052-407a-8599-c781a677a996" providerId="ADAL" clId="{4C89AD2D-B60A-479F-9F95-9D423A06FAEA}" dt="2024-07-31T19:50:19.854" v="32003" actId="14100"/>
        <pc:sldMkLst>
          <pc:docMk/>
          <pc:sldMk cId="2885495848" sldId="923"/>
        </pc:sldMkLst>
        <pc:spChg chg="add">
          <ac:chgData name="Andreas Koksrud" userId="9d9beba6-c052-407a-8599-c781a677a996" providerId="ADAL" clId="{4C89AD2D-B60A-479F-9F95-9D423A06FAEA}" dt="2024-06-11T10:43:57.288" v="4391"/>
          <ac:spMkLst>
            <pc:docMk/>
            <pc:sldMk cId="2885495848" sldId="923"/>
            <ac:spMk id="2" creationId="{05EE45E6-3ED4-1EE0-3F26-5FADC9967F66}"/>
          </ac:spMkLst>
        </pc:spChg>
        <pc:spChg chg="add mod">
          <ac:chgData name="Andreas Koksrud" userId="9d9beba6-c052-407a-8599-c781a677a996" providerId="ADAL" clId="{4C89AD2D-B60A-479F-9F95-9D423A06FAEA}" dt="2024-06-17T18:45:12.299" v="11405" actId="20577"/>
          <ac:spMkLst>
            <pc:docMk/>
            <pc:sldMk cId="2885495848" sldId="923"/>
            <ac:spMk id="2" creationId="{E315A8C5-A2D8-8BA1-7ACE-221F2DCCF336}"/>
          </ac:spMkLst>
        </pc:spChg>
        <pc:spChg chg="add mod">
          <ac:chgData name="Andreas Koksrud" userId="9d9beba6-c052-407a-8599-c781a677a996" providerId="ADAL" clId="{4C89AD2D-B60A-479F-9F95-9D423A06FAEA}" dt="2024-06-14T18:14:04.213" v="6016"/>
          <ac:spMkLst>
            <pc:docMk/>
            <pc:sldMk cId="2885495848" sldId="923"/>
            <ac:spMk id="3" creationId="{5CEC595F-C6A3-731D-D0B9-B63CD8F566E5}"/>
          </ac:spMkLst>
        </pc:spChg>
        <pc:spChg chg="add">
          <ac:chgData name="Andreas Koksrud" userId="9d9beba6-c052-407a-8599-c781a677a996" providerId="ADAL" clId="{4C89AD2D-B60A-479F-9F95-9D423A06FAEA}" dt="2024-06-11T10:47:09.305" v="4478"/>
          <ac:spMkLst>
            <pc:docMk/>
            <pc:sldMk cId="2885495848" sldId="923"/>
            <ac:spMk id="3" creationId="{8A8F06B3-6479-634A-F5BA-F8A069635D54}"/>
          </ac:spMkLst>
        </pc:spChg>
        <pc:spChg chg="add mod">
          <ac:chgData name="Andreas Koksrud" userId="9d9beba6-c052-407a-8599-c781a677a996" providerId="ADAL" clId="{4C89AD2D-B60A-479F-9F95-9D423A06FAEA}" dt="2024-06-14T18:14:04.213" v="6016"/>
          <ac:spMkLst>
            <pc:docMk/>
            <pc:sldMk cId="2885495848" sldId="923"/>
            <ac:spMk id="4" creationId="{50517D77-3A64-BCFB-F79F-68CCDB48A57D}"/>
          </ac:spMkLst>
        </pc:spChg>
        <pc:spChg chg="add mod">
          <ac:chgData name="Andreas Koksrud" userId="9d9beba6-c052-407a-8599-c781a677a996" providerId="ADAL" clId="{4C89AD2D-B60A-479F-9F95-9D423A06FAEA}" dt="2024-07-20T17:23:19.335" v="26017" actId="6549"/>
          <ac:spMkLst>
            <pc:docMk/>
            <pc:sldMk cId="2885495848" sldId="923"/>
            <ac:spMk id="5" creationId="{9F47259F-08A8-ED91-1804-FF43494DA128}"/>
          </ac:spMkLst>
        </pc:spChg>
        <pc:spChg chg="add mod">
          <ac:chgData name="Andreas Koksrud" userId="9d9beba6-c052-407a-8599-c781a677a996" providerId="ADAL" clId="{4C89AD2D-B60A-479F-9F95-9D423A06FAEA}" dt="2024-07-31T19:50:04.754" v="31999" actId="20577"/>
          <ac:spMkLst>
            <pc:docMk/>
            <pc:sldMk cId="2885495848" sldId="923"/>
            <ac:spMk id="6" creationId="{229AD454-6D23-8DDF-3448-AAB35AD3CEDE}"/>
          </ac:spMkLst>
        </pc:spChg>
        <pc:spChg chg="add mod">
          <ac:chgData name="Andreas Koksrud" userId="9d9beba6-c052-407a-8599-c781a677a996" providerId="ADAL" clId="{4C89AD2D-B60A-479F-9F95-9D423A06FAEA}" dt="2024-07-31T19:49:28.335" v="31985" actId="14100"/>
          <ac:spMkLst>
            <pc:docMk/>
            <pc:sldMk cId="2885495848" sldId="923"/>
            <ac:spMk id="10" creationId="{1E65EB2D-33A5-DD93-8199-47B5A1192213}"/>
          </ac:spMkLst>
        </pc:spChg>
        <pc:spChg chg="add mod">
          <ac:chgData name="Andreas Koksrud" userId="9d9beba6-c052-407a-8599-c781a677a996" providerId="ADAL" clId="{4C89AD2D-B60A-479F-9F95-9D423A06FAEA}" dt="2024-07-31T19:49:42.631" v="31987" actId="14100"/>
          <ac:spMkLst>
            <pc:docMk/>
            <pc:sldMk cId="2885495848" sldId="923"/>
            <ac:spMk id="11" creationId="{5B89C1CF-0BA3-589B-3522-CE257DE67E20}"/>
          </ac:spMkLst>
        </pc:spChg>
        <pc:spChg chg="mod">
          <ac:chgData name="Andreas Koksrud" userId="9d9beba6-c052-407a-8599-c781a677a996" providerId="ADAL" clId="{4C89AD2D-B60A-479F-9F95-9D423A06FAEA}" dt="2024-06-17T18:40:19.673" v="11336" actId="20577"/>
          <ac:spMkLst>
            <pc:docMk/>
            <pc:sldMk cId="2885495848" sldId="923"/>
            <ac:spMk id="180" creationId="{00000000-0000-0000-0000-000000000000}"/>
          </ac:spMkLst>
        </pc:spChg>
        <pc:spChg chg="mod">
          <ac:chgData name="Andreas Koksrud" userId="9d9beba6-c052-407a-8599-c781a677a996" providerId="ADAL" clId="{4C89AD2D-B60A-479F-9F95-9D423A06FAEA}" dt="2024-06-17T18:45:20.141" v="11406" actId="6549"/>
          <ac:spMkLst>
            <pc:docMk/>
            <pc:sldMk cId="2885495848" sldId="923"/>
            <ac:spMk id="181" creationId="{00000000-0000-0000-0000-000000000000}"/>
          </ac:spMkLst>
        </pc:spChg>
        <pc:picChg chg="add del mod">
          <ac:chgData name="Andreas Koksrud" userId="9d9beba6-c052-407a-8599-c781a677a996" providerId="ADAL" clId="{4C89AD2D-B60A-479F-9F95-9D423A06FAEA}" dt="2024-06-11T10:54:17.431" v="4539" actId="478"/>
          <ac:picMkLst>
            <pc:docMk/>
            <pc:sldMk cId="2885495848" sldId="923"/>
            <ac:picMk id="5" creationId="{7544B2AA-7556-FAEE-F553-0CBEBD6D790F}"/>
          </ac:picMkLst>
        </pc:picChg>
        <pc:picChg chg="add mod">
          <ac:chgData name="Andreas Koksrud" userId="9d9beba6-c052-407a-8599-c781a677a996" providerId="ADAL" clId="{4C89AD2D-B60A-479F-9F95-9D423A06FAEA}" dt="2024-07-20T17:26:58.594" v="26018" actId="14826"/>
          <ac:picMkLst>
            <pc:docMk/>
            <pc:sldMk cId="2885495848" sldId="923"/>
            <ac:picMk id="7" creationId="{20DA3B42-7D79-4A47-C780-29C37E46A4F0}"/>
          </ac:picMkLst>
        </pc:picChg>
        <pc:picChg chg="add mod modCrop">
          <ac:chgData name="Andreas Koksrud" userId="9d9beba6-c052-407a-8599-c781a677a996" providerId="ADAL" clId="{4C89AD2D-B60A-479F-9F95-9D423A06FAEA}" dt="2024-07-20T17:28:07.807" v="26036" actId="1036"/>
          <ac:picMkLst>
            <pc:docMk/>
            <pc:sldMk cId="2885495848" sldId="923"/>
            <ac:picMk id="8" creationId="{89082960-D913-3B1F-5E70-CCC478E4D392}"/>
          </ac:picMkLst>
        </pc:picChg>
        <pc:picChg chg="add del mod modCrop">
          <ac:chgData name="Andreas Koksrud" userId="9d9beba6-c052-407a-8599-c781a677a996" providerId="ADAL" clId="{4C89AD2D-B60A-479F-9F95-9D423A06FAEA}" dt="2024-07-20T17:27:16.680" v="26019" actId="478"/>
          <ac:picMkLst>
            <pc:docMk/>
            <pc:sldMk cId="2885495848" sldId="923"/>
            <ac:picMk id="9" creationId="{7A5B6202-2110-4267-8196-A3160A499FA3}"/>
          </ac:picMkLst>
        </pc:picChg>
        <pc:cxnChg chg="add mod">
          <ac:chgData name="Andreas Koksrud" userId="9d9beba6-c052-407a-8599-c781a677a996" providerId="ADAL" clId="{4C89AD2D-B60A-479F-9F95-9D423A06FAEA}" dt="2024-07-31T19:50:16.410" v="32002" actId="14100"/>
          <ac:cxnSpMkLst>
            <pc:docMk/>
            <pc:sldMk cId="2885495848" sldId="923"/>
            <ac:cxnSpMk id="9" creationId="{91BAD381-F93D-ADAD-777A-AA1C54AC7706}"/>
          </ac:cxnSpMkLst>
        </pc:cxnChg>
        <pc:cxnChg chg="add mod">
          <ac:chgData name="Andreas Koksrud" userId="9d9beba6-c052-407a-8599-c781a677a996" providerId="ADAL" clId="{4C89AD2D-B60A-479F-9F95-9D423A06FAEA}" dt="2024-07-31T19:50:19.854" v="32003" actId="14100"/>
          <ac:cxnSpMkLst>
            <pc:docMk/>
            <pc:sldMk cId="2885495848" sldId="923"/>
            <ac:cxnSpMk id="13" creationId="{C9DAF261-AB42-114F-3A91-71D69C1F497D}"/>
          </ac:cxnSpMkLst>
        </pc:cxnChg>
      </pc:sldChg>
      <pc:sldChg chg="addSp delSp modSp add mod">
        <pc:chgData name="Andreas Koksrud" userId="9d9beba6-c052-407a-8599-c781a677a996" providerId="ADAL" clId="{4C89AD2D-B60A-479F-9F95-9D423A06FAEA}" dt="2024-07-31T19:30:01.841" v="31933" actId="20577"/>
        <pc:sldMkLst>
          <pc:docMk/>
          <pc:sldMk cId="670631779" sldId="924"/>
        </pc:sldMkLst>
        <pc:spChg chg="add mod">
          <ac:chgData name="Andreas Koksrud" userId="9d9beba6-c052-407a-8599-c781a677a996" providerId="ADAL" clId="{4C89AD2D-B60A-479F-9F95-9D423A06FAEA}" dt="2024-06-14T18:13:49.989" v="6009"/>
          <ac:spMkLst>
            <pc:docMk/>
            <pc:sldMk cId="670631779" sldId="924"/>
            <ac:spMk id="2" creationId="{3AB7FB49-71FE-C662-648D-B83B87BD4C2F}"/>
          </ac:spMkLst>
        </pc:spChg>
        <pc:spChg chg="add mod">
          <ac:chgData name="Andreas Koksrud" userId="9d9beba6-c052-407a-8599-c781a677a996" providerId="ADAL" clId="{4C89AD2D-B60A-479F-9F95-9D423A06FAEA}" dt="2024-06-14T18:13:49.989" v="6009"/>
          <ac:spMkLst>
            <pc:docMk/>
            <pc:sldMk cId="670631779" sldId="924"/>
            <ac:spMk id="3" creationId="{D0EF76BE-09AF-0665-13B3-1F2DA9491824}"/>
          </ac:spMkLst>
        </pc:spChg>
        <pc:spChg chg="add mod">
          <ac:chgData name="Andreas Koksrud" userId="9d9beba6-c052-407a-8599-c781a677a996" providerId="ADAL" clId="{4C89AD2D-B60A-479F-9F95-9D423A06FAEA}" dt="2024-07-31T19:30:01.841" v="31933" actId="20577"/>
          <ac:spMkLst>
            <pc:docMk/>
            <pc:sldMk cId="670631779" sldId="924"/>
            <ac:spMk id="16" creationId="{DA53A636-0A16-787D-A16E-AF212E41EC53}"/>
          </ac:spMkLst>
        </pc:spChg>
        <pc:spChg chg="mod">
          <ac:chgData name="Andreas Koksrud" userId="9d9beba6-c052-407a-8599-c781a677a996" providerId="ADAL" clId="{4C89AD2D-B60A-479F-9F95-9D423A06FAEA}" dt="2024-07-31T19:25:57.172" v="31710" actId="20577"/>
          <ac:spMkLst>
            <pc:docMk/>
            <pc:sldMk cId="670631779" sldId="924"/>
            <ac:spMk id="180" creationId="{00000000-0000-0000-0000-000000000000}"/>
          </ac:spMkLst>
        </pc:spChg>
        <pc:picChg chg="add del">
          <ac:chgData name="Andreas Koksrud" userId="9d9beba6-c052-407a-8599-c781a677a996" providerId="ADAL" clId="{4C89AD2D-B60A-479F-9F95-9D423A06FAEA}" dt="2024-06-17T18:10:55.180" v="11227" actId="22"/>
          <ac:picMkLst>
            <pc:docMk/>
            <pc:sldMk cId="670631779" sldId="924"/>
            <ac:picMk id="5" creationId="{72240E84-E020-E8E8-87E1-8D270DC49EA0}"/>
          </ac:picMkLst>
        </pc:picChg>
        <pc:picChg chg="add mod">
          <ac:chgData name="Andreas Koksrud" userId="9d9beba6-c052-407a-8599-c781a677a996" providerId="ADAL" clId="{4C89AD2D-B60A-479F-9F95-9D423A06FAEA}" dt="2024-07-31T19:29:18.037" v="31740" actId="1076"/>
          <ac:picMkLst>
            <pc:docMk/>
            <pc:sldMk cId="670631779" sldId="924"/>
            <ac:picMk id="5" creationId="{AF600DB4-76ED-E4A3-41DC-7E42016E42F1}"/>
          </ac:picMkLst>
        </pc:picChg>
        <pc:picChg chg="add mod">
          <ac:chgData name="Andreas Koksrud" userId="9d9beba6-c052-407a-8599-c781a677a996" providerId="ADAL" clId="{4C89AD2D-B60A-479F-9F95-9D423A06FAEA}" dt="2024-07-31T19:29:18.037" v="31740" actId="1076"/>
          <ac:picMkLst>
            <pc:docMk/>
            <pc:sldMk cId="670631779" sldId="924"/>
            <ac:picMk id="7" creationId="{1B2C4E18-F145-80BF-E219-3E01B94EBCF3}"/>
          </ac:picMkLst>
        </pc:picChg>
        <pc:picChg chg="add mod">
          <ac:chgData name="Andreas Koksrud" userId="9d9beba6-c052-407a-8599-c781a677a996" providerId="ADAL" clId="{4C89AD2D-B60A-479F-9F95-9D423A06FAEA}" dt="2024-07-31T19:29:18.037" v="31740" actId="1076"/>
          <ac:picMkLst>
            <pc:docMk/>
            <pc:sldMk cId="670631779" sldId="924"/>
            <ac:picMk id="9" creationId="{0668E857-9AC7-B9FE-EDDD-82555026676C}"/>
          </ac:picMkLst>
        </pc:picChg>
        <pc:picChg chg="add mod">
          <ac:chgData name="Andreas Koksrud" userId="9d9beba6-c052-407a-8599-c781a677a996" providerId="ADAL" clId="{4C89AD2D-B60A-479F-9F95-9D423A06FAEA}" dt="2024-07-31T19:29:18.037" v="31740" actId="1076"/>
          <ac:picMkLst>
            <pc:docMk/>
            <pc:sldMk cId="670631779" sldId="924"/>
            <ac:picMk id="11" creationId="{08A10331-330D-A88B-4D35-8AA6E8884243}"/>
          </ac:picMkLst>
        </pc:picChg>
        <pc:picChg chg="add mod">
          <ac:chgData name="Andreas Koksrud" userId="9d9beba6-c052-407a-8599-c781a677a996" providerId="ADAL" clId="{4C89AD2D-B60A-479F-9F95-9D423A06FAEA}" dt="2024-07-31T19:29:18.037" v="31740" actId="1076"/>
          <ac:picMkLst>
            <pc:docMk/>
            <pc:sldMk cId="670631779" sldId="924"/>
            <ac:picMk id="13" creationId="{08DDA882-C2C9-D08F-8116-79864E4BF7AC}"/>
          </ac:picMkLst>
        </pc:picChg>
        <pc:picChg chg="add mod">
          <ac:chgData name="Andreas Koksrud" userId="9d9beba6-c052-407a-8599-c781a677a996" providerId="ADAL" clId="{4C89AD2D-B60A-479F-9F95-9D423A06FAEA}" dt="2024-07-31T19:29:18.037" v="31740" actId="1076"/>
          <ac:picMkLst>
            <pc:docMk/>
            <pc:sldMk cId="670631779" sldId="924"/>
            <ac:picMk id="15" creationId="{1830161E-0BF3-C2EF-6ED8-D29AFF28B676}"/>
          </ac:picMkLst>
        </pc:picChg>
        <pc:picChg chg="add del">
          <ac:chgData name="Andreas Koksrud" userId="9d9beba6-c052-407a-8599-c781a677a996" providerId="ADAL" clId="{4C89AD2D-B60A-479F-9F95-9D423A06FAEA}" dt="2024-07-31T19:25:59.154" v="31711" actId="478"/>
          <ac:picMkLst>
            <pc:docMk/>
            <pc:sldMk cId="670631779" sldId="924"/>
            <ac:picMk id="1028" creationId="{8A408656-10AC-0501-E547-D47D713B2B11}"/>
          </ac:picMkLst>
        </pc:picChg>
      </pc:sldChg>
      <pc:sldChg chg="addSp modSp add del">
        <pc:chgData name="Andreas Koksrud" userId="9d9beba6-c052-407a-8599-c781a677a996" providerId="ADAL" clId="{4C89AD2D-B60A-479F-9F95-9D423A06FAEA}" dt="2024-06-17T18:10:07.656" v="11222" actId="47"/>
        <pc:sldMkLst>
          <pc:docMk/>
          <pc:sldMk cId="333031355" sldId="925"/>
        </pc:sldMkLst>
        <pc:spChg chg="add mod">
          <ac:chgData name="Andreas Koksrud" userId="9d9beba6-c052-407a-8599-c781a677a996" providerId="ADAL" clId="{4C89AD2D-B60A-479F-9F95-9D423A06FAEA}" dt="2024-06-14T18:13:54.416" v="6010"/>
          <ac:spMkLst>
            <pc:docMk/>
            <pc:sldMk cId="333031355" sldId="925"/>
            <ac:spMk id="2" creationId="{6595A971-4FC7-9256-C352-BB4E72D8B80C}"/>
          </ac:spMkLst>
        </pc:spChg>
        <pc:spChg chg="add mod">
          <ac:chgData name="Andreas Koksrud" userId="9d9beba6-c052-407a-8599-c781a677a996" providerId="ADAL" clId="{4C89AD2D-B60A-479F-9F95-9D423A06FAEA}" dt="2024-06-14T18:13:54.416" v="6010"/>
          <ac:spMkLst>
            <pc:docMk/>
            <pc:sldMk cId="333031355" sldId="925"/>
            <ac:spMk id="3" creationId="{E1AA61E8-AF6D-0910-25AD-65BAC0223528}"/>
          </ac:spMkLst>
        </pc:spChg>
      </pc:sldChg>
      <pc:sldChg chg="addSp delSp modSp add mod">
        <pc:chgData name="Andreas Koksrud" userId="9d9beba6-c052-407a-8599-c781a677a996" providerId="ADAL" clId="{4C89AD2D-B60A-479F-9F95-9D423A06FAEA}" dt="2024-07-20T19:00:39.985" v="26128" actId="6549"/>
        <pc:sldMkLst>
          <pc:docMk/>
          <pc:sldMk cId="3505595237" sldId="926"/>
        </pc:sldMkLst>
        <pc:spChg chg="add mod">
          <ac:chgData name="Andreas Koksrud" userId="9d9beba6-c052-407a-8599-c781a677a996" providerId="ADAL" clId="{4C89AD2D-B60A-479F-9F95-9D423A06FAEA}" dt="2024-06-14T18:14:02.393" v="6015"/>
          <ac:spMkLst>
            <pc:docMk/>
            <pc:sldMk cId="3505595237" sldId="926"/>
            <ac:spMk id="2" creationId="{0D3E814F-9E49-1BBA-32AD-3A1FFCA3858E}"/>
          </ac:spMkLst>
        </pc:spChg>
        <pc:spChg chg="add mod">
          <ac:chgData name="Andreas Koksrud" userId="9d9beba6-c052-407a-8599-c781a677a996" providerId="ADAL" clId="{4C89AD2D-B60A-479F-9F95-9D423A06FAEA}" dt="2024-06-14T18:14:02.393" v="6015"/>
          <ac:spMkLst>
            <pc:docMk/>
            <pc:sldMk cId="3505595237" sldId="926"/>
            <ac:spMk id="3" creationId="{D51B2049-628D-9035-C000-5C6F966B9944}"/>
          </ac:spMkLst>
        </pc:spChg>
        <pc:spChg chg="add mod">
          <ac:chgData name="Andreas Koksrud" userId="9d9beba6-c052-407a-8599-c781a677a996" providerId="ADAL" clId="{4C89AD2D-B60A-479F-9F95-9D423A06FAEA}" dt="2024-07-20T19:00:39.985" v="26128" actId="6549"/>
          <ac:spMkLst>
            <pc:docMk/>
            <pc:sldMk cId="3505595237" sldId="926"/>
            <ac:spMk id="4" creationId="{97BC605F-D37F-2460-5177-8642F587998D}"/>
          </ac:spMkLst>
        </pc:spChg>
        <pc:picChg chg="add mod modCrop">
          <ac:chgData name="Andreas Koksrud" userId="9d9beba6-c052-407a-8599-c781a677a996" providerId="ADAL" clId="{4C89AD2D-B60A-479F-9F95-9D423A06FAEA}" dt="2024-07-01T18:28:13.128" v="15920" actId="732"/>
          <ac:picMkLst>
            <pc:docMk/>
            <pc:sldMk cId="3505595237" sldId="926"/>
            <ac:picMk id="5" creationId="{F8A115C8-868B-5A69-F64C-E43508F21DE1}"/>
          </ac:picMkLst>
        </pc:picChg>
        <pc:picChg chg="add del mod">
          <ac:chgData name="Andreas Koksrud" userId="9d9beba6-c052-407a-8599-c781a677a996" providerId="ADAL" clId="{4C89AD2D-B60A-479F-9F95-9D423A06FAEA}" dt="2024-07-01T18:28:20.511" v="15929" actId="478"/>
          <ac:picMkLst>
            <pc:docMk/>
            <pc:sldMk cId="3505595237" sldId="926"/>
            <ac:picMk id="7" creationId="{7ADF71EA-625D-7040-37AE-E07C58C09CEE}"/>
          </ac:picMkLst>
        </pc:picChg>
        <pc:picChg chg="add del mod modCrop">
          <ac:chgData name="Andreas Koksrud" userId="9d9beba6-c052-407a-8599-c781a677a996" providerId="ADAL" clId="{4C89AD2D-B60A-479F-9F95-9D423A06FAEA}" dt="2024-07-01T18:28:19.723" v="15928" actId="478"/>
          <ac:picMkLst>
            <pc:docMk/>
            <pc:sldMk cId="3505595237" sldId="926"/>
            <ac:picMk id="9" creationId="{2EED6B9C-9E23-12C8-0E73-94257CA5C5A0}"/>
          </ac:picMkLst>
        </pc:picChg>
        <pc:picChg chg="del">
          <ac:chgData name="Andreas Koksrud" userId="9d9beba6-c052-407a-8599-c781a677a996" providerId="ADAL" clId="{4C89AD2D-B60A-479F-9F95-9D423A06FAEA}" dt="2024-06-17T18:35:50" v="11278" actId="478"/>
          <ac:picMkLst>
            <pc:docMk/>
            <pc:sldMk cId="3505595237" sldId="926"/>
            <ac:picMk id="12" creationId="{86F2D8AE-0330-0D0D-4F9D-8644154F55B1}"/>
          </ac:picMkLst>
        </pc:picChg>
        <pc:picChg chg="del">
          <ac:chgData name="Andreas Koksrud" userId="9d9beba6-c052-407a-8599-c781a677a996" providerId="ADAL" clId="{4C89AD2D-B60A-479F-9F95-9D423A06FAEA}" dt="2024-06-17T18:35:51.716" v="11279" actId="478"/>
          <ac:picMkLst>
            <pc:docMk/>
            <pc:sldMk cId="3505595237" sldId="926"/>
            <ac:picMk id="13" creationId="{33AEEC77-F65C-6D99-06BC-BFFFE5B85C7D}"/>
          </ac:picMkLst>
        </pc:picChg>
      </pc:sldChg>
      <pc:sldChg chg="addSp delSp modSp add del mod">
        <pc:chgData name="Andreas Koksrud" userId="9d9beba6-c052-407a-8599-c781a677a996" providerId="ADAL" clId="{4C89AD2D-B60A-479F-9F95-9D423A06FAEA}" dt="2024-08-01T08:29:52.146" v="32005" actId="47"/>
        <pc:sldMkLst>
          <pc:docMk/>
          <pc:sldMk cId="1585190168" sldId="927"/>
        </pc:sldMkLst>
        <pc:spChg chg="add mod">
          <ac:chgData name="Andreas Koksrud" userId="9d9beba6-c052-407a-8599-c781a677a996" providerId="ADAL" clId="{4C89AD2D-B60A-479F-9F95-9D423A06FAEA}" dt="2024-06-14T18:14:30.297" v="6027"/>
          <ac:spMkLst>
            <pc:docMk/>
            <pc:sldMk cId="1585190168" sldId="927"/>
            <ac:spMk id="2" creationId="{319D7D4B-8261-42E8-0E67-6032CFC5DF5E}"/>
          </ac:spMkLst>
        </pc:spChg>
        <pc:spChg chg="add mod">
          <ac:chgData name="Andreas Koksrud" userId="9d9beba6-c052-407a-8599-c781a677a996" providerId="ADAL" clId="{4C89AD2D-B60A-479F-9F95-9D423A06FAEA}" dt="2024-06-14T18:14:30.297" v="6027"/>
          <ac:spMkLst>
            <pc:docMk/>
            <pc:sldMk cId="1585190168" sldId="927"/>
            <ac:spMk id="3" creationId="{D7D99EE5-723F-67A0-2236-AC6034713261}"/>
          </ac:spMkLst>
        </pc:spChg>
        <pc:spChg chg="add mod">
          <ac:chgData name="Andreas Koksrud" userId="9d9beba6-c052-407a-8599-c781a677a996" providerId="ADAL" clId="{4C89AD2D-B60A-479F-9F95-9D423A06FAEA}" dt="2024-06-30T09:32:46.474" v="12623" actId="20577"/>
          <ac:spMkLst>
            <pc:docMk/>
            <pc:sldMk cId="1585190168" sldId="927"/>
            <ac:spMk id="4" creationId="{57E11F6B-F3A4-ACC7-2FE0-9C4C819C28B0}"/>
          </ac:spMkLst>
        </pc:spChg>
        <pc:spChg chg="mod">
          <ac:chgData name="Andreas Koksrud" userId="9d9beba6-c052-407a-8599-c781a677a996" providerId="ADAL" clId="{4C89AD2D-B60A-479F-9F95-9D423A06FAEA}" dt="2024-06-30T09:31:14.345" v="12474" actId="20577"/>
          <ac:spMkLst>
            <pc:docMk/>
            <pc:sldMk cId="1585190168" sldId="927"/>
            <ac:spMk id="180" creationId="{664A6AC7-5250-0851-8B5A-11B4DD8C3484}"/>
          </ac:spMkLst>
        </pc:spChg>
        <pc:picChg chg="del">
          <ac:chgData name="Andreas Koksrud" userId="9d9beba6-c052-407a-8599-c781a677a996" providerId="ADAL" clId="{4C89AD2D-B60A-479F-9F95-9D423A06FAEA}" dt="2024-06-30T09:31:00.617" v="12457" actId="21"/>
          <ac:picMkLst>
            <pc:docMk/>
            <pc:sldMk cId="1585190168" sldId="927"/>
            <ac:picMk id="2050" creationId="{4D1C5D00-C5E4-7749-7197-C9B46645681E}"/>
          </ac:picMkLst>
        </pc:picChg>
      </pc:sldChg>
      <pc:sldChg chg="addSp delSp modSp add mod">
        <pc:chgData name="Andreas Koksrud" userId="9d9beba6-c052-407a-8599-c781a677a996" providerId="ADAL" clId="{4C89AD2D-B60A-479F-9F95-9D423A06FAEA}" dt="2024-08-01T08:50:58.247" v="34014" actId="1036"/>
        <pc:sldMkLst>
          <pc:docMk/>
          <pc:sldMk cId="1761133344" sldId="928"/>
        </pc:sldMkLst>
        <pc:spChg chg="add mod">
          <ac:chgData name="Andreas Koksrud" userId="9d9beba6-c052-407a-8599-c781a677a996" providerId="ADAL" clId="{4C89AD2D-B60A-479F-9F95-9D423A06FAEA}" dt="2024-06-14T18:14:33.503" v="6029"/>
          <ac:spMkLst>
            <pc:docMk/>
            <pc:sldMk cId="1761133344" sldId="928"/>
            <ac:spMk id="2" creationId="{6DF7EEC5-F5E6-533D-9C40-91D60E2E674F}"/>
          </ac:spMkLst>
        </pc:spChg>
        <pc:spChg chg="add mod">
          <ac:chgData name="Andreas Koksrud" userId="9d9beba6-c052-407a-8599-c781a677a996" providerId="ADAL" clId="{4C89AD2D-B60A-479F-9F95-9D423A06FAEA}" dt="2024-06-14T18:14:33.503" v="6029"/>
          <ac:spMkLst>
            <pc:docMk/>
            <pc:sldMk cId="1761133344" sldId="928"/>
            <ac:spMk id="3" creationId="{02FDFBF1-BB30-908D-8469-B581AD113FAA}"/>
          </ac:spMkLst>
        </pc:spChg>
        <pc:spChg chg="add mod">
          <ac:chgData name="Andreas Koksrud" userId="9d9beba6-c052-407a-8599-c781a677a996" providerId="ADAL" clId="{4C89AD2D-B60A-479F-9F95-9D423A06FAEA}" dt="2024-08-01T08:41:11.310" v="32832" actId="14100"/>
          <ac:spMkLst>
            <pc:docMk/>
            <pc:sldMk cId="1761133344" sldId="928"/>
            <ac:spMk id="4" creationId="{A825D71F-DAB7-A57C-2314-A0F9411E9F6D}"/>
          </ac:spMkLst>
        </pc:spChg>
        <pc:spChg chg="add mod">
          <ac:chgData name="Andreas Koksrud" userId="9d9beba6-c052-407a-8599-c781a677a996" providerId="ADAL" clId="{4C89AD2D-B60A-479F-9F95-9D423A06FAEA}" dt="2024-08-01T08:41:13.923" v="32833" actId="14100"/>
          <ac:spMkLst>
            <pc:docMk/>
            <pc:sldMk cId="1761133344" sldId="928"/>
            <ac:spMk id="5" creationId="{4504FF40-DACF-678D-9A2C-5A99C4CFC8B3}"/>
          </ac:spMkLst>
        </pc:spChg>
        <pc:spChg chg="add mod">
          <ac:chgData name="Andreas Koksrud" userId="9d9beba6-c052-407a-8599-c781a677a996" providerId="ADAL" clId="{4C89AD2D-B60A-479F-9F95-9D423A06FAEA}" dt="2024-08-01T08:50:58.247" v="34014" actId="1036"/>
          <ac:spMkLst>
            <pc:docMk/>
            <pc:sldMk cId="1761133344" sldId="928"/>
            <ac:spMk id="6" creationId="{0B248B04-6F93-C05C-C0A9-BB72C4F1D8A3}"/>
          </ac:spMkLst>
        </pc:spChg>
        <pc:spChg chg="add mod">
          <ac:chgData name="Andreas Koksrud" userId="9d9beba6-c052-407a-8599-c781a677a996" providerId="ADAL" clId="{4C89AD2D-B60A-479F-9F95-9D423A06FAEA}" dt="2024-08-01T08:41:16.482" v="32834" actId="14100"/>
          <ac:spMkLst>
            <pc:docMk/>
            <pc:sldMk cId="1761133344" sldId="928"/>
            <ac:spMk id="7" creationId="{33D62527-3A40-24B7-F593-4328242B2F2C}"/>
          </ac:spMkLst>
        </pc:spChg>
        <pc:spChg chg="mod">
          <ac:chgData name="Andreas Koksrud" userId="9d9beba6-c052-407a-8599-c781a677a996" providerId="ADAL" clId="{4C89AD2D-B60A-479F-9F95-9D423A06FAEA}" dt="2024-06-30T09:31:48.297" v="12530" actId="20577"/>
          <ac:spMkLst>
            <pc:docMk/>
            <pc:sldMk cId="1761133344" sldId="928"/>
            <ac:spMk id="180" creationId="{F7147F2C-4A6A-27CF-97F0-BB84E5B79A27}"/>
          </ac:spMkLst>
        </pc:spChg>
        <pc:picChg chg="del mod">
          <ac:chgData name="Andreas Koksrud" userId="9d9beba6-c052-407a-8599-c781a677a996" providerId="ADAL" clId="{4C89AD2D-B60A-479F-9F95-9D423A06FAEA}" dt="2024-06-30T15:06:52.505" v="12788" actId="478"/>
          <ac:picMkLst>
            <pc:docMk/>
            <pc:sldMk cId="1761133344" sldId="928"/>
            <ac:picMk id="6" creationId="{6A053093-6BC5-2836-70FE-51BD12BEB5DE}"/>
          </ac:picMkLst>
        </pc:picChg>
        <pc:picChg chg="del">
          <ac:chgData name="Andreas Koksrud" userId="9d9beba6-c052-407a-8599-c781a677a996" providerId="ADAL" clId="{4C89AD2D-B60A-479F-9F95-9D423A06FAEA}" dt="2024-06-30T15:06:23.372" v="12784" actId="478"/>
          <ac:picMkLst>
            <pc:docMk/>
            <pc:sldMk cId="1761133344" sldId="928"/>
            <ac:picMk id="8" creationId="{368CD9F1-99D7-08A8-7C96-68D2D27C15A8}"/>
          </ac:picMkLst>
        </pc:picChg>
      </pc:sldChg>
      <pc:sldChg chg="addSp modSp add mod">
        <pc:chgData name="Andreas Koksrud" userId="9d9beba6-c052-407a-8599-c781a677a996" providerId="ADAL" clId="{4C89AD2D-B60A-479F-9F95-9D423A06FAEA}" dt="2024-07-05T19:25:45.989" v="20199" actId="14100"/>
        <pc:sldMkLst>
          <pc:docMk/>
          <pc:sldMk cId="3496916072" sldId="929"/>
        </pc:sldMkLst>
        <pc:spChg chg="add mod">
          <ac:chgData name="Andreas Koksrud" userId="9d9beba6-c052-407a-8599-c781a677a996" providerId="ADAL" clId="{4C89AD2D-B60A-479F-9F95-9D423A06FAEA}" dt="2024-06-14T18:17:44.155" v="6338"/>
          <ac:spMkLst>
            <pc:docMk/>
            <pc:sldMk cId="3496916072" sldId="929"/>
            <ac:spMk id="2" creationId="{0BAF9CDF-1F31-022B-DFDF-222C55018715}"/>
          </ac:spMkLst>
        </pc:spChg>
        <pc:spChg chg="mod">
          <ac:chgData name="Andreas Koksrud" userId="9d9beba6-c052-407a-8599-c781a677a996" providerId="ADAL" clId="{4C89AD2D-B60A-479F-9F95-9D423A06FAEA}" dt="2024-07-05T19:25:45.989" v="20199" actId="14100"/>
          <ac:spMkLst>
            <pc:docMk/>
            <pc:sldMk cId="3496916072" sldId="929"/>
            <ac:spMk id="3" creationId="{FE703E88-4252-FC56-3A11-F54BBB369E0F}"/>
          </ac:spMkLst>
        </pc:spChg>
        <pc:spChg chg="mod">
          <ac:chgData name="Andreas Koksrud" userId="9d9beba6-c052-407a-8599-c781a677a996" providerId="ADAL" clId="{4C89AD2D-B60A-479F-9F95-9D423A06FAEA}" dt="2024-07-05T19:25:37.121" v="20195" actId="6549"/>
          <ac:spMkLst>
            <pc:docMk/>
            <pc:sldMk cId="3496916072" sldId="929"/>
            <ac:spMk id="4" creationId="{42F1134E-0AF3-BB43-946F-E13A2D832C8F}"/>
          </ac:spMkLst>
        </pc:spChg>
        <pc:spChg chg="add mod">
          <ac:chgData name="Andreas Koksrud" userId="9d9beba6-c052-407a-8599-c781a677a996" providerId="ADAL" clId="{4C89AD2D-B60A-479F-9F95-9D423A06FAEA}" dt="2024-06-14T18:17:44.155" v="6338"/>
          <ac:spMkLst>
            <pc:docMk/>
            <pc:sldMk cId="3496916072" sldId="929"/>
            <ac:spMk id="5" creationId="{B596EF22-E31D-A2E8-341E-3D77773F09FD}"/>
          </ac:spMkLst>
        </pc:spChg>
        <pc:spChg chg="mod">
          <ac:chgData name="Andreas Koksrud" userId="9d9beba6-c052-407a-8599-c781a677a996" providerId="ADAL" clId="{4C89AD2D-B60A-479F-9F95-9D423A06FAEA}" dt="2024-07-05T19:25:13.061" v="20088" actId="20577"/>
          <ac:spMkLst>
            <pc:docMk/>
            <pc:sldMk cId="3496916072" sldId="929"/>
            <ac:spMk id="180" creationId="{11405684-5900-5AB4-405B-25BB0F7CBAD5}"/>
          </ac:spMkLst>
        </pc:spChg>
      </pc:sldChg>
      <pc:sldChg chg="addSp modSp add">
        <pc:chgData name="Andreas Koksrud" userId="9d9beba6-c052-407a-8599-c781a677a996" providerId="ADAL" clId="{4C89AD2D-B60A-479F-9F95-9D423A06FAEA}" dt="2024-06-14T18:17:45.436" v="6339"/>
        <pc:sldMkLst>
          <pc:docMk/>
          <pc:sldMk cId="1794767992" sldId="930"/>
        </pc:sldMkLst>
        <pc:spChg chg="add mod">
          <ac:chgData name="Andreas Koksrud" userId="9d9beba6-c052-407a-8599-c781a677a996" providerId="ADAL" clId="{4C89AD2D-B60A-479F-9F95-9D423A06FAEA}" dt="2024-06-14T18:17:45.436" v="6339"/>
          <ac:spMkLst>
            <pc:docMk/>
            <pc:sldMk cId="1794767992" sldId="930"/>
            <ac:spMk id="2" creationId="{6F46EA79-4C3C-6251-5313-9DB6A0BB8DE5}"/>
          </ac:spMkLst>
        </pc:spChg>
        <pc:spChg chg="add mod">
          <ac:chgData name="Andreas Koksrud" userId="9d9beba6-c052-407a-8599-c781a677a996" providerId="ADAL" clId="{4C89AD2D-B60A-479F-9F95-9D423A06FAEA}" dt="2024-06-14T18:17:45.436" v="6339"/>
          <ac:spMkLst>
            <pc:docMk/>
            <pc:sldMk cId="1794767992" sldId="930"/>
            <ac:spMk id="4" creationId="{7C8786C3-5E58-2E1E-62BF-C38169340900}"/>
          </ac:spMkLst>
        </pc:spChg>
      </pc:sldChg>
      <pc:sldChg chg="addSp delSp modSp add mod">
        <pc:chgData name="Andreas Koksrud" userId="9d9beba6-c052-407a-8599-c781a677a996" providerId="ADAL" clId="{4C89AD2D-B60A-479F-9F95-9D423A06FAEA}" dt="2024-08-04T15:56:37.305" v="36286" actId="20577"/>
        <pc:sldMkLst>
          <pc:docMk/>
          <pc:sldMk cId="2544668817" sldId="931"/>
        </pc:sldMkLst>
        <pc:spChg chg="add mod">
          <ac:chgData name="Andreas Koksrud" userId="9d9beba6-c052-407a-8599-c781a677a996" providerId="ADAL" clId="{4C89AD2D-B60A-479F-9F95-9D423A06FAEA}" dt="2024-06-14T18:17:46.586" v="6340"/>
          <ac:spMkLst>
            <pc:docMk/>
            <pc:sldMk cId="2544668817" sldId="931"/>
            <ac:spMk id="2" creationId="{D71C1957-CF13-E573-D007-BD19A1E67927}"/>
          </ac:spMkLst>
        </pc:spChg>
        <pc:spChg chg="mod">
          <ac:chgData name="Andreas Koksrud" userId="9d9beba6-c052-407a-8599-c781a677a996" providerId="ADAL" clId="{4C89AD2D-B60A-479F-9F95-9D423A06FAEA}" dt="2024-08-04T15:56:37.305" v="36286" actId="20577"/>
          <ac:spMkLst>
            <pc:docMk/>
            <pc:sldMk cId="2544668817" sldId="931"/>
            <ac:spMk id="5" creationId="{9EE63497-A543-48A3-EA75-634D1E366B33}"/>
          </ac:spMkLst>
        </pc:spChg>
        <pc:spChg chg="del">
          <ac:chgData name="Andreas Koksrud" userId="9d9beba6-c052-407a-8599-c781a677a996" providerId="ADAL" clId="{4C89AD2D-B60A-479F-9F95-9D423A06FAEA}" dt="2024-07-15T20:27:24.194" v="23400" actId="478"/>
          <ac:spMkLst>
            <pc:docMk/>
            <pc:sldMk cId="2544668817" sldId="931"/>
            <ac:spMk id="6" creationId="{0735D571-DE80-55D5-C5CD-E9727FF81CD6}"/>
          </ac:spMkLst>
        </pc:spChg>
        <pc:spChg chg="add mod">
          <ac:chgData name="Andreas Koksrud" userId="9d9beba6-c052-407a-8599-c781a677a996" providerId="ADAL" clId="{4C89AD2D-B60A-479F-9F95-9D423A06FAEA}" dt="2024-06-14T18:17:46.586" v="6340"/>
          <ac:spMkLst>
            <pc:docMk/>
            <pc:sldMk cId="2544668817" sldId="931"/>
            <ac:spMk id="7" creationId="{9827CC03-792F-6275-16E4-B4CAE92C3026}"/>
          </ac:spMkLst>
        </pc:spChg>
        <pc:picChg chg="add mod">
          <ac:chgData name="Andreas Koksrud" userId="9d9beba6-c052-407a-8599-c781a677a996" providerId="ADAL" clId="{4C89AD2D-B60A-479F-9F95-9D423A06FAEA}" dt="2024-07-16T13:48:37.496" v="24641" actId="1076"/>
          <ac:picMkLst>
            <pc:docMk/>
            <pc:sldMk cId="2544668817" sldId="931"/>
            <ac:picMk id="3" creationId="{66120AFA-DE2E-2AF7-BF03-20984A46B2B0}"/>
          </ac:picMkLst>
        </pc:picChg>
        <pc:picChg chg="add del mod">
          <ac:chgData name="Andreas Koksrud" userId="9d9beba6-c052-407a-8599-c781a677a996" providerId="ADAL" clId="{4C89AD2D-B60A-479F-9F95-9D423A06FAEA}" dt="2024-07-16T13:47:48.990" v="24635" actId="21"/>
          <ac:picMkLst>
            <pc:docMk/>
            <pc:sldMk cId="2544668817" sldId="931"/>
            <ac:picMk id="2050" creationId="{66120AFA-DE2E-2AF7-BF03-20984A46B2B0}"/>
          </ac:picMkLst>
        </pc:picChg>
        <pc:picChg chg="mod">
          <ac:chgData name="Andreas Koksrud" userId="9d9beba6-c052-407a-8599-c781a677a996" providerId="ADAL" clId="{4C89AD2D-B60A-479F-9F95-9D423A06FAEA}" dt="2024-07-16T13:48:31.157" v="24638" actId="1076"/>
          <ac:picMkLst>
            <pc:docMk/>
            <pc:sldMk cId="2544668817" sldId="931"/>
            <ac:picMk id="3074" creationId="{9A7141FC-3A91-4D15-1D9A-8AAAD3BC4D21}"/>
          </ac:picMkLst>
        </pc:picChg>
      </pc:sldChg>
      <pc:sldChg chg="addSp delSp modSp add del mod">
        <pc:chgData name="Andreas Koksrud" userId="9d9beba6-c052-407a-8599-c781a677a996" providerId="ADAL" clId="{4C89AD2D-B60A-479F-9F95-9D423A06FAEA}" dt="2024-08-04T15:58:43.106" v="36387" actId="20577"/>
        <pc:sldMkLst>
          <pc:docMk/>
          <pc:sldMk cId="1016572018" sldId="932"/>
        </pc:sldMkLst>
        <pc:spChg chg="mod">
          <ac:chgData name="Andreas Koksrud" userId="9d9beba6-c052-407a-8599-c781a677a996" providerId="ADAL" clId="{4C89AD2D-B60A-479F-9F95-9D423A06FAEA}" dt="2024-07-16T13:41:23.966" v="24167" actId="21"/>
          <ac:spMkLst>
            <pc:docMk/>
            <pc:sldMk cId="1016572018" sldId="932"/>
            <ac:spMk id="2" creationId="{F8E83C25-8CA5-D584-5289-4C949008223D}"/>
          </ac:spMkLst>
        </pc:spChg>
        <pc:spChg chg="del mod">
          <ac:chgData name="Andreas Koksrud" userId="9d9beba6-c052-407a-8599-c781a677a996" providerId="ADAL" clId="{4C89AD2D-B60A-479F-9F95-9D423A06FAEA}" dt="2024-07-15T21:00:48.390" v="24031" actId="478"/>
          <ac:spMkLst>
            <pc:docMk/>
            <pc:sldMk cId="1016572018" sldId="932"/>
            <ac:spMk id="3" creationId="{F12BCEAD-17C7-BE91-5976-50915688488F}"/>
          </ac:spMkLst>
        </pc:spChg>
        <pc:spChg chg="add mod">
          <ac:chgData name="Andreas Koksrud" userId="9d9beba6-c052-407a-8599-c781a677a996" providerId="ADAL" clId="{4C89AD2D-B60A-479F-9F95-9D423A06FAEA}" dt="2024-06-14T18:17:51.231" v="6342"/>
          <ac:spMkLst>
            <pc:docMk/>
            <pc:sldMk cId="1016572018" sldId="932"/>
            <ac:spMk id="5" creationId="{669F1CE0-07E7-BAD6-EDD5-383BB50DD5EC}"/>
          </ac:spMkLst>
        </pc:spChg>
        <pc:spChg chg="add mod">
          <ac:chgData name="Andreas Koksrud" userId="9d9beba6-c052-407a-8599-c781a677a996" providerId="ADAL" clId="{4C89AD2D-B60A-479F-9F95-9D423A06FAEA}" dt="2024-06-14T18:17:51.231" v="6342"/>
          <ac:spMkLst>
            <pc:docMk/>
            <pc:sldMk cId="1016572018" sldId="932"/>
            <ac:spMk id="6" creationId="{FD64D427-7605-26F7-2631-74925BA54A34}"/>
          </ac:spMkLst>
        </pc:spChg>
        <pc:spChg chg="add mod ord">
          <ac:chgData name="Andreas Koksrud" userId="9d9beba6-c052-407a-8599-c781a677a996" providerId="ADAL" clId="{4C89AD2D-B60A-479F-9F95-9D423A06FAEA}" dt="2024-08-04T15:58:43.106" v="36387" actId="20577"/>
          <ac:spMkLst>
            <pc:docMk/>
            <pc:sldMk cId="1016572018" sldId="932"/>
            <ac:spMk id="7" creationId="{A6D2F896-55A4-CD41-BF58-9C3ADF744611}"/>
          </ac:spMkLst>
        </pc:spChg>
        <pc:spChg chg="add mod">
          <ac:chgData name="Andreas Koksrud" userId="9d9beba6-c052-407a-8599-c781a677a996" providerId="ADAL" clId="{4C89AD2D-B60A-479F-9F95-9D423A06FAEA}" dt="2024-07-16T14:11:46.819" v="25305" actId="20577"/>
          <ac:spMkLst>
            <pc:docMk/>
            <pc:sldMk cId="1016572018" sldId="932"/>
            <ac:spMk id="8" creationId="{ACE2674A-C183-6B54-CC23-416FEB788024}"/>
          </ac:spMkLst>
        </pc:spChg>
        <pc:spChg chg="mod">
          <ac:chgData name="Andreas Koksrud" userId="9d9beba6-c052-407a-8599-c781a677a996" providerId="ADAL" clId="{4C89AD2D-B60A-479F-9F95-9D423A06FAEA}" dt="2024-07-15T20:58:58.670" v="23806" actId="20577"/>
          <ac:spMkLst>
            <pc:docMk/>
            <pc:sldMk cId="1016572018" sldId="932"/>
            <ac:spMk id="180" creationId="{2F18F86A-BD31-AF17-88B8-2BD58E719633}"/>
          </ac:spMkLst>
        </pc:spChg>
        <pc:cxnChg chg="del">
          <ac:chgData name="Andreas Koksrud" userId="9d9beba6-c052-407a-8599-c781a677a996" providerId="ADAL" clId="{4C89AD2D-B60A-479F-9F95-9D423A06FAEA}" dt="2024-07-15T21:00:25.882" v="23958" actId="478"/>
          <ac:cxnSpMkLst>
            <pc:docMk/>
            <pc:sldMk cId="1016572018" sldId="932"/>
            <ac:cxnSpMk id="4" creationId="{751BA97A-CC9A-A26E-AB90-2C8A6D1938AE}"/>
          </ac:cxnSpMkLst>
        </pc:cxnChg>
      </pc:sldChg>
      <pc:sldChg chg="addSp modSp add mod">
        <pc:chgData name="Andreas Koksrud" userId="9d9beba6-c052-407a-8599-c781a677a996" providerId="ADAL" clId="{4C89AD2D-B60A-479F-9F95-9D423A06FAEA}" dt="2024-08-04T16:08:12.683" v="36545" actId="20577"/>
        <pc:sldMkLst>
          <pc:docMk/>
          <pc:sldMk cId="516132435" sldId="933"/>
        </pc:sldMkLst>
        <pc:spChg chg="add mod">
          <ac:chgData name="Andreas Koksrud" userId="9d9beba6-c052-407a-8599-c781a677a996" providerId="ADAL" clId="{4C89AD2D-B60A-479F-9F95-9D423A06FAEA}" dt="2024-06-14T18:17:59.449" v="6343"/>
          <ac:spMkLst>
            <pc:docMk/>
            <pc:sldMk cId="516132435" sldId="933"/>
            <ac:spMk id="2" creationId="{7CCECBB3-F2C8-EAF3-AF80-4556AC197C91}"/>
          </ac:spMkLst>
        </pc:spChg>
        <pc:spChg chg="add mod">
          <ac:chgData name="Andreas Koksrud" userId="9d9beba6-c052-407a-8599-c781a677a996" providerId="ADAL" clId="{4C89AD2D-B60A-479F-9F95-9D423A06FAEA}" dt="2024-06-14T18:17:59.449" v="6343"/>
          <ac:spMkLst>
            <pc:docMk/>
            <pc:sldMk cId="516132435" sldId="933"/>
            <ac:spMk id="3" creationId="{E6E2C634-F92E-B8DF-A450-18C8D00FCA8C}"/>
          </ac:spMkLst>
        </pc:spChg>
        <pc:spChg chg="mod">
          <ac:chgData name="Andreas Koksrud" userId="9d9beba6-c052-407a-8599-c781a677a996" providerId="ADAL" clId="{4C89AD2D-B60A-479F-9F95-9D423A06FAEA}" dt="2024-08-04T16:08:12.683" v="36545" actId="20577"/>
          <ac:spMkLst>
            <pc:docMk/>
            <pc:sldMk cId="516132435" sldId="933"/>
            <ac:spMk id="180" creationId="{00000000-0000-0000-0000-000000000000}"/>
          </ac:spMkLst>
        </pc:spChg>
        <pc:spChg chg="mod">
          <ac:chgData name="Andreas Koksrud" userId="9d9beba6-c052-407a-8599-c781a677a996" providerId="ADAL" clId="{4C89AD2D-B60A-479F-9F95-9D423A06FAEA}" dt="2024-07-05T19:30:16.909" v="20634" actId="20577"/>
          <ac:spMkLst>
            <pc:docMk/>
            <pc:sldMk cId="516132435" sldId="933"/>
            <ac:spMk id="181" creationId="{00000000-0000-0000-0000-000000000000}"/>
          </ac:spMkLst>
        </pc:spChg>
      </pc:sldChg>
      <pc:sldChg chg="addSp modSp add mod">
        <pc:chgData name="Andreas Koksrud" userId="9d9beba6-c052-407a-8599-c781a677a996" providerId="ADAL" clId="{4C89AD2D-B60A-479F-9F95-9D423A06FAEA}" dt="2024-08-06T13:27:28.675" v="39219" actId="20577"/>
        <pc:sldMkLst>
          <pc:docMk/>
          <pc:sldMk cId="100500619" sldId="934"/>
        </pc:sldMkLst>
        <pc:spChg chg="mod">
          <ac:chgData name="Andreas Koksrud" userId="9d9beba6-c052-407a-8599-c781a677a996" providerId="ADAL" clId="{4C89AD2D-B60A-479F-9F95-9D423A06FAEA}" dt="2024-08-06T13:27:21.576" v="39216" actId="20577"/>
          <ac:spMkLst>
            <pc:docMk/>
            <pc:sldMk cId="100500619" sldId="934"/>
            <ac:spMk id="2" creationId="{6B539DEF-BEF0-2AA6-A90D-BC67AC4C73CD}"/>
          </ac:spMkLst>
        </pc:spChg>
        <pc:spChg chg="add mod">
          <ac:chgData name="Andreas Koksrud" userId="9d9beba6-c052-407a-8599-c781a677a996" providerId="ADAL" clId="{4C89AD2D-B60A-479F-9F95-9D423A06FAEA}" dt="2024-06-14T18:19:23.784" v="6425"/>
          <ac:spMkLst>
            <pc:docMk/>
            <pc:sldMk cId="100500619" sldId="934"/>
            <ac:spMk id="5" creationId="{154927B6-778C-CCEB-F6B5-24A57E91074E}"/>
          </ac:spMkLst>
        </pc:spChg>
        <pc:spChg chg="mod">
          <ac:chgData name="Andreas Koksrud" userId="9d9beba6-c052-407a-8599-c781a677a996" providerId="ADAL" clId="{4C89AD2D-B60A-479F-9F95-9D423A06FAEA}" dt="2024-08-06T13:27:28.675" v="39219" actId="20577"/>
          <ac:spMkLst>
            <pc:docMk/>
            <pc:sldMk cId="100500619" sldId="934"/>
            <ac:spMk id="6" creationId="{5BDD3AAC-325F-DE80-3D51-9E564913C38B}"/>
          </ac:spMkLst>
        </pc:spChg>
        <pc:spChg chg="add mod">
          <ac:chgData name="Andreas Koksrud" userId="9d9beba6-c052-407a-8599-c781a677a996" providerId="ADAL" clId="{4C89AD2D-B60A-479F-9F95-9D423A06FAEA}" dt="2024-06-14T18:19:23.784" v="6425"/>
          <ac:spMkLst>
            <pc:docMk/>
            <pc:sldMk cId="100500619" sldId="934"/>
            <ac:spMk id="10" creationId="{2B6E741D-F3B6-E374-050C-D8C0B42D6623}"/>
          </ac:spMkLst>
        </pc:spChg>
        <pc:spChg chg="add mod">
          <ac:chgData name="Andreas Koksrud" userId="9d9beba6-c052-407a-8599-c781a677a996" providerId="ADAL" clId="{4C89AD2D-B60A-479F-9F95-9D423A06FAEA}" dt="2024-08-06T13:25:29.784" v="39153" actId="14100"/>
          <ac:spMkLst>
            <pc:docMk/>
            <pc:sldMk cId="100500619" sldId="934"/>
            <ac:spMk id="11" creationId="{C1BF4C83-C256-5DB1-6B8B-EB67D2A307FD}"/>
          </ac:spMkLst>
        </pc:spChg>
        <pc:spChg chg="mod">
          <ac:chgData name="Andreas Koksrud" userId="9d9beba6-c052-407a-8599-c781a677a996" providerId="ADAL" clId="{4C89AD2D-B60A-479F-9F95-9D423A06FAEA}" dt="2024-08-06T13:25:18.364" v="39150" actId="20577"/>
          <ac:spMkLst>
            <pc:docMk/>
            <pc:sldMk cId="100500619" sldId="934"/>
            <ac:spMk id="180" creationId="{00000000-0000-0000-0000-000000000000}"/>
          </ac:spMkLst>
        </pc:spChg>
        <pc:cxnChg chg="mod">
          <ac:chgData name="Andreas Koksrud" userId="9d9beba6-c052-407a-8599-c781a677a996" providerId="ADAL" clId="{4C89AD2D-B60A-479F-9F95-9D423A06FAEA}" dt="2024-08-06T13:26:31.778" v="39157" actId="208"/>
          <ac:cxnSpMkLst>
            <pc:docMk/>
            <pc:sldMk cId="100500619" sldId="934"/>
            <ac:cxnSpMk id="9" creationId="{7868819B-3F17-B71E-77A4-74D92C33BDC7}"/>
          </ac:cxnSpMkLst>
        </pc:cxnChg>
        <pc:cxnChg chg="add mod">
          <ac:chgData name="Andreas Koksrud" userId="9d9beba6-c052-407a-8599-c781a677a996" providerId="ADAL" clId="{4C89AD2D-B60A-479F-9F95-9D423A06FAEA}" dt="2024-08-06T13:26:31.778" v="39157" actId="208"/>
          <ac:cxnSpMkLst>
            <pc:docMk/>
            <pc:sldMk cId="100500619" sldId="934"/>
            <ac:cxnSpMk id="12" creationId="{3AE8501E-2243-7050-929E-CBDB6D6504EA}"/>
          </ac:cxnSpMkLst>
        </pc:cxnChg>
        <pc:cxnChg chg="add mod">
          <ac:chgData name="Andreas Koksrud" userId="9d9beba6-c052-407a-8599-c781a677a996" providerId="ADAL" clId="{4C89AD2D-B60A-479F-9F95-9D423A06FAEA}" dt="2024-08-06T13:26:31.778" v="39157" actId="208"/>
          <ac:cxnSpMkLst>
            <pc:docMk/>
            <pc:sldMk cId="100500619" sldId="934"/>
            <ac:cxnSpMk id="15" creationId="{38864A63-14C0-1326-4AF4-BA5E6A839014}"/>
          </ac:cxnSpMkLst>
        </pc:cxnChg>
      </pc:sldChg>
      <pc:sldChg chg="addSp modSp add mod">
        <pc:chgData name="Andreas Koksrud" userId="9d9beba6-c052-407a-8599-c781a677a996" providerId="ADAL" clId="{4C89AD2D-B60A-479F-9F95-9D423A06FAEA}" dt="2024-08-06T13:28:20.255" v="39292" actId="14100"/>
        <pc:sldMkLst>
          <pc:docMk/>
          <pc:sldMk cId="1678513824" sldId="935"/>
        </pc:sldMkLst>
        <pc:spChg chg="add mod">
          <ac:chgData name="Andreas Koksrud" userId="9d9beba6-c052-407a-8599-c781a677a996" providerId="ADAL" clId="{4C89AD2D-B60A-479F-9F95-9D423A06FAEA}" dt="2024-06-14T18:19:54.613" v="6483"/>
          <ac:spMkLst>
            <pc:docMk/>
            <pc:sldMk cId="1678513824" sldId="935"/>
            <ac:spMk id="2" creationId="{791BB8FD-1C81-38DC-5A43-CAF32F603AC6}"/>
          </ac:spMkLst>
        </pc:spChg>
        <pc:spChg chg="add mod">
          <ac:chgData name="Andreas Koksrud" userId="9d9beba6-c052-407a-8599-c781a677a996" providerId="ADAL" clId="{4C89AD2D-B60A-479F-9F95-9D423A06FAEA}" dt="2024-06-14T18:19:54.613" v="6483"/>
          <ac:spMkLst>
            <pc:docMk/>
            <pc:sldMk cId="1678513824" sldId="935"/>
            <ac:spMk id="3" creationId="{BEE715C8-924E-89E0-FF32-E171CAA2C874}"/>
          </ac:spMkLst>
        </pc:spChg>
        <pc:spChg chg="mod">
          <ac:chgData name="Andreas Koksrud" userId="9d9beba6-c052-407a-8599-c781a677a996" providerId="ADAL" clId="{4C89AD2D-B60A-479F-9F95-9D423A06FAEA}" dt="2024-08-06T13:28:20.255" v="39292" actId="14100"/>
          <ac:spMkLst>
            <pc:docMk/>
            <pc:sldMk cId="1678513824" sldId="935"/>
            <ac:spMk id="10" creationId="{15D97F99-86F7-5050-D416-F947C5E33DC8}"/>
          </ac:spMkLst>
        </pc:spChg>
      </pc:sldChg>
      <pc:sldChg chg="addSp modSp add">
        <pc:chgData name="Andreas Koksrud" userId="9d9beba6-c052-407a-8599-c781a677a996" providerId="ADAL" clId="{4C89AD2D-B60A-479F-9F95-9D423A06FAEA}" dt="2024-06-14T18:19:55.618" v="6484"/>
        <pc:sldMkLst>
          <pc:docMk/>
          <pc:sldMk cId="1640846257" sldId="936"/>
        </pc:sldMkLst>
        <pc:spChg chg="add mod">
          <ac:chgData name="Andreas Koksrud" userId="9d9beba6-c052-407a-8599-c781a677a996" providerId="ADAL" clId="{4C89AD2D-B60A-479F-9F95-9D423A06FAEA}" dt="2024-06-14T18:19:55.618" v="6484"/>
          <ac:spMkLst>
            <pc:docMk/>
            <pc:sldMk cId="1640846257" sldId="936"/>
            <ac:spMk id="2" creationId="{0E0A0551-72DF-0801-B2A0-F36EBAA01C31}"/>
          </ac:spMkLst>
        </pc:spChg>
        <pc:spChg chg="add mod">
          <ac:chgData name="Andreas Koksrud" userId="9d9beba6-c052-407a-8599-c781a677a996" providerId="ADAL" clId="{4C89AD2D-B60A-479F-9F95-9D423A06FAEA}" dt="2024-06-14T18:19:55.618" v="6484"/>
          <ac:spMkLst>
            <pc:docMk/>
            <pc:sldMk cId="1640846257" sldId="936"/>
            <ac:spMk id="3" creationId="{AEB67DE2-4419-6A35-1303-4FFA243B08DC}"/>
          </ac:spMkLst>
        </pc:spChg>
      </pc:sldChg>
      <pc:sldChg chg="addSp modSp add mod">
        <pc:chgData name="Andreas Koksrud" userId="9d9beba6-c052-407a-8599-c781a677a996" providerId="ADAL" clId="{4C89AD2D-B60A-479F-9F95-9D423A06FAEA}" dt="2024-08-06T13:29:08.151" v="39368" actId="6549"/>
        <pc:sldMkLst>
          <pc:docMk/>
          <pc:sldMk cId="1343251663" sldId="937"/>
        </pc:sldMkLst>
        <pc:spChg chg="add mod">
          <ac:chgData name="Andreas Koksrud" userId="9d9beba6-c052-407a-8599-c781a677a996" providerId="ADAL" clId="{4C89AD2D-B60A-479F-9F95-9D423A06FAEA}" dt="2024-06-14T18:20:00.297" v="6487"/>
          <ac:spMkLst>
            <pc:docMk/>
            <pc:sldMk cId="1343251663" sldId="937"/>
            <ac:spMk id="2" creationId="{670F7EB4-8D5D-9A17-1683-98C8DEE44950}"/>
          </ac:spMkLst>
        </pc:spChg>
        <pc:spChg chg="mod">
          <ac:chgData name="Andreas Koksrud" userId="9d9beba6-c052-407a-8599-c781a677a996" providerId="ADAL" clId="{4C89AD2D-B60A-479F-9F95-9D423A06FAEA}" dt="2024-08-06T13:29:08.151" v="39368" actId="6549"/>
          <ac:spMkLst>
            <pc:docMk/>
            <pc:sldMk cId="1343251663" sldId="937"/>
            <ac:spMk id="4" creationId="{153DFF42-04F3-FF32-29A1-3C1146724836}"/>
          </ac:spMkLst>
        </pc:spChg>
        <pc:spChg chg="add mod">
          <ac:chgData name="Andreas Koksrud" userId="9d9beba6-c052-407a-8599-c781a677a996" providerId="ADAL" clId="{4C89AD2D-B60A-479F-9F95-9D423A06FAEA}" dt="2024-06-14T18:20:00.297" v="6487"/>
          <ac:spMkLst>
            <pc:docMk/>
            <pc:sldMk cId="1343251663" sldId="937"/>
            <ac:spMk id="5" creationId="{C561C956-1C4A-D184-51D0-81304FB91DE8}"/>
          </ac:spMkLst>
        </pc:spChg>
      </pc:sldChg>
      <pc:sldChg chg="addSp modSp add mod">
        <pc:chgData name="Andreas Koksrud" userId="9d9beba6-c052-407a-8599-c781a677a996" providerId="ADAL" clId="{4C89AD2D-B60A-479F-9F95-9D423A06FAEA}" dt="2024-08-06T13:29:28.639" v="39468" actId="20577"/>
        <pc:sldMkLst>
          <pc:docMk/>
          <pc:sldMk cId="4244963184" sldId="938"/>
        </pc:sldMkLst>
        <pc:spChg chg="add mod">
          <ac:chgData name="Andreas Koksrud" userId="9d9beba6-c052-407a-8599-c781a677a996" providerId="ADAL" clId="{4C89AD2D-B60A-479F-9F95-9D423A06FAEA}" dt="2024-06-14T18:20:02.219" v="6488"/>
          <ac:spMkLst>
            <pc:docMk/>
            <pc:sldMk cId="4244963184" sldId="938"/>
            <ac:spMk id="2" creationId="{A6A1603D-E614-D490-5E97-7F11D3A40156}"/>
          </ac:spMkLst>
        </pc:spChg>
        <pc:spChg chg="add mod">
          <ac:chgData name="Andreas Koksrud" userId="9d9beba6-c052-407a-8599-c781a677a996" providerId="ADAL" clId="{4C89AD2D-B60A-479F-9F95-9D423A06FAEA}" dt="2024-06-14T18:20:02.219" v="6488"/>
          <ac:spMkLst>
            <pc:docMk/>
            <pc:sldMk cId="4244963184" sldId="938"/>
            <ac:spMk id="3" creationId="{50E6E05E-D759-39DF-4A3C-A48ED2CBDA8B}"/>
          </ac:spMkLst>
        </pc:spChg>
        <pc:spChg chg="mod">
          <ac:chgData name="Andreas Koksrud" userId="9d9beba6-c052-407a-8599-c781a677a996" providerId="ADAL" clId="{4C89AD2D-B60A-479F-9F95-9D423A06FAEA}" dt="2024-08-06T13:29:28.639" v="39468" actId="20577"/>
          <ac:spMkLst>
            <pc:docMk/>
            <pc:sldMk cId="4244963184" sldId="938"/>
            <ac:spMk id="7" creationId="{AB39B2EF-DA75-2EBD-A607-63447DACDE5B}"/>
          </ac:spMkLst>
        </pc:spChg>
      </pc:sldChg>
      <pc:sldChg chg="addSp modSp add mod">
        <pc:chgData name="Andreas Koksrud" userId="9d9beba6-c052-407a-8599-c781a677a996" providerId="ADAL" clId="{4C89AD2D-B60A-479F-9F95-9D423A06FAEA}" dt="2024-07-20T19:00:30.718" v="26124" actId="20577"/>
        <pc:sldMkLst>
          <pc:docMk/>
          <pc:sldMk cId="4271162885" sldId="939"/>
        </pc:sldMkLst>
        <pc:spChg chg="add mod">
          <ac:chgData name="Andreas Koksrud" userId="9d9beba6-c052-407a-8599-c781a677a996" providerId="ADAL" clId="{4C89AD2D-B60A-479F-9F95-9D423A06FAEA}" dt="2024-06-14T18:22:34.559" v="6644"/>
          <ac:spMkLst>
            <pc:docMk/>
            <pc:sldMk cId="4271162885" sldId="939"/>
            <ac:spMk id="2" creationId="{E6EF352B-E62D-2EEE-F73E-40AC0571A477}"/>
          </ac:spMkLst>
        </pc:spChg>
        <pc:spChg chg="add mod">
          <ac:chgData name="Andreas Koksrud" userId="9d9beba6-c052-407a-8599-c781a677a996" providerId="ADAL" clId="{4C89AD2D-B60A-479F-9F95-9D423A06FAEA}" dt="2024-06-14T18:22:34.559" v="6644"/>
          <ac:spMkLst>
            <pc:docMk/>
            <pc:sldMk cId="4271162885" sldId="939"/>
            <ac:spMk id="4" creationId="{3A2CAB68-8A05-2C53-6B03-3DE61ABEB52F}"/>
          </ac:spMkLst>
        </pc:spChg>
        <pc:spChg chg="mod">
          <ac:chgData name="Andreas Koksrud" userId="9d9beba6-c052-407a-8599-c781a677a996" providerId="ADAL" clId="{4C89AD2D-B60A-479F-9F95-9D423A06FAEA}" dt="2024-07-20T19:00:30.718" v="26124" actId="20577"/>
          <ac:spMkLst>
            <pc:docMk/>
            <pc:sldMk cId="4271162885" sldId="939"/>
            <ac:spMk id="180" creationId="{00000000-0000-0000-0000-000000000000}"/>
          </ac:spMkLst>
        </pc:spChg>
      </pc:sldChg>
      <pc:sldChg chg="addSp modSp add">
        <pc:chgData name="Andreas Koksrud" userId="9d9beba6-c052-407a-8599-c781a677a996" providerId="ADAL" clId="{4C89AD2D-B60A-479F-9F95-9D423A06FAEA}" dt="2024-06-14T18:22:35.705" v="6645"/>
        <pc:sldMkLst>
          <pc:docMk/>
          <pc:sldMk cId="76786861" sldId="940"/>
        </pc:sldMkLst>
        <pc:spChg chg="add mod">
          <ac:chgData name="Andreas Koksrud" userId="9d9beba6-c052-407a-8599-c781a677a996" providerId="ADAL" clId="{4C89AD2D-B60A-479F-9F95-9D423A06FAEA}" dt="2024-06-14T18:22:35.705" v="6645"/>
          <ac:spMkLst>
            <pc:docMk/>
            <pc:sldMk cId="76786861" sldId="940"/>
            <ac:spMk id="2" creationId="{36AF9587-D6ED-F993-3FBE-FFAD7203A1EF}"/>
          </ac:spMkLst>
        </pc:spChg>
        <pc:spChg chg="add mod">
          <ac:chgData name="Andreas Koksrud" userId="9d9beba6-c052-407a-8599-c781a677a996" providerId="ADAL" clId="{4C89AD2D-B60A-479F-9F95-9D423A06FAEA}" dt="2024-06-14T18:22:35.705" v="6645"/>
          <ac:spMkLst>
            <pc:docMk/>
            <pc:sldMk cId="76786861" sldId="940"/>
            <ac:spMk id="3" creationId="{B413C2F3-1902-95F7-CB03-5D0B4F83B1E9}"/>
          </ac:spMkLst>
        </pc:spChg>
      </pc:sldChg>
      <pc:sldChg chg="addSp modSp add">
        <pc:chgData name="Andreas Koksrud" userId="9d9beba6-c052-407a-8599-c781a677a996" providerId="ADAL" clId="{4C89AD2D-B60A-479F-9F95-9D423A06FAEA}" dt="2024-06-14T18:22:40.183" v="6648"/>
        <pc:sldMkLst>
          <pc:docMk/>
          <pc:sldMk cId="259599803" sldId="941"/>
        </pc:sldMkLst>
        <pc:spChg chg="add mod">
          <ac:chgData name="Andreas Koksrud" userId="9d9beba6-c052-407a-8599-c781a677a996" providerId="ADAL" clId="{4C89AD2D-B60A-479F-9F95-9D423A06FAEA}" dt="2024-06-14T18:22:40.183" v="6648"/>
          <ac:spMkLst>
            <pc:docMk/>
            <pc:sldMk cId="259599803" sldId="941"/>
            <ac:spMk id="2" creationId="{9AD72738-2F49-9D24-3B33-BEFDF5A504D6}"/>
          </ac:spMkLst>
        </pc:spChg>
        <pc:spChg chg="add mod">
          <ac:chgData name="Andreas Koksrud" userId="9d9beba6-c052-407a-8599-c781a677a996" providerId="ADAL" clId="{4C89AD2D-B60A-479F-9F95-9D423A06FAEA}" dt="2024-06-14T18:22:40.183" v="6648"/>
          <ac:spMkLst>
            <pc:docMk/>
            <pc:sldMk cId="259599803" sldId="941"/>
            <ac:spMk id="4" creationId="{9E108B55-399A-539F-F2A1-D0959DE8F5C3}"/>
          </ac:spMkLst>
        </pc:spChg>
      </pc:sldChg>
      <pc:sldChg chg="addSp modSp add">
        <pc:chgData name="Andreas Koksrud" userId="9d9beba6-c052-407a-8599-c781a677a996" providerId="ADAL" clId="{4C89AD2D-B60A-479F-9F95-9D423A06FAEA}" dt="2024-06-14T18:22:41.411" v="6649"/>
        <pc:sldMkLst>
          <pc:docMk/>
          <pc:sldMk cId="617464026" sldId="942"/>
        </pc:sldMkLst>
        <pc:spChg chg="add mod">
          <ac:chgData name="Andreas Koksrud" userId="9d9beba6-c052-407a-8599-c781a677a996" providerId="ADAL" clId="{4C89AD2D-B60A-479F-9F95-9D423A06FAEA}" dt="2024-06-14T18:22:41.411" v="6649"/>
          <ac:spMkLst>
            <pc:docMk/>
            <pc:sldMk cId="617464026" sldId="942"/>
            <ac:spMk id="3" creationId="{84A65EE2-B38A-7140-3AA7-791B4144D394}"/>
          </ac:spMkLst>
        </pc:spChg>
        <pc:spChg chg="add mod">
          <ac:chgData name="Andreas Koksrud" userId="9d9beba6-c052-407a-8599-c781a677a996" providerId="ADAL" clId="{4C89AD2D-B60A-479F-9F95-9D423A06FAEA}" dt="2024-06-14T18:22:41.411" v="6649"/>
          <ac:spMkLst>
            <pc:docMk/>
            <pc:sldMk cId="617464026" sldId="942"/>
            <ac:spMk id="4" creationId="{8173962E-BB88-FF4F-CEEE-E0845749D92B}"/>
          </ac:spMkLst>
        </pc:spChg>
      </pc:sldChg>
      <pc:sldChg chg="addSp modSp add">
        <pc:chgData name="Andreas Koksrud" userId="9d9beba6-c052-407a-8599-c781a677a996" providerId="ADAL" clId="{4C89AD2D-B60A-479F-9F95-9D423A06FAEA}" dt="2024-06-14T18:23:16.873" v="6650"/>
        <pc:sldMkLst>
          <pc:docMk/>
          <pc:sldMk cId="2452820001" sldId="943"/>
        </pc:sldMkLst>
        <pc:spChg chg="add mod">
          <ac:chgData name="Andreas Koksrud" userId="9d9beba6-c052-407a-8599-c781a677a996" providerId="ADAL" clId="{4C89AD2D-B60A-479F-9F95-9D423A06FAEA}" dt="2024-06-14T18:23:16.873" v="6650"/>
          <ac:spMkLst>
            <pc:docMk/>
            <pc:sldMk cId="2452820001" sldId="943"/>
            <ac:spMk id="3" creationId="{3C169EF6-6670-EED8-F29E-3497806729F3}"/>
          </ac:spMkLst>
        </pc:spChg>
        <pc:spChg chg="add mod">
          <ac:chgData name="Andreas Koksrud" userId="9d9beba6-c052-407a-8599-c781a677a996" providerId="ADAL" clId="{4C89AD2D-B60A-479F-9F95-9D423A06FAEA}" dt="2024-06-14T18:23:16.873" v="6650"/>
          <ac:spMkLst>
            <pc:docMk/>
            <pc:sldMk cId="2452820001" sldId="943"/>
            <ac:spMk id="5" creationId="{D24EEDCF-1E5F-74A8-B3D0-D1A7F76F4093}"/>
          </ac:spMkLst>
        </pc:spChg>
      </pc:sldChg>
      <pc:sldChg chg="addSp modSp add">
        <pc:chgData name="Andreas Koksrud" userId="9d9beba6-c052-407a-8599-c781a677a996" providerId="ADAL" clId="{4C89AD2D-B60A-479F-9F95-9D423A06FAEA}" dt="2024-06-14T18:23:19.465" v="6652"/>
        <pc:sldMkLst>
          <pc:docMk/>
          <pc:sldMk cId="831372640" sldId="944"/>
        </pc:sldMkLst>
        <pc:spChg chg="add mod">
          <ac:chgData name="Andreas Koksrud" userId="9d9beba6-c052-407a-8599-c781a677a996" providerId="ADAL" clId="{4C89AD2D-B60A-479F-9F95-9D423A06FAEA}" dt="2024-06-14T18:23:19.465" v="6652"/>
          <ac:spMkLst>
            <pc:docMk/>
            <pc:sldMk cId="831372640" sldId="944"/>
            <ac:spMk id="3" creationId="{457CCFBC-6A5D-730D-BC8C-AF75E90E90DF}"/>
          </ac:spMkLst>
        </pc:spChg>
        <pc:spChg chg="add mod">
          <ac:chgData name="Andreas Koksrud" userId="9d9beba6-c052-407a-8599-c781a677a996" providerId="ADAL" clId="{4C89AD2D-B60A-479F-9F95-9D423A06FAEA}" dt="2024-06-14T18:23:19.465" v="6652"/>
          <ac:spMkLst>
            <pc:docMk/>
            <pc:sldMk cId="831372640" sldId="944"/>
            <ac:spMk id="4" creationId="{B585DD2A-806B-D39B-E1D0-313C5FA5D46A}"/>
          </ac:spMkLst>
        </pc:spChg>
      </pc:sldChg>
      <pc:sldChg chg="addSp modSp add">
        <pc:chgData name="Andreas Koksrud" userId="9d9beba6-c052-407a-8599-c781a677a996" providerId="ADAL" clId="{4C89AD2D-B60A-479F-9F95-9D423A06FAEA}" dt="2024-06-14T18:23:20.631" v="6653"/>
        <pc:sldMkLst>
          <pc:docMk/>
          <pc:sldMk cId="3301216787" sldId="945"/>
        </pc:sldMkLst>
        <pc:spChg chg="add mod">
          <ac:chgData name="Andreas Koksrud" userId="9d9beba6-c052-407a-8599-c781a677a996" providerId="ADAL" clId="{4C89AD2D-B60A-479F-9F95-9D423A06FAEA}" dt="2024-06-14T18:23:20.631" v="6653"/>
          <ac:spMkLst>
            <pc:docMk/>
            <pc:sldMk cId="3301216787" sldId="945"/>
            <ac:spMk id="3" creationId="{12F43E12-F701-F902-7325-01B77A39EF08}"/>
          </ac:spMkLst>
        </pc:spChg>
        <pc:spChg chg="add mod">
          <ac:chgData name="Andreas Koksrud" userId="9d9beba6-c052-407a-8599-c781a677a996" providerId="ADAL" clId="{4C89AD2D-B60A-479F-9F95-9D423A06FAEA}" dt="2024-06-14T18:23:20.631" v="6653"/>
          <ac:spMkLst>
            <pc:docMk/>
            <pc:sldMk cId="3301216787" sldId="945"/>
            <ac:spMk id="5" creationId="{D8450E26-15C0-8ACC-6FC8-BF5D04CD9185}"/>
          </ac:spMkLst>
        </pc:spChg>
      </pc:sldChg>
      <pc:sldChg chg="addSp modSp add">
        <pc:chgData name="Andreas Koksrud" userId="9d9beba6-c052-407a-8599-c781a677a996" providerId="ADAL" clId="{4C89AD2D-B60A-479F-9F95-9D423A06FAEA}" dt="2024-06-14T18:23:21.605" v="6654"/>
        <pc:sldMkLst>
          <pc:docMk/>
          <pc:sldMk cId="3558541316" sldId="946"/>
        </pc:sldMkLst>
        <pc:spChg chg="add mod">
          <ac:chgData name="Andreas Koksrud" userId="9d9beba6-c052-407a-8599-c781a677a996" providerId="ADAL" clId="{4C89AD2D-B60A-479F-9F95-9D423A06FAEA}" dt="2024-06-14T18:23:21.605" v="6654"/>
          <ac:spMkLst>
            <pc:docMk/>
            <pc:sldMk cId="3558541316" sldId="946"/>
            <ac:spMk id="3" creationId="{CA852D5C-7E0D-3E86-72F5-E2BE2ABF710F}"/>
          </ac:spMkLst>
        </pc:spChg>
        <pc:spChg chg="add mod">
          <ac:chgData name="Andreas Koksrud" userId="9d9beba6-c052-407a-8599-c781a677a996" providerId="ADAL" clId="{4C89AD2D-B60A-479F-9F95-9D423A06FAEA}" dt="2024-06-14T18:23:21.605" v="6654"/>
          <ac:spMkLst>
            <pc:docMk/>
            <pc:sldMk cId="3558541316" sldId="946"/>
            <ac:spMk id="4" creationId="{A3106713-D15E-53AF-DF34-EF62F5DEBDF3}"/>
          </ac:spMkLst>
        </pc:spChg>
      </pc:sldChg>
      <pc:sldChg chg="addSp modSp add">
        <pc:chgData name="Andreas Koksrud" userId="9d9beba6-c052-407a-8599-c781a677a996" providerId="ADAL" clId="{4C89AD2D-B60A-479F-9F95-9D423A06FAEA}" dt="2024-06-14T18:23:25.711" v="6658"/>
        <pc:sldMkLst>
          <pc:docMk/>
          <pc:sldMk cId="1488992746" sldId="947"/>
        </pc:sldMkLst>
        <pc:spChg chg="add mod">
          <ac:chgData name="Andreas Koksrud" userId="9d9beba6-c052-407a-8599-c781a677a996" providerId="ADAL" clId="{4C89AD2D-B60A-479F-9F95-9D423A06FAEA}" dt="2024-06-14T18:23:25.711" v="6658"/>
          <ac:spMkLst>
            <pc:docMk/>
            <pc:sldMk cId="1488992746" sldId="947"/>
            <ac:spMk id="3" creationId="{7DBB5A89-16EC-4CC9-3788-496FCC35E72D}"/>
          </ac:spMkLst>
        </pc:spChg>
        <pc:spChg chg="add mod">
          <ac:chgData name="Andreas Koksrud" userId="9d9beba6-c052-407a-8599-c781a677a996" providerId="ADAL" clId="{4C89AD2D-B60A-479F-9F95-9D423A06FAEA}" dt="2024-06-14T18:23:25.711" v="6658"/>
          <ac:spMkLst>
            <pc:docMk/>
            <pc:sldMk cId="1488992746" sldId="947"/>
            <ac:spMk id="4" creationId="{7C36F6FE-4DFA-556F-4CE8-643236914185}"/>
          </ac:spMkLst>
        </pc:spChg>
      </pc:sldChg>
      <pc:sldChg chg="addSp modSp add">
        <pc:chgData name="Andreas Koksrud" userId="9d9beba6-c052-407a-8599-c781a677a996" providerId="ADAL" clId="{4C89AD2D-B60A-479F-9F95-9D423A06FAEA}" dt="2024-06-14T18:23:29.418" v="6661"/>
        <pc:sldMkLst>
          <pc:docMk/>
          <pc:sldMk cId="3691710986" sldId="948"/>
        </pc:sldMkLst>
        <pc:spChg chg="add mod">
          <ac:chgData name="Andreas Koksrud" userId="9d9beba6-c052-407a-8599-c781a677a996" providerId="ADAL" clId="{4C89AD2D-B60A-479F-9F95-9D423A06FAEA}" dt="2024-06-14T18:23:29.418" v="6661"/>
          <ac:spMkLst>
            <pc:docMk/>
            <pc:sldMk cId="3691710986" sldId="948"/>
            <ac:spMk id="3" creationId="{FCECE710-782A-1158-E64C-C4F05AD52C5E}"/>
          </ac:spMkLst>
        </pc:spChg>
        <pc:spChg chg="add mod">
          <ac:chgData name="Andreas Koksrud" userId="9d9beba6-c052-407a-8599-c781a677a996" providerId="ADAL" clId="{4C89AD2D-B60A-479F-9F95-9D423A06FAEA}" dt="2024-06-14T18:23:29.418" v="6661"/>
          <ac:spMkLst>
            <pc:docMk/>
            <pc:sldMk cId="3691710986" sldId="948"/>
            <ac:spMk id="4" creationId="{B6ED1B6B-095A-0432-2E5E-7E52F8BE2216}"/>
          </ac:spMkLst>
        </pc:spChg>
      </pc:sldChg>
      <pc:sldChg chg="addSp modSp add">
        <pc:chgData name="Andreas Koksrud" userId="9d9beba6-c052-407a-8599-c781a677a996" providerId="ADAL" clId="{4C89AD2D-B60A-479F-9F95-9D423A06FAEA}" dt="2024-06-14T18:23:33.176" v="6664"/>
        <pc:sldMkLst>
          <pc:docMk/>
          <pc:sldMk cId="1547393795" sldId="949"/>
        </pc:sldMkLst>
        <pc:spChg chg="add mod">
          <ac:chgData name="Andreas Koksrud" userId="9d9beba6-c052-407a-8599-c781a677a996" providerId="ADAL" clId="{4C89AD2D-B60A-479F-9F95-9D423A06FAEA}" dt="2024-06-14T18:23:33.176" v="6664"/>
          <ac:spMkLst>
            <pc:docMk/>
            <pc:sldMk cId="1547393795" sldId="949"/>
            <ac:spMk id="3" creationId="{0A52683A-5F94-B07A-BCDE-2020421FF659}"/>
          </ac:spMkLst>
        </pc:spChg>
        <pc:spChg chg="add mod">
          <ac:chgData name="Andreas Koksrud" userId="9d9beba6-c052-407a-8599-c781a677a996" providerId="ADAL" clId="{4C89AD2D-B60A-479F-9F95-9D423A06FAEA}" dt="2024-06-14T18:23:33.176" v="6664"/>
          <ac:spMkLst>
            <pc:docMk/>
            <pc:sldMk cId="1547393795" sldId="949"/>
            <ac:spMk id="6" creationId="{B94BB94E-EE99-3D04-B4F6-5BDD03C47B50}"/>
          </ac:spMkLst>
        </pc:spChg>
      </pc:sldChg>
      <pc:sldChg chg="addSp modSp add">
        <pc:chgData name="Andreas Koksrud" userId="9d9beba6-c052-407a-8599-c781a677a996" providerId="ADAL" clId="{4C89AD2D-B60A-479F-9F95-9D423A06FAEA}" dt="2024-06-14T18:23:34.260" v="6665"/>
        <pc:sldMkLst>
          <pc:docMk/>
          <pc:sldMk cId="2750337227" sldId="950"/>
        </pc:sldMkLst>
        <pc:spChg chg="add mod">
          <ac:chgData name="Andreas Koksrud" userId="9d9beba6-c052-407a-8599-c781a677a996" providerId="ADAL" clId="{4C89AD2D-B60A-479F-9F95-9D423A06FAEA}" dt="2024-06-14T18:23:34.260" v="6665"/>
          <ac:spMkLst>
            <pc:docMk/>
            <pc:sldMk cId="2750337227" sldId="950"/>
            <ac:spMk id="3" creationId="{A902EC83-1181-E459-8E83-A43E69825F15}"/>
          </ac:spMkLst>
        </pc:spChg>
        <pc:spChg chg="add mod">
          <ac:chgData name="Andreas Koksrud" userId="9d9beba6-c052-407a-8599-c781a677a996" providerId="ADAL" clId="{4C89AD2D-B60A-479F-9F95-9D423A06FAEA}" dt="2024-06-14T18:23:34.260" v="6665"/>
          <ac:spMkLst>
            <pc:docMk/>
            <pc:sldMk cId="2750337227" sldId="950"/>
            <ac:spMk id="4" creationId="{5AB85F1B-36EA-6EA1-C9AB-7C8698B57DCD}"/>
          </ac:spMkLst>
        </pc:spChg>
      </pc:sldChg>
      <pc:sldChg chg="addSp modSp add">
        <pc:chgData name="Andreas Koksrud" userId="9d9beba6-c052-407a-8599-c781a677a996" providerId="ADAL" clId="{4C89AD2D-B60A-479F-9F95-9D423A06FAEA}" dt="2024-06-14T18:23:37.433" v="6666"/>
        <pc:sldMkLst>
          <pc:docMk/>
          <pc:sldMk cId="1760940084" sldId="951"/>
        </pc:sldMkLst>
        <pc:spChg chg="add mod">
          <ac:chgData name="Andreas Koksrud" userId="9d9beba6-c052-407a-8599-c781a677a996" providerId="ADAL" clId="{4C89AD2D-B60A-479F-9F95-9D423A06FAEA}" dt="2024-06-14T18:23:37.433" v="6666"/>
          <ac:spMkLst>
            <pc:docMk/>
            <pc:sldMk cId="1760940084" sldId="951"/>
            <ac:spMk id="2" creationId="{913A5A6F-61E9-F718-DA1D-7D93CC8AD998}"/>
          </ac:spMkLst>
        </pc:spChg>
        <pc:spChg chg="add mod">
          <ac:chgData name="Andreas Koksrud" userId="9d9beba6-c052-407a-8599-c781a677a996" providerId="ADAL" clId="{4C89AD2D-B60A-479F-9F95-9D423A06FAEA}" dt="2024-06-14T18:23:37.433" v="6666"/>
          <ac:spMkLst>
            <pc:docMk/>
            <pc:sldMk cId="1760940084" sldId="951"/>
            <ac:spMk id="5" creationId="{D11CBD96-12BB-08CF-B4C1-F5C3B38F8998}"/>
          </ac:spMkLst>
        </pc:spChg>
      </pc:sldChg>
      <pc:sldChg chg="addSp modSp add">
        <pc:chgData name="Andreas Koksrud" userId="9d9beba6-c052-407a-8599-c781a677a996" providerId="ADAL" clId="{4C89AD2D-B60A-479F-9F95-9D423A06FAEA}" dt="2024-06-14T18:23:39.639" v="6667"/>
        <pc:sldMkLst>
          <pc:docMk/>
          <pc:sldMk cId="3149545615" sldId="952"/>
        </pc:sldMkLst>
        <pc:spChg chg="add mod">
          <ac:chgData name="Andreas Koksrud" userId="9d9beba6-c052-407a-8599-c781a677a996" providerId="ADAL" clId="{4C89AD2D-B60A-479F-9F95-9D423A06FAEA}" dt="2024-06-14T18:23:39.639" v="6667"/>
          <ac:spMkLst>
            <pc:docMk/>
            <pc:sldMk cId="3149545615" sldId="952"/>
            <ac:spMk id="2" creationId="{C9C8F01D-EE8D-B612-99FA-147FAD8F88CE}"/>
          </ac:spMkLst>
        </pc:spChg>
        <pc:spChg chg="add mod">
          <ac:chgData name="Andreas Koksrud" userId="9d9beba6-c052-407a-8599-c781a677a996" providerId="ADAL" clId="{4C89AD2D-B60A-479F-9F95-9D423A06FAEA}" dt="2024-06-14T18:23:39.639" v="6667"/>
          <ac:spMkLst>
            <pc:docMk/>
            <pc:sldMk cId="3149545615" sldId="952"/>
            <ac:spMk id="7" creationId="{2EC2B93E-8F05-7461-8E4E-50D055129B8C}"/>
          </ac:spMkLst>
        </pc:spChg>
      </pc:sldChg>
      <pc:sldChg chg="addSp modSp add">
        <pc:chgData name="Andreas Koksrud" userId="9d9beba6-c052-407a-8599-c781a677a996" providerId="ADAL" clId="{4C89AD2D-B60A-479F-9F95-9D423A06FAEA}" dt="2024-06-14T18:23:44.192" v="6668"/>
        <pc:sldMkLst>
          <pc:docMk/>
          <pc:sldMk cId="1639579349" sldId="953"/>
        </pc:sldMkLst>
        <pc:spChg chg="add mod">
          <ac:chgData name="Andreas Koksrud" userId="9d9beba6-c052-407a-8599-c781a677a996" providerId="ADAL" clId="{4C89AD2D-B60A-479F-9F95-9D423A06FAEA}" dt="2024-06-14T18:23:44.192" v="6668"/>
          <ac:spMkLst>
            <pc:docMk/>
            <pc:sldMk cId="1639579349" sldId="953"/>
            <ac:spMk id="2" creationId="{0E94FAC2-FC4A-96FF-8B0D-64742AD58342}"/>
          </ac:spMkLst>
        </pc:spChg>
        <pc:spChg chg="add mod">
          <ac:chgData name="Andreas Koksrud" userId="9d9beba6-c052-407a-8599-c781a677a996" providerId="ADAL" clId="{4C89AD2D-B60A-479F-9F95-9D423A06FAEA}" dt="2024-06-14T18:23:44.192" v="6668"/>
          <ac:spMkLst>
            <pc:docMk/>
            <pc:sldMk cId="1639579349" sldId="953"/>
            <ac:spMk id="5" creationId="{203565F2-A241-F539-AE13-C8512BA23C15}"/>
          </ac:spMkLst>
        </pc:spChg>
      </pc:sldChg>
      <pc:sldChg chg="addSp modSp add setBg">
        <pc:chgData name="Andreas Koksrud" userId="9d9beba6-c052-407a-8599-c781a677a996" providerId="ADAL" clId="{4C89AD2D-B60A-479F-9F95-9D423A06FAEA}" dt="2024-06-14T18:23:46.824" v="6669"/>
        <pc:sldMkLst>
          <pc:docMk/>
          <pc:sldMk cId="621067258" sldId="954"/>
        </pc:sldMkLst>
        <pc:spChg chg="add mod">
          <ac:chgData name="Andreas Koksrud" userId="9d9beba6-c052-407a-8599-c781a677a996" providerId="ADAL" clId="{4C89AD2D-B60A-479F-9F95-9D423A06FAEA}" dt="2024-06-14T18:23:46.824" v="6669"/>
          <ac:spMkLst>
            <pc:docMk/>
            <pc:sldMk cId="621067258" sldId="954"/>
            <ac:spMk id="2" creationId="{4064B696-41FB-7407-18EC-D1F31C4595FD}"/>
          </ac:spMkLst>
        </pc:spChg>
        <pc:spChg chg="add mod">
          <ac:chgData name="Andreas Koksrud" userId="9d9beba6-c052-407a-8599-c781a677a996" providerId="ADAL" clId="{4C89AD2D-B60A-479F-9F95-9D423A06FAEA}" dt="2024-06-14T18:23:46.824" v="6669"/>
          <ac:spMkLst>
            <pc:docMk/>
            <pc:sldMk cId="621067258" sldId="954"/>
            <ac:spMk id="3" creationId="{CB2B9C7C-D0E0-7856-6CE2-E610803AC57A}"/>
          </ac:spMkLst>
        </pc:spChg>
      </pc:sldChg>
      <pc:sldChg chg="addSp modSp add mod">
        <pc:chgData name="Andreas Koksrud" userId="9d9beba6-c052-407a-8599-c781a677a996" providerId="ADAL" clId="{4C89AD2D-B60A-479F-9F95-9D423A06FAEA}" dt="2024-06-14T18:24:04.204" v="6683" actId="20577"/>
        <pc:sldMkLst>
          <pc:docMk/>
          <pc:sldMk cId="900096217" sldId="955"/>
        </pc:sldMkLst>
        <pc:spChg chg="add mod">
          <ac:chgData name="Andreas Koksrud" userId="9d9beba6-c052-407a-8599-c781a677a996" providerId="ADAL" clId="{4C89AD2D-B60A-479F-9F95-9D423A06FAEA}" dt="2024-06-14T18:23:59.091" v="6677"/>
          <ac:spMkLst>
            <pc:docMk/>
            <pc:sldMk cId="900096217" sldId="955"/>
            <ac:spMk id="3" creationId="{A96FD00A-64BA-F461-517E-4AC6E9D83052}"/>
          </ac:spMkLst>
        </pc:spChg>
        <pc:spChg chg="add mod">
          <ac:chgData name="Andreas Koksrud" userId="9d9beba6-c052-407a-8599-c781a677a996" providerId="ADAL" clId="{4C89AD2D-B60A-479F-9F95-9D423A06FAEA}" dt="2024-06-14T18:24:04.204" v="6683" actId="20577"/>
          <ac:spMkLst>
            <pc:docMk/>
            <pc:sldMk cId="900096217" sldId="955"/>
            <ac:spMk id="5" creationId="{44123601-5542-285D-2F12-E1CAC6FB9891}"/>
          </ac:spMkLst>
        </pc:spChg>
      </pc:sldChg>
      <pc:sldChg chg="addSp delSp modSp add del mod">
        <pc:chgData name="Andreas Koksrud" userId="9d9beba6-c052-407a-8599-c781a677a996" providerId="ADAL" clId="{4C89AD2D-B60A-479F-9F95-9D423A06FAEA}" dt="2024-07-01T18:56:27.681" v="16966" actId="47"/>
        <pc:sldMkLst>
          <pc:docMk/>
          <pc:sldMk cId="710612878" sldId="956"/>
        </pc:sldMkLst>
        <pc:spChg chg="add mod">
          <ac:chgData name="Andreas Koksrud" userId="9d9beba6-c052-407a-8599-c781a677a996" providerId="ADAL" clId="{4C89AD2D-B60A-479F-9F95-9D423A06FAEA}" dt="2024-06-14T18:15:01.655" v="6051"/>
          <ac:spMkLst>
            <pc:docMk/>
            <pc:sldMk cId="710612878" sldId="956"/>
            <ac:spMk id="3" creationId="{FA843765-07C8-3AC7-60CB-8B0176C87519}"/>
          </ac:spMkLst>
        </pc:spChg>
        <pc:spChg chg="add mod">
          <ac:chgData name="Andreas Koksrud" userId="9d9beba6-c052-407a-8599-c781a677a996" providerId="ADAL" clId="{4C89AD2D-B60A-479F-9F95-9D423A06FAEA}" dt="2024-06-14T18:15:01.655" v="6051"/>
          <ac:spMkLst>
            <pc:docMk/>
            <pc:sldMk cId="710612878" sldId="956"/>
            <ac:spMk id="5" creationId="{4332C754-181F-671F-D83E-5644260EEDBF}"/>
          </ac:spMkLst>
        </pc:spChg>
        <pc:spChg chg="del">
          <ac:chgData name="Andreas Koksrud" userId="9d9beba6-c052-407a-8599-c781a677a996" providerId="ADAL" clId="{4C89AD2D-B60A-479F-9F95-9D423A06FAEA}" dt="2024-06-11T10:59:26.035" v="4554" actId="478"/>
          <ac:spMkLst>
            <pc:docMk/>
            <pc:sldMk cId="710612878" sldId="956"/>
            <ac:spMk id="10" creationId="{54FB830F-DBF4-1B20-3C76-0E40DC07965B}"/>
          </ac:spMkLst>
        </pc:spChg>
        <pc:spChg chg="del mod">
          <ac:chgData name="Andreas Koksrud" userId="9d9beba6-c052-407a-8599-c781a677a996" providerId="ADAL" clId="{4C89AD2D-B60A-479F-9F95-9D423A06FAEA}" dt="2024-06-11T10:59:22.861" v="4553" actId="478"/>
          <ac:spMkLst>
            <pc:docMk/>
            <pc:sldMk cId="710612878" sldId="956"/>
            <ac:spMk id="13" creationId="{252FE080-F115-3517-B2CA-BD200A8AADA8}"/>
          </ac:spMkLst>
        </pc:spChg>
        <pc:spChg chg="del">
          <ac:chgData name="Andreas Koksrud" userId="9d9beba6-c052-407a-8599-c781a677a996" providerId="ADAL" clId="{4C89AD2D-B60A-479F-9F95-9D423A06FAEA}" dt="2024-06-11T10:59:30.350" v="4556" actId="478"/>
          <ac:spMkLst>
            <pc:docMk/>
            <pc:sldMk cId="710612878" sldId="956"/>
            <ac:spMk id="18" creationId="{689B3815-DD1B-BFC6-4AC3-949A67D41B7D}"/>
          </ac:spMkLst>
        </pc:spChg>
        <pc:picChg chg="add mod">
          <ac:chgData name="Andreas Koksrud" userId="9d9beba6-c052-407a-8599-c781a677a996" providerId="ADAL" clId="{4C89AD2D-B60A-479F-9F95-9D423A06FAEA}" dt="2024-06-11T11:02:59.743" v="4576" actId="1076"/>
          <ac:picMkLst>
            <pc:docMk/>
            <pc:sldMk cId="710612878" sldId="956"/>
            <ac:picMk id="4" creationId="{1DCEC257-88FC-30D6-F99E-2119FFE8D009}"/>
          </ac:picMkLst>
        </pc:picChg>
        <pc:picChg chg="add mod ord">
          <ac:chgData name="Andreas Koksrud" userId="9d9beba6-c052-407a-8599-c781a677a996" providerId="ADAL" clId="{4C89AD2D-B60A-479F-9F95-9D423A06FAEA}" dt="2024-06-11T11:00:39.971" v="4567" actId="1076"/>
          <ac:picMkLst>
            <pc:docMk/>
            <pc:sldMk cId="710612878" sldId="956"/>
            <ac:picMk id="6" creationId="{D8EC1C5A-9B95-C332-83FA-6AC87921E54D}"/>
          </ac:picMkLst>
        </pc:picChg>
        <pc:picChg chg="add mod">
          <ac:chgData name="Andreas Koksrud" userId="9d9beba6-c052-407a-8599-c781a677a996" providerId="ADAL" clId="{4C89AD2D-B60A-479F-9F95-9D423A06FAEA}" dt="2024-06-11T11:00:38.357" v="4566" actId="1076"/>
          <ac:picMkLst>
            <pc:docMk/>
            <pc:sldMk cId="710612878" sldId="956"/>
            <ac:picMk id="8" creationId="{73D8CAE5-5322-FE3D-6DB6-BED3FA3D0623}"/>
          </ac:picMkLst>
        </pc:picChg>
        <pc:picChg chg="del">
          <ac:chgData name="Andreas Koksrud" userId="9d9beba6-c052-407a-8599-c781a677a996" providerId="ADAL" clId="{4C89AD2D-B60A-479F-9F95-9D423A06FAEA}" dt="2024-06-11T10:59:21.280" v="4551" actId="478"/>
          <ac:picMkLst>
            <pc:docMk/>
            <pc:sldMk cId="710612878" sldId="956"/>
            <ac:picMk id="9" creationId="{E632C49C-0402-44E0-7A4D-52ABC0883461}"/>
          </ac:picMkLst>
        </pc:picChg>
        <pc:picChg chg="add mod">
          <ac:chgData name="Andreas Koksrud" userId="9d9beba6-c052-407a-8599-c781a677a996" providerId="ADAL" clId="{4C89AD2D-B60A-479F-9F95-9D423A06FAEA}" dt="2024-06-11T11:01:29.533" v="4571" actId="1076"/>
          <ac:picMkLst>
            <pc:docMk/>
            <pc:sldMk cId="710612878" sldId="956"/>
            <ac:picMk id="17" creationId="{AB830461-A165-DC8B-EB8F-B34C5F230467}"/>
          </ac:picMkLst>
        </pc:picChg>
        <pc:picChg chg="add del mod ord">
          <ac:chgData name="Andreas Koksrud" userId="9d9beba6-c052-407a-8599-c781a677a996" providerId="ADAL" clId="{4C89AD2D-B60A-479F-9F95-9D423A06FAEA}" dt="2024-06-11T11:03:42.181" v="4581" actId="478"/>
          <ac:picMkLst>
            <pc:docMk/>
            <pc:sldMk cId="710612878" sldId="956"/>
            <ac:picMk id="21" creationId="{8F8B04AE-98CC-8B5B-705C-231D4DDC65D9}"/>
          </ac:picMkLst>
        </pc:picChg>
        <pc:picChg chg="add del">
          <ac:chgData name="Andreas Koksrud" userId="9d9beba6-c052-407a-8599-c781a677a996" providerId="ADAL" clId="{4C89AD2D-B60A-479F-9F95-9D423A06FAEA}" dt="2024-06-11T11:03:43.882" v="4582" actId="478"/>
          <ac:picMkLst>
            <pc:docMk/>
            <pc:sldMk cId="710612878" sldId="956"/>
            <ac:picMk id="25" creationId="{2E9961A5-D98B-97AA-81B7-63238C454A76}"/>
          </ac:picMkLst>
        </pc:picChg>
        <pc:picChg chg="add mod ord">
          <ac:chgData name="Andreas Koksrud" userId="9d9beba6-c052-407a-8599-c781a677a996" providerId="ADAL" clId="{4C89AD2D-B60A-479F-9F95-9D423A06FAEA}" dt="2024-06-11T11:05:18.407" v="4590" actId="1076"/>
          <ac:picMkLst>
            <pc:docMk/>
            <pc:sldMk cId="710612878" sldId="956"/>
            <ac:picMk id="27" creationId="{2DAB582B-A889-29AF-1981-95843A34F32D}"/>
          </ac:picMkLst>
        </pc:picChg>
        <pc:picChg chg="add mod">
          <ac:chgData name="Andreas Koksrud" userId="9d9beba6-c052-407a-8599-c781a677a996" providerId="ADAL" clId="{4C89AD2D-B60A-479F-9F95-9D423A06FAEA}" dt="2024-06-11T11:05:21.019" v="4591" actId="1076"/>
          <ac:picMkLst>
            <pc:docMk/>
            <pc:sldMk cId="710612878" sldId="956"/>
            <ac:picMk id="30" creationId="{FD70291B-819F-91FE-EA32-8D57A4F4BDD0}"/>
          </ac:picMkLst>
        </pc:picChg>
        <pc:cxnChg chg="mod ord">
          <ac:chgData name="Andreas Koksrud" userId="9d9beba6-c052-407a-8599-c781a677a996" providerId="ADAL" clId="{4C89AD2D-B60A-479F-9F95-9D423A06FAEA}" dt="2024-06-11T11:05:18.407" v="4590" actId="1076"/>
          <ac:cxnSpMkLst>
            <pc:docMk/>
            <pc:sldMk cId="710612878" sldId="956"/>
            <ac:cxnSpMk id="12" creationId="{9B6E8DAF-67C9-ED70-3B04-3C8637A4A1DF}"/>
          </ac:cxnSpMkLst>
        </pc:cxnChg>
        <pc:cxnChg chg="mod">
          <ac:chgData name="Andreas Koksrud" userId="9d9beba6-c052-407a-8599-c781a677a996" providerId="ADAL" clId="{4C89AD2D-B60A-479F-9F95-9D423A06FAEA}" dt="2024-06-11T11:00:45.805" v="4569" actId="14100"/>
          <ac:cxnSpMkLst>
            <pc:docMk/>
            <pc:sldMk cId="710612878" sldId="956"/>
            <ac:cxnSpMk id="14" creationId="{DBF7F714-869C-033E-BBE2-33225E14A83C}"/>
          </ac:cxnSpMkLst>
        </pc:cxnChg>
        <pc:cxnChg chg="del">
          <ac:chgData name="Andreas Koksrud" userId="9d9beba6-c052-407a-8599-c781a677a996" providerId="ADAL" clId="{4C89AD2D-B60A-479F-9F95-9D423A06FAEA}" dt="2024-06-11T10:59:30.350" v="4556" actId="478"/>
          <ac:cxnSpMkLst>
            <pc:docMk/>
            <pc:sldMk cId="710612878" sldId="956"/>
            <ac:cxnSpMk id="19" creationId="{9C699369-623A-3E79-0C3E-04851F5A9734}"/>
          </ac:cxnSpMkLst>
        </pc:cxnChg>
      </pc:sldChg>
      <pc:sldChg chg="addSp delSp modSp add mod">
        <pc:chgData name="Andreas Koksrud" userId="9d9beba6-c052-407a-8599-c781a677a996" providerId="ADAL" clId="{4C89AD2D-B60A-479F-9F95-9D423A06FAEA}" dt="2024-08-04T15:50:03.536" v="36063" actId="790"/>
        <pc:sldMkLst>
          <pc:docMk/>
          <pc:sldMk cId="3891081161" sldId="957"/>
        </pc:sldMkLst>
        <pc:spChg chg="add mod">
          <ac:chgData name="Andreas Koksrud" userId="9d9beba6-c052-407a-8599-c781a677a996" providerId="ADAL" clId="{4C89AD2D-B60A-479F-9F95-9D423A06FAEA}" dt="2024-06-14T15:02:35.815" v="5426" actId="20577"/>
          <ac:spMkLst>
            <pc:docMk/>
            <pc:sldMk cId="3891081161" sldId="957"/>
            <ac:spMk id="2" creationId="{092F375E-88F1-2491-C4B4-4FFB2575B3FC}"/>
          </ac:spMkLst>
        </pc:spChg>
        <pc:spChg chg="add mod">
          <ac:chgData name="Andreas Koksrud" userId="9d9beba6-c052-407a-8599-c781a677a996" providerId="ADAL" clId="{4C89AD2D-B60A-479F-9F95-9D423A06FAEA}" dt="2024-08-04T15:50:03.536" v="36063" actId="790"/>
          <ac:spMkLst>
            <pc:docMk/>
            <pc:sldMk cId="3891081161" sldId="957"/>
            <ac:spMk id="3" creationId="{F59EEECA-109D-5388-A048-2DDBD1869174}"/>
          </ac:spMkLst>
        </pc:spChg>
        <pc:spChg chg="add del mod">
          <ac:chgData name="Andreas Koksrud" userId="9d9beba6-c052-407a-8599-c781a677a996" providerId="ADAL" clId="{4C89AD2D-B60A-479F-9F95-9D423A06FAEA}" dt="2024-06-17T18:36:30.918" v="11282" actId="478"/>
          <ac:spMkLst>
            <pc:docMk/>
            <pc:sldMk cId="3891081161" sldId="957"/>
            <ac:spMk id="4" creationId="{0114B071-0FD4-F7BB-E6D7-8CBCBBAFA715}"/>
          </ac:spMkLst>
        </pc:spChg>
        <pc:spChg chg="add mod">
          <ac:chgData name="Andreas Koksrud" userId="9d9beba6-c052-407a-8599-c781a677a996" providerId="ADAL" clId="{4C89AD2D-B60A-479F-9F95-9D423A06FAEA}" dt="2024-08-03T09:39:35.855" v="35408" actId="1076"/>
          <ac:spMkLst>
            <pc:docMk/>
            <pc:sldMk cId="3891081161" sldId="957"/>
            <ac:spMk id="4" creationId="{8404ECDC-CA8F-CF03-541A-F191CC9A3ABD}"/>
          </ac:spMkLst>
        </pc:spChg>
        <pc:spChg chg="add del mod">
          <ac:chgData name="Andreas Koksrud" userId="9d9beba6-c052-407a-8599-c781a677a996" providerId="ADAL" clId="{4C89AD2D-B60A-479F-9F95-9D423A06FAEA}" dt="2024-06-14T17:38:23.152" v="5477" actId="478"/>
          <ac:spMkLst>
            <pc:docMk/>
            <pc:sldMk cId="3891081161" sldId="957"/>
            <ac:spMk id="4" creationId="{983E76E7-A707-9589-938A-3A5E56DFB3F6}"/>
          </ac:spMkLst>
        </pc:spChg>
        <pc:spChg chg="add mod">
          <ac:chgData name="Andreas Koksrud" userId="9d9beba6-c052-407a-8599-c781a677a996" providerId="ADAL" clId="{4C89AD2D-B60A-479F-9F95-9D423A06FAEA}" dt="2024-08-03T09:39:50.108" v="35438" actId="20577"/>
          <ac:spMkLst>
            <pc:docMk/>
            <pc:sldMk cId="3891081161" sldId="957"/>
            <ac:spMk id="5" creationId="{A9096DD0-6AF2-620C-D74F-665FE2D6FDA2}"/>
          </ac:spMkLst>
        </pc:spChg>
        <pc:spChg chg="add mod">
          <ac:chgData name="Andreas Koksrud" userId="9d9beba6-c052-407a-8599-c781a677a996" providerId="ADAL" clId="{4C89AD2D-B60A-479F-9F95-9D423A06FAEA}" dt="2024-06-22T19:52:52.587" v="11529" actId="20577"/>
          <ac:spMkLst>
            <pc:docMk/>
            <pc:sldMk cId="3891081161" sldId="957"/>
            <ac:spMk id="37" creationId="{95B27A29-FE90-9A04-68D9-F0B8445DA3A2}"/>
          </ac:spMkLst>
        </pc:spChg>
        <pc:spChg chg="add mod">
          <ac:chgData name="Andreas Koksrud" userId="9d9beba6-c052-407a-8599-c781a677a996" providerId="ADAL" clId="{4C89AD2D-B60A-479F-9F95-9D423A06FAEA}" dt="2024-07-02T15:21:21.219" v="18750" actId="6549"/>
          <ac:spMkLst>
            <pc:docMk/>
            <pc:sldMk cId="3891081161" sldId="957"/>
            <ac:spMk id="38" creationId="{441691CC-9FA7-3018-1713-2E8E242F570C}"/>
          </ac:spMkLst>
        </pc:spChg>
        <pc:spChg chg="add mod">
          <ac:chgData name="Andreas Koksrud" userId="9d9beba6-c052-407a-8599-c781a677a996" providerId="ADAL" clId="{4C89AD2D-B60A-479F-9F95-9D423A06FAEA}" dt="2024-06-14T18:14:06.310" v="6017"/>
          <ac:spMkLst>
            <pc:docMk/>
            <pc:sldMk cId="3891081161" sldId="957"/>
            <ac:spMk id="46" creationId="{4E062DF5-099B-D535-7830-ECF433AE23F5}"/>
          </ac:spMkLst>
        </pc:spChg>
        <pc:spChg chg="add mod">
          <ac:chgData name="Andreas Koksrud" userId="9d9beba6-c052-407a-8599-c781a677a996" providerId="ADAL" clId="{4C89AD2D-B60A-479F-9F95-9D423A06FAEA}" dt="2024-06-14T18:14:06.310" v="6017"/>
          <ac:spMkLst>
            <pc:docMk/>
            <pc:sldMk cId="3891081161" sldId="957"/>
            <ac:spMk id="47" creationId="{713F7C4B-5CF6-CD54-CC64-EEF0747F9838}"/>
          </ac:spMkLst>
        </pc:spChg>
        <pc:spChg chg="del mod">
          <ac:chgData name="Andreas Koksrud" userId="9d9beba6-c052-407a-8599-c781a677a996" providerId="ADAL" clId="{4C89AD2D-B60A-479F-9F95-9D423A06FAEA}" dt="2024-06-17T18:36:27.681" v="11281" actId="478"/>
          <ac:spMkLst>
            <pc:docMk/>
            <pc:sldMk cId="3891081161" sldId="957"/>
            <ac:spMk id="180" creationId="{00000000-0000-0000-0000-000000000000}"/>
          </ac:spMkLst>
        </pc:spChg>
        <pc:spChg chg="del">
          <ac:chgData name="Andreas Koksrud" userId="9d9beba6-c052-407a-8599-c781a677a996" providerId="ADAL" clId="{4C89AD2D-B60A-479F-9F95-9D423A06FAEA}" dt="2024-06-14T15:02:40.040" v="5427" actId="478"/>
          <ac:spMkLst>
            <pc:docMk/>
            <pc:sldMk cId="3891081161" sldId="957"/>
            <ac:spMk id="181" creationId="{00000000-0000-0000-0000-000000000000}"/>
          </ac:spMkLst>
        </pc:spChg>
        <pc:picChg chg="add del mod">
          <ac:chgData name="Andreas Koksrud" userId="9d9beba6-c052-407a-8599-c781a677a996" providerId="ADAL" clId="{4C89AD2D-B60A-479F-9F95-9D423A06FAEA}" dt="2024-06-14T17:47:43.939" v="5743" actId="478"/>
          <ac:picMkLst>
            <pc:docMk/>
            <pc:sldMk cId="3891081161" sldId="957"/>
            <ac:picMk id="6" creationId="{91E6156A-A563-E619-D1F6-BD5412E01740}"/>
          </ac:picMkLst>
        </pc:picChg>
        <pc:picChg chg="del">
          <ac:chgData name="Andreas Koksrud" userId="9d9beba6-c052-407a-8599-c781a677a996" providerId="ADAL" clId="{4C89AD2D-B60A-479F-9F95-9D423A06FAEA}" dt="2024-06-14T15:02:46.614" v="5429" actId="478"/>
          <ac:picMkLst>
            <pc:docMk/>
            <pc:sldMk cId="3891081161" sldId="957"/>
            <ac:picMk id="7" creationId="{20DA3B42-7D79-4A47-C780-29C37E46A4F0}"/>
          </ac:picMkLst>
        </pc:picChg>
        <pc:picChg chg="del">
          <ac:chgData name="Andreas Koksrud" userId="9d9beba6-c052-407a-8599-c781a677a996" providerId="ADAL" clId="{4C89AD2D-B60A-479F-9F95-9D423A06FAEA}" dt="2024-06-14T15:02:47.410" v="5430" actId="478"/>
          <ac:picMkLst>
            <pc:docMk/>
            <pc:sldMk cId="3891081161" sldId="957"/>
            <ac:picMk id="9" creationId="{7A5B6202-2110-4267-8196-A3160A499FA3}"/>
          </ac:picMkLst>
        </pc:picChg>
        <pc:picChg chg="add del mod">
          <ac:chgData name="Andreas Koksrud" userId="9d9beba6-c052-407a-8599-c781a677a996" providerId="ADAL" clId="{4C89AD2D-B60A-479F-9F95-9D423A06FAEA}" dt="2024-06-14T17:47:49.384" v="5744" actId="478"/>
          <ac:picMkLst>
            <pc:docMk/>
            <pc:sldMk cId="3891081161" sldId="957"/>
            <ac:picMk id="10" creationId="{FB701CB5-6D02-D8B1-E5FE-0166B7CB3753}"/>
          </ac:picMkLst>
        </pc:picChg>
        <pc:picChg chg="add mod modCrop">
          <ac:chgData name="Andreas Koksrud" userId="9d9beba6-c052-407a-8599-c781a677a996" providerId="ADAL" clId="{4C89AD2D-B60A-479F-9F95-9D423A06FAEA}" dt="2024-06-14T17:48:49.353" v="5753" actId="732"/>
          <ac:picMkLst>
            <pc:docMk/>
            <pc:sldMk cId="3891081161" sldId="957"/>
            <ac:picMk id="12" creationId="{31065A3F-005F-8170-27F1-D666F665FD11}"/>
          </ac:picMkLst>
        </pc:picChg>
        <pc:picChg chg="add del mod">
          <ac:chgData name="Andreas Koksrud" userId="9d9beba6-c052-407a-8599-c781a677a996" providerId="ADAL" clId="{4C89AD2D-B60A-479F-9F95-9D423A06FAEA}" dt="2024-06-14T15:07:42.325" v="5439" actId="478"/>
          <ac:picMkLst>
            <pc:docMk/>
            <pc:sldMk cId="3891081161" sldId="957"/>
            <ac:picMk id="14" creationId="{3A741D50-93B8-C125-6D01-774F764B8E15}"/>
          </ac:picMkLst>
        </pc:picChg>
        <pc:picChg chg="add del mod">
          <ac:chgData name="Andreas Koksrud" userId="9d9beba6-c052-407a-8599-c781a677a996" providerId="ADAL" clId="{4C89AD2D-B60A-479F-9F95-9D423A06FAEA}" dt="2024-06-14T15:57:26.929" v="5450" actId="478"/>
          <ac:picMkLst>
            <pc:docMk/>
            <pc:sldMk cId="3891081161" sldId="957"/>
            <ac:picMk id="16" creationId="{33764427-72FC-8AD1-0948-6712CC1BAB7A}"/>
          </ac:picMkLst>
        </pc:picChg>
        <pc:picChg chg="add mod modCrop">
          <ac:chgData name="Andreas Koksrud" userId="9d9beba6-c052-407a-8599-c781a677a996" providerId="ADAL" clId="{4C89AD2D-B60A-479F-9F95-9D423A06FAEA}" dt="2024-06-14T17:50:25.562" v="5767" actId="1076"/>
          <ac:picMkLst>
            <pc:docMk/>
            <pc:sldMk cId="3891081161" sldId="957"/>
            <ac:picMk id="18" creationId="{4D11162B-F2ED-B950-F8DC-ABD52C197FBC}"/>
          </ac:picMkLst>
        </pc:picChg>
        <pc:picChg chg="add mod modCrop">
          <ac:chgData name="Andreas Koksrud" userId="9d9beba6-c052-407a-8599-c781a677a996" providerId="ADAL" clId="{4C89AD2D-B60A-479F-9F95-9D423A06FAEA}" dt="2024-06-14T17:49:45.742" v="5762" actId="1076"/>
          <ac:picMkLst>
            <pc:docMk/>
            <pc:sldMk cId="3891081161" sldId="957"/>
            <ac:picMk id="20" creationId="{03539320-1EA0-1DB6-6C9A-0584BD1224BF}"/>
          </ac:picMkLst>
        </pc:picChg>
        <pc:picChg chg="add del mod modCrop">
          <ac:chgData name="Andreas Koksrud" userId="9d9beba6-c052-407a-8599-c781a677a996" providerId="ADAL" clId="{4C89AD2D-B60A-479F-9F95-9D423A06FAEA}" dt="2024-06-14T17:40:53.643" v="5483" actId="478"/>
          <ac:picMkLst>
            <pc:docMk/>
            <pc:sldMk cId="3891081161" sldId="957"/>
            <ac:picMk id="22" creationId="{05D0B095-4AA2-E1A2-D6B4-ABD8928BF86D}"/>
          </ac:picMkLst>
        </pc:picChg>
        <pc:picChg chg="add del mod">
          <ac:chgData name="Andreas Koksrud" userId="9d9beba6-c052-407a-8599-c781a677a996" providerId="ADAL" clId="{4C89AD2D-B60A-479F-9F95-9D423A06FAEA}" dt="2024-06-14T17:37:10.743" v="5469" actId="478"/>
          <ac:picMkLst>
            <pc:docMk/>
            <pc:sldMk cId="3891081161" sldId="957"/>
            <ac:picMk id="24" creationId="{628C12D4-F8F5-4F69-4613-57E76960BD78}"/>
          </ac:picMkLst>
        </pc:picChg>
        <pc:picChg chg="add del mod">
          <ac:chgData name="Andreas Koksrud" userId="9d9beba6-c052-407a-8599-c781a677a996" providerId="ADAL" clId="{4C89AD2D-B60A-479F-9F95-9D423A06FAEA}" dt="2024-06-14T17:37:22.674" v="5473" actId="478"/>
          <ac:picMkLst>
            <pc:docMk/>
            <pc:sldMk cId="3891081161" sldId="957"/>
            <ac:picMk id="26" creationId="{BE16B5F1-00E9-B899-9F42-5A67BF733C78}"/>
          </ac:picMkLst>
        </pc:picChg>
        <pc:picChg chg="add del mod">
          <ac:chgData name="Andreas Koksrud" userId="9d9beba6-c052-407a-8599-c781a677a996" providerId="ADAL" clId="{4C89AD2D-B60A-479F-9F95-9D423A06FAEA}" dt="2024-06-14T17:40:52.787" v="5482" actId="478"/>
          <ac:picMkLst>
            <pc:docMk/>
            <pc:sldMk cId="3891081161" sldId="957"/>
            <ac:picMk id="28" creationId="{B632A37E-F81D-4878-889C-A48B0963D873}"/>
          </ac:picMkLst>
        </pc:picChg>
        <pc:picChg chg="add del mod">
          <ac:chgData name="Andreas Koksrud" userId="9d9beba6-c052-407a-8599-c781a677a996" providerId="ADAL" clId="{4C89AD2D-B60A-479F-9F95-9D423A06FAEA}" dt="2024-06-14T17:40:52.095" v="5481" actId="478"/>
          <ac:picMkLst>
            <pc:docMk/>
            <pc:sldMk cId="3891081161" sldId="957"/>
            <ac:picMk id="30" creationId="{D35AE1B2-F008-84E0-1E27-9F2890310000}"/>
          </ac:picMkLst>
        </pc:picChg>
        <pc:picChg chg="add mod">
          <ac:chgData name="Andreas Koksrud" userId="9d9beba6-c052-407a-8599-c781a677a996" providerId="ADAL" clId="{4C89AD2D-B60A-479F-9F95-9D423A06FAEA}" dt="2024-06-14T17:49:57.580" v="5763" actId="1076"/>
          <ac:picMkLst>
            <pc:docMk/>
            <pc:sldMk cId="3891081161" sldId="957"/>
            <ac:picMk id="32" creationId="{39EB8162-2F1B-8F63-D92A-75E086162C78}"/>
          </ac:picMkLst>
        </pc:picChg>
        <pc:picChg chg="add mod">
          <ac:chgData name="Andreas Koksrud" userId="9d9beba6-c052-407a-8599-c781a677a996" providerId="ADAL" clId="{4C89AD2D-B60A-479F-9F95-9D423A06FAEA}" dt="2024-08-03T09:39:45.486" v="35428" actId="1035"/>
          <ac:picMkLst>
            <pc:docMk/>
            <pc:sldMk cId="3891081161" sldId="957"/>
            <ac:picMk id="34" creationId="{A2F951E7-CAE4-6880-14FD-E358DE19C974}"/>
          </ac:picMkLst>
        </pc:picChg>
        <pc:picChg chg="add mod">
          <ac:chgData name="Andreas Koksrud" userId="9d9beba6-c052-407a-8599-c781a677a996" providerId="ADAL" clId="{4C89AD2D-B60A-479F-9F95-9D423A06FAEA}" dt="2024-06-14T17:49:03.487" v="5754" actId="1076"/>
          <ac:picMkLst>
            <pc:docMk/>
            <pc:sldMk cId="3891081161" sldId="957"/>
            <ac:picMk id="36" creationId="{DEFE8EC0-B755-072C-D4C0-686A131808ED}"/>
          </ac:picMkLst>
        </pc:picChg>
        <pc:picChg chg="add mod modCrop">
          <ac:chgData name="Andreas Koksrud" userId="9d9beba6-c052-407a-8599-c781a677a996" providerId="ADAL" clId="{4C89AD2D-B60A-479F-9F95-9D423A06FAEA}" dt="2024-06-14T17:48:07.039" v="5748" actId="732"/>
          <ac:picMkLst>
            <pc:docMk/>
            <pc:sldMk cId="3891081161" sldId="957"/>
            <ac:picMk id="41" creationId="{997F2965-D0D8-838D-B577-BC557588CDB0}"/>
          </ac:picMkLst>
        </pc:picChg>
        <pc:cxnChg chg="add mod ord">
          <ac:chgData name="Andreas Koksrud" userId="9d9beba6-c052-407a-8599-c781a677a996" providerId="ADAL" clId="{4C89AD2D-B60A-479F-9F95-9D423A06FAEA}" dt="2024-06-14T17:49:26.818" v="5759" actId="14100"/>
          <ac:cxnSpMkLst>
            <pc:docMk/>
            <pc:sldMk cId="3891081161" sldId="957"/>
            <ac:cxnSpMk id="39" creationId="{6815ECF9-4EC7-69AF-79A8-251036CC0710}"/>
          </ac:cxnSpMkLst>
        </pc:cxnChg>
      </pc:sldChg>
      <pc:sldChg chg="addSp modSp add del mod">
        <pc:chgData name="Andreas Koksrud" userId="9d9beba6-c052-407a-8599-c781a677a996" providerId="ADAL" clId="{4C89AD2D-B60A-479F-9F95-9D423A06FAEA}" dt="2024-07-25T22:00:06.070" v="28206" actId="47"/>
        <pc:sldMkLst>
          <pc:docMk/>
          <pc:sldMk cId="4094782500" sldId="958"/>
        </pc:sldMkLst>
        <pc:spChg chg="add mod">
          <ac:chgData name="Andreas Koksrud" userId="9d9beba6-c052-407a-8599-c781a677a996" providerId="ADAL" clId="{4C89AD2D-B60A-479F-9F95-9D423A06FAEA}" dt="2024-06-15T12:42:35.334" v="7767" actId="6549"/>
          <ac:spMkLst>
            <pc:docMk/>
            <pc:sldMk cId="4094782500" sldId="958"/>
            <ac:spMk id="2" creationId="{A414C899-A3A3-2CE8-A35A-BA6863CFCAA5}"/>
          </ac:spMkLst>
        </pc:spChg>
        <pc:spChg chg="mod">
          <ac:chgData name="Andreas Koksrud" userId="9d9beba6-c052-407a-8599-c781a677a996" providerId="ADAL" clId="{4C89AD2D-B60A-479F-9F95-9D423A06FAEA}" dt="2024-07-25T21:43:16.972" v="27658" actId="20577"/>
          <ac:spMkLst>
            <pc:docMk/>
            <pc:sldMk cId="4094782500" sldId="958"/>
            <ac:spMk id="180" creationId="{00000000-0000-0000-0000-000000000000}"/>
          </ac:spMkLst>
        </pc:spChg>
        <pc:spChg chg="mod">
          <ac:chgData name="Andreas Koksrud" userId="9d9beba6-c052-407a-8599-c781a677a996" providerId="ADAL" clId="{4C89AD2D-B60A-479F-9F95-9D423A06FAEA}" dt="2024-06-15T12:42:31.527" v="7766" actId="20577"/>
          <ac:spMkLst>
            <pc:docMk/>
            <pc:sldMk cId="4094782500" sldId="958"/>
            <ac:spMk id="181" creationId="{00000000-0000-0000-0000-000000000000}"/>
          </ac:spMkLst>
        </pc:spChg>
      </pc:sldChg>
      <pc:sldChg chg="modSp add mod">
        <pc:chgData name="Andreas Koksrud" userId="9d9beba6-c052-407a-8599-c781a677a996" providerId="ADAL" clId="{4C89AD2D-B60A-479F-9F95-9D423A06FAEA}" dt="2024-07-27T10:51:42.146" v="30371" actId="6549"/>
        <pc:sldMkLst>
          <pc:docMk/>
          <pc:sldMk cId="2483814496" sldId="959"/>
        </pc:sldMkLst>
        <pc:spChg chg="mod">
          <ac:chgData name="Andreas Koksrud" userId="9d9beba6-c052-407a-8599-c781a677a996" providerId="ADAL" clId="{4C89AD2D-B60A-479F-9F95-9D423A06FAEA}" dt="2024-06-15T12:42:46.043" v="7780" actId="20577"/>
          <ac:spMkLst>
            <pc:docMk/>
            <pc:sldMk cId="2483814496" sldId="959"/>
            <ac:spMk id="180" creationId="{00000000-0000-0000-0000-000000000000}"/>
          </ac:spMkLst>
        </pc:spChg>
        <pc:spChg chg="mod">
          <ac:chgData name="Andreas Koksrud" userId="9d9beba6-c052-407a-8599-c781a677a996" providerId="ADAL" clId="{4C89AD2D-B60A-479F-9F95-9D423A06FAEA}" dt="2024-07-27T10:51:42.146" v="30371" actId="6549"/>
          <ac:spMkLst>
            <pc:docMk/>
            <pc:sldMk cId="2483814496" sldId="959"/>
            <ac:spMk id="181" creationId="{00000000-0000-0000-0000-000000000000}"/>
          </ac:spMkLst>
        </pc:spChg>
      </pc:sldChg>
      <pc:sldChg chg="addSp modSp add mod">
        <pc:chgData name="Andreas Koksrud" userId="9d9beba6-c052-407a-8599-c781a677a996" providerId="ADAL" clId="{4C89AD2D-B60A-479F-9F95-9D423A06FAEA}" dt="2024-07-31T19:21:07.984" v="31656" actId="6549"/>
        <pc:sldMkLst>
          <pc:docMk/>
          <pc:sldMk cId="1059178978" sldId="960"/>
        </pc:sldMkLst>
        <pc:spChg chg="mod">
          <ac:chgData name="Andreas Koksrud" userId="9d9beba6-c052-407a-8599-c781a677a996" providerId="ADAL" clId="{4C89AD2D-B60A-479F-9F95-9D423A06FAEA}" dt="2024-07-16T13:46:03.061" v="24624" actId="14100"/>
          <ac:spMkLst>
            <pc:docMk/>
            <pc:sldMk cId="1059178978" sldId="960"/>
            <ac:spMk id="2" creationId="{D2218BBC-5F79-26A8-11EB-A8418B65A000}"/>
          </ac:spMkLst>
        </pc:spChg>
        <pc:spChg chg="add mod">
          <ac:chgData name="Andreas Koksrud" userId="9d9beba6-c052-407a-8599-c781a677a996" providerId="ADAL" clId="{4C89AD2D-B60A-479F-9F95-9D423A06FAEA}" dt="2024-07-31T19:21:07.984" v="31656" actId="6549"/>
          <ac:spMkLst>
            <pc:docMk/>
            <pc:sldMk cId="1059178978" sldId="960"/>
            <ac:spMk id="3" creationId="{063297C5-9880-F6FD-7DBE-410ADC3232DE}"/>
          </ac:spMkLst>
        </pc:spChg>
        <pc:spChg chg="mod">
          <ac:chgData name="Andreas Koksrud" userId="9d9beba6-c052-407a-8599-c781a677a996" providerId="ADAL" clId="{4C89AD2D-B60A-479F-9F95-9D423A06FAEA}" dt="2024-07-16T13:41:50.497" v="24171" actId="20577"/>
          <ac:spMkLst>
            <pc:docMk/>
            <pc:sldMk cId="1059178978" sldId="960"/>
            <ac:spMk id="180" creationId="{00000000-0000-0000-0000-000000000000}"/>
          </ac:spMkLst>
        </pc:spChg>
        <pc:spChg chg="mod">
          <ac:chgData name="Andreas Koksrud" userId="9d9beba6-c052-407a-8599-c781a677a996" providerId="ADAL" clId="{4C89AD2D-B60A-479F-9F95-9D423A06FAEA}" dt="2024-07-16T13:45:24.151" v="24584" actId="20577"/>
          <ac:spMkLst>
            <pc:docMk/>
            <pc:sldMk cId="1059178978" sldId="960"/>
            <ac:spMk id="181" creationId="{00000000-0000-0000-0000-000000000000}"/>
          </ac:spMkLst>
        </pc:spChg>
      </pc:sldChg>
      <pc:sldChg chg="addSp delSp modSp add mod">
        <pc:chgData name="Andreas Koksrud" userId="9d9beba6-c052-407a-8599-c781a677a996" providerId="ADAL" clId="{4C89AD2D-B60A-479F-9F95-9D423A06FAEA}" dt="2024-07-28T11:13:00.157" v="30621" actId="14100"/>
        <pc:sldMkLst>
          <pc:docMk/>
          <pc:sldMk cId="3805325624" sldId="961"/>
        </pc:sldMkLst>
        <pc:spChg chg="add del mod">
          <ac:chgData name="Andreas Koksrud" userId="9d9beba6-c052-407a-8599-c781a677a996" providerId="ADAL" clId="{4C89AD2D-B60A-479F-9F95-9D423A06FAEA}" dt="2024-07-01T18:22:42.819" v="15857" actId="478"/>
          <ac:spMkLst>
            <pc:docMk/>
            <pc:sldMk cId="3805325624" sldId="961"/>
            <ac:spMk id="2" creationId="{8D14831C-75D1-89B1-A9CF-2D4B4E628994}"/>
          </ac:spMkLst>
        </pc:spChg>
        <pc:spChg chg="add mod">
          <ac:chgData name="Andreas Koksrud" userId="9d9beba6-c052-407a-8599-c781a677a996" providerId="ADAL" clId="{4C89AD2D-B60A-479F-9F95-9D423A06FAEA}" dt="2024-07-28T11:13:00.157" v="30621" actId="14100"/>
          <ac:spMkLst>
            <pc:docMk/>
            <pc:sldMk cId="3805325624" sldId="961"/>
            <ac:spMk id="2" creationId="{9A64133E-BFC0-3C2E-97B8-45B35F02AD76}"/>
          </ac:spMkLst>
        </pc:spChg>
        <pc:spChg chg="add mod">
          <ac:chgData name="Andreas Koksrud" userId="9d9beba6-c052-407a-8599-c781a677a996" providerId="ADAL" clId="{4C89AD2D-B60A-479F-9F95-9D423A06FAEA}" dt="2024-07-25T22:24:13.238" v="30275" actId="1076"/>
          <ac:spMkLst>
            <pc:docMk/>
            <pc:sldMk cId="3805325624" sldId="961"/>
            <ac:spMk id="7" creationId="{A8B7B111-653E-4B53-BBD1-A75F603564D2}"/>
          </ac:spMkLst>
        </pc:spChg>
        <pc:spChg chg="add mod">
          <ac:chgData name="Andreas Koksrud" userId="9d9beba6-c052-407a-8599-c781a677a996" providerId="ADAL" clId="{4C89AD2D-B60A-479F-9F95-9D423A06FAEA}" dt="2024-07-25T22:24:04.034" v="30272" actId="20577"/>
          <ac:spMkLst>
            <pc:docMk/>
            <pc:sldMk cId="3805325624" sldId="961"/>
            <ac:spMk id="8" creationId="{F806712D-BD76-753F-A112-30B2E003A117}"/>
          </ac:spMkLst>
        </pc:spChg>
        <pc:spChg chg="add del mod">
          <ac:chgData name="Andreas Koksrud" userId="9d9beba6-c052-407a-8599-c781a677a996" providerId="ADAL" clId="{4C89AD2D-B60A-479F-9F95-9D423A06FAEA}" dt="2024-06-15T12:46:24.820" v="7953" actId="478"/>
          <ac:spMkLst>
            <pc:docMk/>
            <pc:sldMk cId="3805325624" sldId="961"/>
            <ac:spMk id="9" creationId="{59D9CBF0-BD00-CD63-8BC8-59B36D101FF4}"/>
          </ac:spMkLst>
        </pc:spChg>
        <pc:spChg chg="add mod">
          <ac:chgData name="Andreas Koksrud" userId="9d9beba6-c052-407a-8599-c781a677a996" providerId="ADAL" clId="{4C89AD2D-B60A-479F-9F95-9D423A06FAEA}" dt="2024-07-28T11:12:41.114" v="30618" actId="1037"/>
          <ac:spMkLst>
            <pc:docMk/>
            <pc:sldMk cId="3805325624" sldId="961"/>
            <ac:spMk id="9" creationId="{F386E354-D797-30F3-B881-935184B27FB1}"/>
          </ac:spMkLst>
        </pc:spChg>
        <pc:spChg chg="add mod">
          <ac:chgData name="Andreas Koksrud" userId="9d9beba6-c052-407a-8599-c781a677a996" providerId="ADAL" clId="{4C89AD2D-B60A-479F-9F95-9D423A06FAEA}" dt="2024-07-26T11:21:56.177" v="30319" actId="14100"/>
          <ac:spMkLst>
            <pc:docMk/>
            <pc:sldMk cId="3805325624" sldId="961"/>
            <ac:spMk id="10" creationId="{449916E7-DD9D-ECEF-6588-FBFD982FA007}"/>
          </ac:spMkLst>
        </pc:spChg>
        <pc:spChg chg="del mod">
          <ac:chgData name="Andreas Koksrud" userId="9d9beba6-c052-407a-8599-c781a677a996" providerId="ADAL" clId="{4C89AD2D-B60A-479F-9F95-9D423A06FAEA}" dt="2024-06-15T12:46:23.422" v="7952" actId="478"/>
          <ac:spMkLst>
            <pc:docMk/>
            <pc:sldMk cId="3805325624" sldId="961"/>
            <ac:spMk id="180" creationId="{00000000-0000-0000-0000-000000000000}"/>
          </ac:spMkLst>
        </pc:spChg>
        <pc:spChg chg="del mod">
          <ac:chgData name="Andreas Koksrud" userId="9d9beba6-c052-407a-8599-c781a677a996" providerId="ADAL" clId="{4C89AD2D-B60A-479F-9F95-9D423A06FAEA}" dt="2024-06-15T12:45:21.444" v="7944" actId="478"/>
          <ac:spMkLst>
            <pc:docMk/>
            <pc:sldMk cId="3805325624" sldId="961"/>
            <ac:spMk id="181" creationId="{00000000-0000-0000-0000-000000000000}"/>
          </ac:spMkLst>
        </pc:spChg>
        <pc:picChg chg="add del mod">
          <ac:chgData name="Andreas Koksrud" userId="9d9beba6-c052-407a-8599-c781a677a996" providerId="ADAL" clId="{4C89AD2D-B60A-479F-9F95-9D423A06FAEA}" dt="2024-06-17T11:36:20.209" v="10878" actId="478"/>
          <ac:picMkLst>
            <pc:docMk/>
            <pc:sldMk cId="3805325624" sldId="961"/>
            <ac:picMk id="3" creationId="{17FEA64C-252A-BD47-0023-84D6B2F572FB}"/>
          </ac:picMkLst>
        </pc:picChg>
        <pc:picChg chg="add mod modCrop">
          <ac:chgData name="Andreas Koksrud" userId="9d9beba6-c052-407a-8599-c781a677a996" providerId="ADAL" clId="{4C89AD2D-B60A-479F-9F95-9D423A06FAEA}" dt="2024-07-26T11:21:53.680" v="30318" actId="1076"/>
          <ac:picMkLst>
            <pc:docMk/>
            <pc:sldMk cId="3805325624" sldId="961"/>
            <ac:picMk id="3" creationId="{7294C548-54FB-1EB5-6AE5-F4FEE0514EE4}"/>
          </ac:picMkLst>
        </pc:picChg>
        <pc:picChg chg="add mod">
          <ac:chgData name="Andreas Koksrud" userId="9d9beba6-c052-407a-8599-c781a677a996" providerId="ADAL" clId="{4C89AD2D-B60A-479F-9F95-9D423A06FAEA}" dt="2024-07-26T11:21:41.699" v="30315" actId="1076"/>
          <ac:picMkLst>
            <pc:docMk/>
            <pc:sldMk cId="3805325624" sldId="961"/>
            <ac:picMk id="6" creationId="{DB6A23B5-33C1-32FC-9D78-89EC9BDAB4D4}"/>
          </ac:picMkLst>
        </pc:picChg>
        <pc:picChg chg="add del mod">
          <ac:chgData name="Andreas Koksrud" userId="9d9beba6-c052-407a-8599-c781a677a996" providerId="ADAL" clId="{4C89AD2D-B60A-479F-9F95-9D423A06FAEA}" dt="2024-06-17T11:36:20.865" v="10879" actId="478"/>
          <ac:picMkLst>
            <pc:docMk/>
            <pc:sldMk cId="3805325624" sldId="961"/>
            <ac:picMk id="7" creationId="{B6756254-E3C5-85CB-BBCB-A31B5CC2D617}"/>
          </ac:picMkLst>
        </pc:picChg>
        <pc:picChg chg="add del mod">
          <ac:chgData name="Andreas Koksrud" userId="9d9beba6-c052-407a-8599-c781a677a996" providerId="ADAL" clId="{4C89AD2D-B60A-479F-9F95-9D423A06FAEA}" dt="2024-07-01T18:24:50.729" v="15862" actId="478"/>
          <ac:picMkLst>
            <pc:docMk/>
            <pc:sldMk cId="3805325624" sldId="961"/>
            <ac:picMk id="9" creationId="{A243345F-FA4F-9837-9E4F-407061CB6E78}"/>
          </ac:picMkLst>
        </pc:picChg>
        <pc:picChg chg="add mod modCrop">
          <ac:chgData name="Andreas Koksrud" userId="9d9beba6-c052-407a-8599-c781a677a996" providerId="ADAL" clId="{4C89AD2D-B60A-479F-9F95-9D423A06FAEA}" dt="2024-07-28T11:12:36.583" v="30615" actId="14826"/>
          <ac:picMkLst>
            <pc:docMk/>
            <pc:sldMk cId="3805325624" sldId="961"/>
            <ac:picMk id="11" creationId="{7788CF72-20F5-BC83-82EA-CE4A2EA5CC1F}"/>
          </ac:picMkLst>
        </pc:picChg>
      </pc:sldChg>
      <pc:sldChg chg="addSp delSp modSp add mod">
        <pc:chgData name="Andreas Koksrud" userId="9d9beba6-c052-407a-8599-c781a677a996" providerId="ADAL" clId="{4C89AD2D-B60A-479F-9F95-9D423A06FAEA}" dt="2024-07-29T08:32:37.307" v="31262" actId="14100"/>
        <pc:sldMkLst>
          <pc:docMk/>
          <pc:sldMk cId="3646121032" sldId="962"/>
        </pc:sldMkLst>
        <pc:spChg chg="add mod">
          <ac:chgData name="Andreas Koksrud" userId="9d9beba6-c052-407a-8599-c781a677a996" providerId="ADAL" clId="{4C89AD2D-B60A-479F-9F95-9D423A06FAEA}" dt="2024-07-28T11:15:44.918" v="30637" actId="14100"/>
          <ac:spMkLst>
            <pc:docMk/>
            <pc:sldMk cId="3646121032" sldId="962"/>
            <ac:spMk id="2" creationId="{7FFEBBB5-F2CA-22B2-3A05-0C0158B06738}"/>
          </ac:spMkLst>
        </pc:spChg>
        <pc:spChg chg="add del mod">
          <ac:chgData name="Andreas Koksrud" userId="9d9beba6-c052-407a-8599-c781a677a996" providerId="ADAL" clId="{4C89AD2D-B60A-479F-9F95-9D423A06FAEA}" dt="2024-07-26T19:29:37.576" v="30342" actId="478"/>
          <ac:spMkLst>
            <pc:docMk/>
            <pc:sldMk cId="3646121032" sldId="962"/>
            <ac:spMk id="7" creationId="{76002B7D-C91E-23BA-0D8D-05E4F9A06FB4}"/>
          </ac:spMkLst>
        </pc:spChg>
        <pc:spChg chg="add mod">
          <ac:chgData name="Andreas Koksrud" userId="9d9beba6-c052-407a-8599-c781a677a996" providerId="ADAL" clId="{4C89AD2D-B60A-479F-9F95-9D423A06FAEA}" dt="2024-07-28T11:15:38.290" v="30635" actId="1036"/>
          <ac:spMkLst>
            <pc:docMk/>
            <pc:sldMk cId="3646121032" sldId="962"/>
            <ac:spMk id="10" creationId="{D891B3C5-BFE6-DABA-4CAF-89294DD5DBF7}"/>
          </ac:spMkLst>
        </pc:spChg>
        <pc:spChg chg="add mod">
          <ac:chgData name="Andreas Koksrud" userId="9d9beba6-c052-407a-8599-c781a677a996" providerId="ADAL" clId="{4C89AD2D-B60A-479F-9F95-9D423A06FAEA}" dt="2024-07-29T08:32:37.307" v="31262" actId="14100"/>
          <ac:spMkLst>
            <pc:docMk/>
            <pc:sldMk cId="3646121032" sldId="962"/>
            <ac:spMk id="11" creationId="{FE117581-C506-B448-2897-31ED75AF39A3}"/>
          </ac:spMkLst>
        </pc:spChg>
        <pc:spChg chg="add mod">
          <ac:chgData name="Andreas Koksrud" userId="9d9beba6-c052-407a-8599-c781a677a996" providerId="ADAL" clId="{4C89AD2D-B60A-479F-9F95-9D423A06FAEA}" dt="2024-07-27T10:59:24.868" v="30389"/>
          <ac:spMkLst>
            <pc:docMk/>
            <pc:sldMk cId="3646121032" sldId="962"/>
            <ac:spMk id="12" creationId="{EA234594-0152-27D2-AE80-D30C7EE91562}"/>
          </ac:spMkLst>
        </pc:spChg>
        <pc:spChg chg="add del mod">
          <ac:chgData name="Andreas Koksrud" userId="9d9beba6-c052-407a-8599-c781a677a996" providerId="ADAL" clId="{4C89AD2D-B60A-479F-9F95-9D423A06FAEA}" dt="2024-07-28T11:15:53.044" v="30638" actId="478"/>
          <ac:spMkLst>
            <pc:docMk/>
            <pc:sldMk cId="3646121032" sldId="962"/>
            <ac:spMk id="13" creationId="{9BB4CDF9-D485-1E40-0546-EB7315ADD745}"/>
          </ac:spMkLst>
        </pc:spChg>
        <pc:picChg chg="add del mod">
          <ac:chgData name="Andreas Koksrud" userId="9d9beba6-c052-407a-8599-c781a677a996" providerId="ADAL" clId="{4C89AD2D-B60A-479F-9F95-9D423A06FAEA}" dt="2024-07-26T11:23:13.702" v="30328" actId="478"/>
          <ac:picMkLst>
            <pc:docMk/>
            <pc:sldMk cId="3646121032" sldId="962"/>
            <ac:picMk id="3" creationId="{0B851662-25E7-2A56-D90F-0B43A8E01BCB}"/>
          </ac:picMkLst>
        </pc:picChg>
        <pc:picChg chg="del">
          <ac:chgData name="Andreas Koksrud" userId="9d9beba6-c052-407a-8599-c781a677a996" providerId="ADAL" clId="{4C89AD2D-B60A-479F-9F95-9D423A06FAEA}" dt="2024-06-15T12:46:39.514" v="7955" actId="478"/>
          <ac:picMkLst>
            <pc:docMk/>
            <pc:sldMk cId="3646121032" sldId="962"/>
            <ac:picMk id="3" creationId="{17FEA64C-252A-BD47-0023-84D6B2F572FB}"/>
          </ac:picMkLst>
        </pc:picChg>
        <pc:picChg chg="add mod ord">
          <ac:chgData name="Andreas Koksrud" userId="9d9beba6-c052-407a-8599-c781a677a996" providerId="ADAL" clId="{4C89AD2D-B60A-479F-9F95-9D423A06FAEA}" dt="2024-07-29T08:32:30.910" v="31260" actId="167"/>
          <ac:picMkLst>
            <pc:docMk/>
            <pc:sldMk cId="3646121032" sldId="962"/>
            <ac:picMk id="6" creationId="{326FC5A4-7235-C73B-1B82-41CB7A993CC2}"/>
          </ac:picMkLst>
        </pc:picChg>
        <pc:picChg chg="add del mod">
          <ac:chgData name="Andreas Koksrud" userId="9d9beba6-c052-407a-8599-c781a677a996" providerId="ADAL" clId="{4C89AD2D-B60A-479F-9F95-9D423A06FAEA}" dt="2024-07-26T11:23:15.984" v="30329" actId="478"/>
          <ac:picMkLst>
            <pc:docMk/>
            <pc:sldMk cId="3646121032" sldId="962"/>
            <ac:picMk id="6" creationId="{C091B1B9-EB67-EFE2-A135-B14C09FF99DD}"/>
          </ac:picMkLst>
        </pc:picChg>
        <pc:picChg chg="del">
          <ac:chgData name="Andreas Koksrud" userId="9d9beba6-c052-407a-8599-c781a677a996" providerId="ADAL" clId="{4C89AD2D-B60A-479F-9F95-9D423A06FAEA}" dt="2024-06-15T12:46:40.065" v="7956" actId="478"/>
          <ac:picMkLst>
            <pc:docMk/>
            <pc:sldMk cId="3646121032" sldId="962"/>
            <ac:picMk id="7" creationId="{B6756254-E3C5-85CB-BBCB-A31B5CC2D617}"/>
          </ac:picMkLst>
        </pc:picChg>
        <pc:picChg chg="add mod ord">
          <ac:chgData name="Andreas Koksrud" userId="9d9beba6-c052-407a-8599-c781a677a996" providerId="ADAL" clId="{4C89AD2D-B60A-479F-9F95-9D423A06FAEA}" dt="2024-07-28T11:15:33.816" v="30627" actId="167"/>
          <ac:picMkLst>
            <pc:docMk/>
            <pc:sldMk cId="3646121032" sldId="962"/>
            <ac:picMk id="8" creationId="{C2EA39C4-4A27-6DF2-E8EE-74CD34F2F71C}"/>
          </ac:picMkLst>
        </pc:picChg>
        <pc:picChg chg="add del mod">
          <ac:chgData name="Andreas Koksrud" userId="9d9beba6-c052-407a-8599-c781a677a996" providerId="ADAL" clId="{4C89AD2D-B60A-479F-9F95-9D423A06FAEA}" dt="2024-07-29T08:32:23.983" v="31257" actId="478"/>
          <ac:picMkLst>
            <pc:docMk/>
            <pc:sldMk cId="3646121032" sldId="962"/>
            <ac:picMk id="9" creationId="{5FE47D63-2765-2C0C-65D0-6D887825D43B}"/>
          </ac:picMkLst>
        </pc:picChg>
      </pc:sldChg>
      <pc:sldChg chg="addSp delSp modSp add mod">
        <pc:chgData name="Andreas Koksrud" userId="9d9beba6-c052-407a-8599-c781a677a996" providerId="ADAL" clId="{4C89AD2D-B60A-479F-9F95-9D423A06FAEA}" dt="2024-07-27T11:00:37.227" v="30420" actId="1076"/>
        <pc:sldMkLst>
          <pc:docMk/>
          <pc:sldMk cId="2529490906" sldId="963"/>
        </pc:sldMkLst>
        <pc:spChg chg="add mod">
          <ac:chgData name="Andreas Koksrud" userId="9d9beba6-c052-407a-8599-c781a677a996" providerId="ADAL" clId="{4C89AD2D-B60A-479F-9F95-9D423A06FAEA}" dt="2024-07-27T11:00:37.227" v="30420" actId="1076"/>
          <ac:spMkLst>
            <pc:docMk/>
            <pc:sldMk cId="2529490906" sldId="963"/>
            <ac:spMk id="2" creationId="{FFA76594-4E07-72CA-3551-3794F7BC1C63}"/>
          </ac:spMkLst>
        </pc:spChg>
        <pc:spChg chg="add mod">
          <ac:chgData name="Andreas Koksrud" userId="9d9beba6-c052-407a-8599-c781a677a996" providerId="ADAL" clId="{4C89AD2D-B60A-479F-9F95-9D423A06FAEA}" dt="2024-07-27T10:59:52.243" v="30394"/>
          <ac:spMkLst>
            <pc:docMk/>
            <pc:sldMk cId="2529490906" sldId="963"/>
            <ac:spMk id="6" creationId="{4848947F-8901-D8DF-CBBB-E1B0A4F1ED40}"/>
          </ac:spMkLst>
        </pc:spChg>
        <pc:picChg chg="add mod">
          <ac:chgData name="Andreas Koksrud" userId="9d9beba6-c052-407a-8599-c781a677a996" providerId="ADAL" clId="{4C89AD2D-B60A-479F-9F95-9D423A06FAEA}" dt="2024-07-27T11:00:37.227" v="30420" actId="1076"/>
          <ac:picMkLst>
            <pc:docMk/>
            <pc:sldMk cId="2529490906" sldId="963"/>
            <ac:picMk id="3" creationId="{E00D6391-184B-5DBB-4FC8-640302E1EA79}"/>
          </ac:picMkLst>
        </pc:picChg>
        <pc:picChg chg="del">
          <ac:chgData name="Andreas Koksrud" userId="9d9beba6-c052-407a-8599-c781a677a996" providerId="ADAL" clId="{4C89AD2D-B60A-479F-9F95-9D423A06FAEA}" dt="2024-06-15T12:47:24.637" v="7962" actId="478"/>
          <ac:picMkLst>
            <pc:docMk/>
            <pc:sldMk cId="2529490906" sldId="963"/>
            <ac:picMk id="6" creationId="{C091B1B9-EB67-EFE2-A135-B14C09FF99DD}"/>
          </ac:picMkLst>
        </pc:picChg>
        <pc:picChg chg="add mod">
          <ac:chgData name="Andreas Koksrud" userId="9d9beba6-c052-407a-8599-c781a677a996" providerId="ADAL" clId="{4C89AD2D-B60A-479F-9F95-9D423A06FAEA}" dt="2024-07-27T11:00:30.668" v="30419" actId="12788"/>
          <ac:picMkLst>
            <pc:docMk/>
            <pc:sldMk cId="2529490906" sldId="963"/>
            <ac:picMk id="8" creationId="{E9A4313E-C033-932B-328E-556A1DA48D40}"/>
          </ac:picMkLst>
        </pc:picChg>
        <pc:picChg chg="del">
          <ac:chgData name="Andreas Koksrud" userId="9d9beba6-c052-407a-8599-c781a677a996" providerId="ADAL" clId="{4C89AD2D-B60A-479F-9F95-9D423A06FAEA}" dt="2024-06-15T12:47:25.247" v="7963" actId="478"/>
          <ac:picMkLst>
            <pc:docMk/>
            <pc:sldMk cId="2529490906" sldId="963"/>
            <ac:picMk id="9" creationId="{5FE47D63-2765-2C0C-65D0-6D887825D43B}"/>
          </ac:picMkLst>
        </pc:picChg>
      </pc:sldChg>
      <pc:sldChg chg="addSp delSp modSp add mod">
        <pc:chgData name="Andreas Koksrud" userId="9d9beba6-c052-407a-8599-c781a677a996" providerId="ADAL" clId="{4C89AD2D-B60A-479F-9F95-9D423A06FAEA}" dt="2024-07-27T11:24:55.206" v="30491"/>
        <pc:sldMkLst>
          <pc:docMk/>
          <pc:sldMk cId="1707712711" sldId="964"/>
        </pc:sldMkLst>
        <pc:spChg chg="add mod">
          <ac:chgData name="Andreas Koksrud" userId="9d9beba6-c052-407a-8599-c781a677a996" providerId="ADAL" clId="{4C89AD2D-B60A-479F-9F95-9D423A06FAEA}" dt="2024-06-17T11:37:46.345" v="10983"/>
          <ac:spMkLst>
            <pc:docMk/>
            <pc:sldMk cId="1707712711" sldId="964"/>
            <ac:spMk id="2" creationId="{5ED842A1-28CA-1457-F546-76D53F658AB1}"/>
          </ac:spMkLst>
        </pc:spChg>
        <pc:spChg chg="add mod">
          <ac:chgData name="Andreas Koksrud" userId="9d9beba6-c052-407a-8599-c781a677a996" providerId="ADAL" clId="{4C89AD2D-B60A-479F-9F95-9D423A06FAEA}" dt="2024-07-26T19:31:41.079" v="30352" actId="14100"/>
          <ac:spMkLst>
            <pc:docMk/>
            <pc:sldMk cId="1707712711" sldId="964"/>
            <ac:spMk id="8" creationId="{B03C8EE1-469F-D8E7-729D-80671FFD6AB9}"/>
          </ac:spMkLst>
        </pc:spChg>
        <pc:spChg chg="add mod">
          <ac:chgData name="Andreas Koksrud" userId="9d9beba6-c052-407a-8599-c781a677a996" providerId="ADAL" clId="{4C89AD2D-B60A-479F-9F95-9D423A06FAEA}" dt="2024-07-27T10:52:45.410" v="30373" actId="14100"/>
          <ac:spMkLst>
            <pc:docMk/>
            <pc:sldMk cId="1707712711" sldId="964"/>
            <ac:spMk id="10" creationId="{465C960E-B05B-DFE9-2174-4B75B3922834}"/>
          </ac:spMkLst>
        </pc:spChg>
        <pc:spChg chg="add mod">
          <ac:chgData name="Andreas Koksrud" userId="9d9beba6-c052-407a-8599-c781a677a996" providerId="ADAL" clId="{4C89AD2D-B60A-479F-9F95-9D423A06FAEA}" dt="2024-07-27T10:55:28.002" v="30375" actId="1076"/>
          <ac:spMkLst>
            <pc:docMk/>
            <pc:sldMk cId="1707712711" sldId="964"/>
            <ac:spMk id="11" creationId="{AD7709AB-603A-0638-066E-1B8BF75AFC6E}"/>
          </ac:spMkLst>
        </pc:spChg>
        <pc:spChg chg="add mod">
          <ac:chgData name="Andreas Koksrud" userId="9d9beba6-c052-407a-8599-c781a677a996" providerId="ADAL" clId="{4C89AD2D-B60A-479F-9F95-9D423A06FAEA}" dt="2024-07-27T11:24:55.206" v="30491"/>
          <ac:spMkLst>
            <pc:docMk/>
            <pc:sldMk cId="1707712711" sldId="964"/>
            <ac:spMk id="12" creationId="{53C8D2C6-988E-FFD4-365B-3C3C2927AF2D}"/>
          </ac:spMkLst>
        </pc:spChg>
        <pc:picChg chg="del">
          <ac:chgData name="Andreas Koksrud" userId="9d9beba6-c052-407a-8599-c781a677a996" providerId="ADAL" clId="{4C89AD2D-B60A-479F-9F95-9D423A06FAEA}" dt="2024-06-15T12:48:05.093" v="7970" actId="478"/>
          <ac:picMkLst>
            <pc:docMk/>
            <pc:sldMk cId="1707712711" sldId="964"/>
            <ac:picMk id="3" creationId="{E00D6391-184B-5DBB-4FC8-640302E1EA79}"/>
          </ac:picMkLst>
        </pc:picChg>
        <pc:picChg chg="add mod">
          <ac:chgData name="Andreas Koksrud" userId="9d9beba6-c052-407a-8599-c781a677a996" providerId="ADAL" clId="{4C89AD2D-B60A-479F-9F95-9D423A06FAEA}" dt="2024-07-26T19:31:33.828" v="30350" actId="1076"/>
          <ac:picMkLst>
            <pc:docMk/>
            <pc:sldMk cId="1707712711" sldId="964"/>
            <ac:picMk id="6" creationId="{FCB7E24D-8A93-D00E-7EEE-DA98DABA9D68}"/>
          </ac:picMkLst>
        </pc:picChg>
        <pc:picChg chg="del">
          <ac:chgData name="Andreas Koksrud" userId="9d9beba6-c052-407a-8599-c781a677a996" providerId="ADAL" clId="{4C89AD2D-B60A-479F-9F95-9D423A06FAEA}" dt="2024-06-15T12:48:05.672" v="7971" actId="478"/>
          <ac:picMkLst>
            <pc:docMk/>
            <pc:sldMk cId="1707712711" sldId="964"/>
            <ac:picMk id="8" creationId="{E9A4313E-C033-932B-328E-556A1DA48D40}"/>
          </ac:picMkLst>
        </pc:picChg>
        <pc:picChg chg="add mod">
          <ac:chgData name="Andreas Koksrud" userId="9d9beba6-c052-407a-8599-c781a677a996" providerId="ADAL" clId="{4C89AD2D-B60A-479F-9F95-9D423A06FAEA}" dt="2024-06-15T12:48:30.025" v="7975" actId="1076"/>
          <ac:picMkLst>
            <pc:docMk/>
            <pc:sldMk cId="1707712711" sldId="964"/>
            <ac:picMk id="9" creationId="{34D0E976-98EB-38FD-5CD1-E5FC3D1F0575}"/>
          </ac:picMkLst>
        </pc:picChg>
        <pc:cxnChg chg="add mod">
          <ac:chgData name="Andreas Koksrud" userId="9d9beba6-c052-407a-8599-c781a677a996" providerId="ADAL" clId="{4C89AD2D-B60A-479F-9F95-9D423A06FAEA}" dt="2024-06-17T11:38:11.896" v="10988" actId="14100"/>
          <ac:cxnSpMkLst>
            <pc:docMk/>
            <pc:sldMk cId="1707712711" sldId="964"/>
            <ac:cxnSpMk id="3" creationId="{FB9D83D5-DE56-1945-E905-F8CD2FF78126}"/>
          </ac:cxnSpMkLst>
        </pc:cxnChg>
        <pc:cxnChg chg="add mod">
          <ac:chgData name="Andreas Koksrud" userId="9d9beba6-c052-407a-8599-c781a677a996" providerId="ADAL" clId="{4C89AD2D-B60A-479F-9F95-9D423A06FAEA}" dt="2024-06-17T11:38:08.037" v="10987" actId="14100"/>
          <ac:cxnSpMkLst>
            <pc:docMk/>
            <pc:sldMk cId="1707712711" sldId="964"/>
            <ac:cxnSpMk id="7" creationId="{9DC1183C-1F1A-601A-CB07-961FBCEDD582}"/>
          </ac:cxnSpMkLst>
        </pc:cxnChg>
      </pc:sldChg>
      <pc:sldChg chg="addSp delSp modSp add mod">
        <pc:chgData name="Andreas Koksrud" userId="9d9beba6-c052-407a-8599-c781a677a996" providerId="ADAL" clId="{4C89AD2D-B60A-479F-9F95-9D423A06FAEA}" dt="2024-07-27T11:24:57.417" v="30493"/>
        <pc:sldMkLst>
          <pc:docMk/>
          <pc:sldMk cId="24496870" sldId="965"/>
        </pc:sldMkLst>
        <pc:spChg chg="add mod">
          <ac:chgData name="Andreas Koksrud" userId="9d9beba6-c052-407a-8599-c781a677a996" providerId="ADAL" clId="{4C89AD2D-B60A-479F-9F95-9D423A06FAEA}" dt="2024-07-27T11:24:22.397" v="30488" actId="14100"/>
          <ac:spMkLst>
            <pc:docMk/>
            <pc:sldMk cId="24496870" sldId="965"/>
            <ac:spMk id="2" creationId="{05753520-ACCD-498B-D8E5-0CE7F22A6270}"/>
          </ac:spMkLst>
        </pc:spChg>
        <pc:spChg chg="add mod">
          <ac:chgData name="Andreas Koksrud" userId="9d9beba6-c052-407a-8599-c781a677a996" providerId="ADAL" clId="{4C89AD2D-B60A-479F-9F95-9D423A06FAEA}" dt="2024-07-27T11:24:29.499" v="30490" actId="14100"/>
          <ac:spMkLst>
            <pc:docMk/>
            <pc:sldMk cId="24496870" sldId="965"/>
            <ac:spMk id="6" creationId="{CD55D0FD-CB7E-B5DC-D323-EC7F34696F2C}"/>
          </ac:spMkLst>
        </pc:spChg>
        <pc:spChg chg="add mod">
          <ac:chgData name="Andreas Koksrud" userId="9d9beba6-c052-407a-8599-c781a677a996" providerId="ADAL" clId="{4C89AD2D-B60A-479F-9F95-9D423A06FAEA}" dt="2024-07-27T11:24:57.417" v="30493"/>
          <ac:spMkLst>
            <pc:docMk/>
            <pc:sldMk cId="24496870" sldId="965"/>
            <ac:spMk id="7" creationId="{B946366C-436D-0D6B-6FF3-804AFEF25D3C}"/>
          </ac:spMkLst>
        </pc:spChg>
        <pc:picChg chg="add mod">
          <ac:chgData name="Andreas Koksrud" userId="9d9beba6-c052-407a-8599-c781a677a996" providerId="ADAL" clId="{4C89AD2D-B60A-479F-9F95-9D423A06FAEA}" dt="2024-06-15T12:48:52.938" v="7980" actId="1076"/>
          <ac:picMkLst>
            <pc:docMk/>
            <pc:sldMk cId="24496870" sldId="965"/>
            <ac:picMk id="3" creationId="{121F7C4F-7BB0-87DF-98AB-1FF1908CA98F}"/>
          </ac:picMkLst>
        </pc:picChg>
        <pc:picChg chg="del">
          <ac:chgData name="Andreas Koksrud" userId="9d9beba6-c052-407a-8599-c781a677a996" providerId="ADAL" clId="{4C89AD2D-B60A-479F-9F95-9D423A06FAEA}" dt="2024-06-15T12:48:35.969" v="7977" actId="478"/>
          <ac:picMkLst>
            <pc:docMk/>
            <pc:sldMk cId="24496870" sldId="965"/>
            <ac:picMk id="6" creationId="{FCB7E24D-8A93-D00E-7EEE-DA98DABA9D68}"/>
          </ac:picMkLst>
        </pc:picChg>
        <pc:picChg chg="add mod">
          <ac:chgData name="Andreas Koksrud" userId="9d9beba6-c052-407a-8599-c781a677a996" providerId="ADAL" clId="{4C89AD2D-B60A-479F-9F95-9D423A06FAEA}" dt="2024-07-27T11:24:17.098" v="30486" actId="1076"/>
          <ac:picMkLst>
            <pc:docMk/>
            <pc:sldMk cId="24496870" sldId="965"/>
            <ac:picMk id="8" creationId="{14ED94B3-9926-53DA-4258-951F426A653A}"/>
          </ac:picMkLst>
        </pc:picChg>
        <pc:picChg chg="del">
          <ac:chgData name="Andreas Koksrud" userId="9d9beba6-c052-407a-8599-c781a677a996" providerId="ADAL" clId="{4C89AD2D-B60A-479F-9F95-9D423A06FAEA}" dt="2024-06-15T12:48:36.594" v="7978" actId="478"/>
          <ac:picMkLst>
            <pc:docMk/>
            <pc:sldMk cId="24496870" sldId="965"/>
            <ac:picMk id="9" creationId="{34D0E976-98EB-38FD-5CD1-E5FC3D1F0575}"/>
          </ac:picMkLst>
        </pc:picChg>
      </pc:sldChg>
      <pc:sldChg chg="addSp delSp modSp add mod">
        <pc:chgData name="Andreas Koksrud" userId="9d9beba6-c052-407a-8599-c781a677a996" providerId="ADAL" clId="{4C89AD2D-B60A-479F-9F95-9D423A06FAEA}" dt="2024-07-31T19:17:13.506" v="31652"/>
        <pc:sldMkLst>
          <pc:docMk/>
          <pc:sldMk cId="2495026824" sldId="966"/>
        </pc:sldMkLst>
        <pc:spChg chg="add mod">
          <ac:chgData name="Andreas Koksrud" userId="9d9beba6-c052-407a-8599-c781a677a996" providerId="ADAL" clId="{4C89AD2D-B60A-479F-9F95-9D423A06FAEA}" dt="2024-07-30T19:27:40.215" v="31650" actId="27636"/>
          <ac:spMkLst>
            <pc:docMk/>
            <pc:sldMk cId="2495026824" sldId="966"/>
            <ac:spMk id="2" creationId="{56CBBD6A-956B-BEA7-6225-FA64D93E5644}"/>
          </ac:spMkLst>
        </pc:spChg>
        <pc:spChg chg="add mod">
          <ac:chgData name="Andreas Koksrud" userId="9d9beba6-c052-407a-8599-c781a677a996" providerId="ADAL" clId="{4C89AD2D-B60A-479F-9F95-9D423A06FAEA}" dt="2024-07-31T19:17:13.506" v="31652"/>
          <ac:spMkLst>
            <pc:docMk/>
            <pc:sldMk cId="2495026824" sldId="966"/>
            <ac:spMk id="3" creationId="{06CD824E-9413-7DC7-ED5E-8441587B9B63}"/>
          </ac:spMkLst>
        </pc:spChg>
        <pc:spChg chg="add mod">
          <ac:chgData name="Andreas Koksrud" userId="9d9beba6-c052-407a-8599-c781a677a996" providerId="ADAL" clId="{4C89AD2D-B60A-479F-9F95-9D423A06FAEA}" dt="2024-06-15T15:49:28.302" v="9346" actId="20577"/>
          <ac:spMkLst>
            <pc:docMk/>
            <pc:sldMk cId="2495026824" sldId="966"/>
            <ac:spMk id="6" creationId="{76DF55EF-4958-0709-B60A-BCEC6F2DED0B}"/>
          </ac:spMkLst>
        </pc:spChg>
        <pc:picChg chg="del">
          <ac:chgData name="Andreas Koksrud" userId="9d9beba6-c052-407a-8599-c781a677a996" providerId="ADAL" clId="{4C89AD2D-B60A-479F-9F95-9D423A06FAEA}" dt="2024-06-15T12:54:30.487" v="7984" actId="478"/>
          <ac:picMkLst>
            <pc:docMk/>
            <pc:sldMk cId="2495026824" sldId="966"/>
            <ac:picMk id="3" creationId="{121F7C4F-7BB0-87DF-98AB-1FF1908CA98F}"/>
          </ac:picMkLst>
        </pc:picChg>
        <pc:picChg chg="del">
          <ac:chgData name="Andreas Koksrud" userId="9d9beba6-c052-407a-8599-c781a677a996" providerId="ADAL" clId="{4C89AD2D-B60A-479F-9F95-9D423A06FAEA}" dt="2024-06-15T12:54:31.074" v="7985" actId="478"/>
          <ac:picMkLst>
            <pc:docMk/>
            <pc:sldMk cId="2495026824" sldId="966"/>
            <ac:picMk id="8" creationId="{14ED94B3-9926-53DA-4258-951F426A653A}"/>
          </ac:picMkLst>
        </pc:picChg>
        <pc:picChg chg="add mod modCrop">
          <ac:chgData name="Andreas Koksrud" userId="9d9beba6-c052-407a-8599-c781a677a996" providerId="ADAL" clId="{4C89AD2D-B60A-479F-9F95-9D423A06FAEA}" dt="2024-06-16T14:13:12.679" v="10266" actId="1036"/>
          <ac:picMkLst>
            <pc:docMk/>
            <pc:sldMk cId="2495026824" sldId="966"/>
            <ac:picMk id="11" creationId="{DFE9FAC9-F721-4AFE-94F0-8CEEAB5D3F44}"/>
          </ac:picMkLst>
        </pc:picChg>
        <pc:cxnChg chg="add mod">
          <ac:chgData name="Andreas Koksrud" userId="9d9beba6-c052-407a-8599-c781a677a996" providerId="ADAL" clId="{4C89AD2D-B60A-479F-9F95-9D423A06FAEA}" dt="2024-06-16T14:13:18.528" v="10267" actId="14100"/>
          <ac:cxnSpMkLst>
            <pc:docMk/>
            <pc:sldMk cId="2495026824" sldId="966"/>
            <ac:cxnSpMk id="7" creationId="{FB9A6071-9560-9020-2633-8A834369006B}"/>
          </ac:cxnSpMkLst>
        </pc:cxnChg>
      </pc:sldChg>
      <pc:sldChg chg="addSp delSp modSp add mod ord">
        <pc:chgData name="Andreas Koksrud" userId="9d9beba6-c052-407a-8599-c781a677a996" providerId="ADAL" clId="{4C89AD2D-B60A-479F-9F95-9D423A06FAEA}" dt="2024-07-29T08:37:10.579" v="31266" actId="1076"/>
        <pc:sldMkLst>
          <pc:docMk/>
          <pc:sldMk cId="3285689553" sldId="967"/>
        </pc:sldMkLst>
        <pc:spChg chg="del">
          <ac:chgData name="Andreas Koksrud" userId="9d9beba6-c052-407a-8599-c781a677a996" providerId="ADAL" clId="{4C89AD2D-B60A-479F-9F95-9D423A06FAEA}" dt="2024-06-15T15:42:11.009" v="9021" actId="478"/>
          <ac:spMkLst>
            <pc:docMk/>
            <pc:sldMk cId="3285689553" sldId="967"/>
            <ac:spMk id="2" creationId="{56CBBD6A-956B-BEA7-6225-FA64D93E5644}"/>
          </ac:spMkLst>
        </pc:spChg>
        <pc:spChg chg="add del mod">
          <ac:chgData name="Andreas Koksrud" userId="9d9beba6-c052-407a-8599-c781a677a996" providerId="ADAL" clId="{4C89AD2D-B60A-479F-9F95-9D423A06FAEA}" dt="2024-06-15T15:42:12.671" v="9022" actId="478"/>
          <ac:spMkLst>
            <pc:docMk/>
            <pc:sldMk cId="3285689553" sldId="967"/>
            <ac:spMk id="6" creationId="{98E46DFA-32A6-9FFE-9B7D-BE3513ACD029}"/>
          </ac:spMkLst>
        </pc:spChg>
        <pc:spChg chg="add mod">
          <ac:chgData name="Andreas Koksrud" userId="9d9beba6-c052-407a-8599-c781a677a996" providerId="ADAL" clId="{4C89AD2D-B60A-479F-9F95-9D423A06FAEA}" dt="2024-07-27T11:25:04.759" v="30500" actId="20577"/>
          <ac:spMkLst>
            <pc:docMk/>
            <pc:sldMk cId="3285689553" sldId="967"/>
            <ac:spMk id="6" creationId="{FF73203B-FD2F-D819-13EF-BEB0D189D1B0}"/>
          </ac:spMkLst>
        </pc:spChg>
        <pc:spChg chg="add mod">
          <ac:chgData name="Andreas Koksrud" userId="9d9beba6-c052-407a-8599-c781a677a996" providerId="ADAL" clId="{4C89AD2D-B60A-479F-9F95-9D423A06FAEA}" dt="2024-07-28T11:27:51.350" v="30834" actId="14100"/>
          <ac:spMkLst>
            <pc:docMk/>
            <pc:sldMk cId="3285689553" sldId="967"/>
            <ac:spMk id="7" creationId="{FDA66A13-139E-E345-2026-A4A7199BE78F}"/>
          </ac:spMkLst>
        </pc:spChg>
        <pc:spChg chg="add del mod">
          <ac:chgData name="Andreas Koksrud" userId="9d9beba6-c052-407a-8599-c781a677a996" providerId="ADAL" clId="{4C89AD2D-B60A-479F-9F95-9D423A06FAEA}" dt="2024-07-28T11:27:20.338" v="30713" actId="478"/>
          <ac:spMkLst>
            <pc:docMk/>
            <pc:sldMk cId="3285689553" sldId="967"/>
            <ac:spMk id="9" creationId="{988041AE-3F3C-E4F5-E455-C86036FD2C66}"/>
          </ac:spMkLst>
        </pc:spChg>
        <pc:picChg chg="add mod">
          <ac:chgData name="Andreas Koksrud" userId="9d9beba6-c052-407a-8599-c781a677a996" providerId="ADAL" clId="{4C89AD2D-B60A-479F-9F95-9D423A06FAEA}" dt="2024-07-27T10:59:12.399" v="30388" actId="1076"/>
          <ac:picMkLst>
            <pc:docMk/>
            <pc:sldMk cId="3285689553" sldId="967"/>
            <ac:picMk id="3" creationId="{C5665B41-37A0-461F-4FD9-2E66581AA419}"/>
          </ac:picMkLst>
        </pc:picChg>
        <pc:picChg chg="add del mod">
          <ac:chgData name="Andreas Koksrud" userId="9d9beba6-c052-407a-8599-c781a677a996" providerId="ADAL" clId="{4C89AD2D-B60A-479F-9F95-9D423A06FAEA}" dt="2024-07-28T11:27:54.603" v="30836" actId="478"/>
          <ac:picMkLst>
            <pc:docMk/>
            <pc:sldMk cId="3285689553" sldId="967"/>
            <ac:picMk id="8" creationId="{188869F3-860E-E9BD-DA66-512A1C1C0DC7}"/>
          </ac:picMkLst>
        </pc:picChg>
        <pc:picChg chg="add mod">
          <ac:chgData name="Andreas Koksrud" userId="9d9beba6-c052-407a-8599-c781a677a996" providerId="ADAL" clId="{4C89AD2D-B60A-479F-9F95-9D423A06FAEA}" dt="2024-07-28T11:18:40.782" v="30679" actId="1076"/>
          <ac:picMkLst>
            <pc:docMk/>
            <pc:sldMk cId="3285689553" sldId="967"/>
            <ac:picMk id="10" creationId="{473DAECA-52B8-8A93-1F9F-AAC4E488A061}"/>
          </ac:picMkLst>
        </pc:picChg>
        <pc:picChg chg="add del mod modCrop">
          <ac:chgData name="Andreas Koksrud" userId="9d9beba6-c052-407a-8599-c781a677a996" providerId="ADAL" clId="{4C89AD2D-B60A-479F-9F95-9D423A06FAEA}" dt="2024-07-29T08:37:06.912" v="31264" actId="478"/>
          <ac:picMkLst>
            <pc:docMk/>
            <pc:sldMk cId="3285689553" sldId="967"/>
            <ac:picMk id="12" creationId="{8FD9265F-6B93-F9D1-0E9B-ED00A768816B}"/>
          </ac:picMkLst>
        </pc:picChg>
        <pc:picChg chg="add mod">
          <ac:chgData name="Andreas Koksrud" userId="9d9beba6-c052-407a-8599-c781a677a996" providerId="ADAL" clId="{4C89AD2D-B60A-479F-9F95-9D423A06FAEA}" dt="2024-07-29T08:37:10.579" v="31266" actId="1076"/>
          <ac:picMkLst>
            <pc:docMk/>
            <pc:sldMk cId="3285689553" sldId="967"/>
            <ac:picMk id="14" creationId="{38C8D5D4-1D0F-3FC2-7AAF-5F90A638487B}"/>
          </ac:picMkLst>
        </pc:picChg>
      </pc:sldChg>
      <pc:sldChg chg="addSp delSp modSp add mod">
        <pc:chgData name="Andreas Koksrud" userId="9d9beba6-c052-407a-8599-c781a677a996" providerId="ADAL" clId="{4C89AD2D-B60A-479F-9F95-9D423A06FAEA}" dt="2024-07-29T08:31:04.889" v="31254" actId="478"/>
        <pc:sldMkLst>
          <pc:docMk/>
          <pc:sldMk cId="211427936" sldId="968"/>
        </pc:sldMkLst>
        <pc:spChg chg="add del mod">
          <ac:chgData name="Andreas Koksrud" userId="9d9beba6-c052-407a-8599-c781a677a996" providerId="ADAL" clId="{4C89AD2D-B60A-479F-9F95-9D423A06FAEA}" dt="2024-07-29T08:31:02.468" v="31252" actId="478"/>
          <ac:spMkLst>
            <pc:docMk/>
            <pc:sldMk cId="211427936" sldId="968"/>
            <ac:spMk id="2" creationId="{2CDFDA9C-F243-4177-F316-D014B8E8A304}"/>
          </ac:spMkLst>
        </pc:spChg>
        <pc:spChg chg="add mod">
          <ac:chgData name="Andreas Koksrud" userId="9d9beba6-c052-407a-8599-c781a677a996" providerId="ADAL" clId="{4C89AD2D-B60A-479F-9F95-9D423A06FAEA}" dt="2024-07-28T11:33:54.637" v="31235" actId="1036"/>
          <ac:spMkLst>
            <pc:docMk/>
            <pc:sldMk cId="211427936" sldId="968"/>
            <ac:spMk id="6" creationId="{F2D609AB-7FE2-8731-C176-CD48B5721671}"/>
          </ac:spMkLst>
        </pc:spChg>
        <pc:spChg chg="add mod">
          <ac:chgData name="Andreas Koksrud" userId="9d9beba6-c052-407a-8599-c781a677a996" providerId="ADAL" clId="{4C89AD2D-B60A-479F-9F95-9D423A06FAEA}" dt="2024-07-28T11:33:48.539" v="31229" actId="1036"/>
          <ac:spMkLst>
            <pc:docMk/>
            <pc:sldMk cId="211427936" sldId="968"/>
            <ac:spMk id="7" creationId="{F13593B3-6C6E-0B7F-E702-BFB256410B97}"/>
          </ac:spMkLst>
        </pc:spChg>
        <pc:spChg chg="add mod">
          <ac:chgData name="Andreas Koksrud" userId="9d9beba6-c052-407a-8599-c781a677a996" providerId="ADAL" clId="{4C89AD2D-B60A-479F-9F95-9D423A06FAEA}" dt="2024-07-27T11:24:56.404" v="30492"/>
          <ac:spMkLst>
            <pc:docMk/>
            <pc:sldMk cId="211427936" sldId="968"/>
            <ac:spMk id="9" creationId="{2A737BA2-C47A-D88E-59DF-BFBB76AA489C}"/>
          </ac:spMkLst>
        </pc:spChg>
        <pc:spChg chg="add del mod">
          <ac:chgData name="Andreas Koksrud" userId="9d9beba6-c052-407a-8599-c781a677a996" providerId="ADAL" clId="{4C89AD2D-B60A-479F-9F95-9D423A06FAEA}" dt="2024-07-28T11:34:53.120" v="31247" actId="478"/>
          <ac:spMkLst>
            <pc:docMk/>
            <pc:sldMk cId="211427936" sldId="968"/>
            <ac:spMk id="16" creationId="{743F94DF-3005-3E86-881C-B4E75F776183}"/>
          </ac:spMkLst>
        </pc:spChg>
        <pc:spChg chg="add mod">
          <ac:chgData name="Andreas Koksrud" userId="9d9beba6-c052-407a-8599-c781a677a996" providerId="ADAL" clId="{4C89AD2D-B60A-479F-9F95-9D423A06FAEA}" dt="2024-07-28T11:34:19.872" v="31239" actId="14100"/>
          <ac:spMkLst>
            <pc:docMk/>
            <pc:sldMk cId="211427936" sldId="968"/>
            <ac:spMk id="19" creationId="{2D0F35EB-6D2B-5015-680B-6A57F51A6656}"/>
          </ac:spMkLst>
        </pc:spChg>
        <pc:spChg chg="add mod">
          <ac:chgData name="Andreas Koksrud" userId="9d9beba6-c052-407a-8599-c781a677a996" providerId="ADAL" clId="{4C89AD2D-B60A-479F-9F95-9D423A06FAEA}" dt="2024-07-28T11:34:28.254" v="31241" actId="14100"/>
          <ac:spMkLst>
            <pc:docMk/>
            <pc:sldMk cId="211427936" sldId="968"/>
            <ac:spMk id="20" creationId="{0E37C6D1-53FE-3554-7FAF-07706EDD5E38}"/>
          </ac:spMkLst>
        </pc:spChg>
        <pc:spChg chg="add mod">
          <ac:chgData name="Andreas Koksrud" userId="9d9beba6-c052-407a-8599-c781a677a996" providerId="ADAL" clId="{4C89AD2D-B60A-479F-9F95-9D423A06FAEA}" dt="2024-07-28T11:34:40.208" v="31244" actId="571"/>
          <ac:spMkLst>
            <pc:docMk/>
            <pc:sldMk cId="211427936" sldId="968"/>
            <ac:spMk id="21" creationId="{932A36DF-7A02-B7E7-F13F-6C1930689726}"/>
          </ac:spMkLst>
        </pc:spChg>
        <pc:spChg chg="add mod">
          <ac:chgData name="Andreas Koksrud" userId="9d9beba6-c052-407a-8599-c781a677a996" providerId="ADAL" clId="{4C89AD2D-B60A-479F-9F95-9D423A06FAEA}" dt="2024-07-28T11:34:50.077" v="31246" actId="571"/>
          <ac:spMkLst>
            <pc:docMk/>
            <pc:sldMk cId="211427936" sldId="968"/>
            <ac:spMk id="23" creationId="{C38E03B6-BAAC-192D-99FD-1808BB9CCFBB}"/>
          </ac:spMkLst>
        </pc:spChg>
        <pc:picChg chg="add mod ord">
          <ac:chgData name="Andreas Koksrud" userId="9d9beba6-c052-407a-8599-c781a677a996" providerId="ADAL" clId="{4C89AD2D-B60A-479F-9F95-9D423A06FAEA}" dt="2024-07-28T11:33:52.147" v="31230" actId="167"/>
          <ac:picMkLst>
            <pc:docMk/>
            <pc:sldMk cId="211427936" sldId="968"/>
            <ac:picMk id="3" creationId="{8DF5F626-2C72-10ED-6F7E-FFF4B13C1AAE}"/>
          </ac:picMkLst>
        </pc:picChg>
        <pc:picChg chg="del">
          <ac:chgData name="Andreas Koksrud" userId="9d9beba6-c052-407a-8599-c781a677a996" providerId="ADAL" clId="{4C89AD2D-B60A-479F-9F95-9D423A06FAEA}" dt="2024-06-16T13:37:47.892" v="10000" actId="478"/>
          <ac:picMkLst>
            <pc:docMk/>
            <pc:sldMk cId="211427936" sldId="968"/>
            <ac:picMk id="6" creationId="{FCB7E24D-8A93-D00E-7EEE-DA98DABA9D68}"/>
          </ac:picMkLst>
        </pc:picChg>
        <pc:picChg chg="add mod ord">
          <ac:chgData name="Andreas Koksrud" userId="9d9beba6-c052-407a-8599-c781a677a996" providerId="ADAL" clId="{4C89AD2D-B60A-479F-9F95-9D423A06FAEA}" dt="2024-07-28T11:34:33.013" v="31243" actId="1076"/>
          <ac:picMkLst>
            <pc:docMk/>
            <pc:sldMk cId="211427936" sldId="968"/>
            <ac:picMk id="8" creationId="{E1B9A7A5-33A3-60B4-00B0-0181396A3522}"/>
          </ac:picMkLst>
        </pc:picChg>
        <pc:picChg chg="del">
          <ac:chgData name="Andreas Koksrud" userId="9d9beba6-c052-407a-8599-c781a677a996" providerId="ADAL" clId="{4C89AD2D-B60A-479F-9F95-9D423A06FAEA}" dt="2024-06-16T13:37:47.239" v="9999" actId="478"/>
          <ac:picMkLst>
            <pc:docMk/>
            <pc:sldMk cId="211427936" sldId="968"/>
            <ac:picMk id="9" creationId="{34D0E976-98EB-38FD-5CD1-E5FC3D1F0575}"/>
          </ac:picMkLst>
        </pc:picChg>
        <pc:picChg chg="add del mod">
          <ac:chgData name="Andreas Koksrud" userId="9d9beba6-c052-407a-8599-c781a677a996" providerId="ADAL" clId="{4C89AD2D-B60A-479F-9F95-9D423A06FAEA}" dt="2024-07-28T11:33:44.851" v="31225" actId="478"/>
          <ac:picMkLst>
            <pc:docMk/>
            <pc:sldMk cId="211427936" sldId="968"/>
            <ac:picMk id="13" creationId="{6E086C01-A361-84DA-D775-DB388589066F}"/>
          </ac:picMkLst>
        </pc:picChg>
        <pc:picChg chg="add del mod">
          <ac:chgData name="Andreas Koksrud" userId="9d9beba6-c052-407a-8599-c781a677a996" providerId="ADAL" clId="{4C89AD2D-B60A-479F-9F95-9D423A06FAEA}" dt="2024-07-28T11:33:44.156" v="31224" actId="478"/>
          <ac:picMkLst>
            <pc:docMk/>
            <pc:sldMk cId="211427936" sldId="968"/>
            <ac:picMk id="15" creationId="{EA93A30B-D0D3-8B2B-54DA-49EAF120870D}"/>
          </ac:picMkLst>
        </pc:picChg>
        <pc:cxnChg chg="add del mod">
          <ac:chgData name="Andreas Koksrud" userId="9d9beba6-c052-407a-8599-c781a677a996" providerId="ADAL" clId="{4C89AD2D-B60A-479F-9F95-9D423A06FAEA}" dt="2024-07-29T08:31:03.364" v="31253" actId="478"/>
          <ac:cxnSpMkLst>
            <pc:docMk/>
            <pc:sldMk cId="211427936" sldId="968"/>
            <ac:cxnSpMk id="10" creationId="{DE85F7B7-C7A0-F819-91CE-85857D9E1528}"/>
          </ac:cxnSpMkLst>
        </pc:cxnChg>
        <pc:cxnChg chg="add del mod">
          <ac:chgData name="Andreas Koksrud" userId="9d9beba6-c052-407a-8599-c781a677a996" providerId="ADAL" clId="{4C89AD2D-B60A-479F-9F95-9D423A06FAEA}" dt="2024-07-29T08:31:04.889" v="31254" actId="478"/>
          <ac:cxnSpMkLst>
            <pc:docMk/>
            <pc:sldMk cId="211427936" sldId="968"/>
            <ac:cxnSpMk id="12" creationId="{1CD3A305-EC52-40C3-CF87-C8F97B347197}"/>
          </ac:cxnSpMkLst>
        </pc:cxnChg>
      </pc:sldChg>
      <pc:sldChg chg="addSp delSp modSp add del mod">
        <pc:chgData name="Andreas Koksrud" userId="9d9beba6-c052-407a-8599-c781a677a996" providerId="ADAL" clId="{4C89AD2D-B60A-479F-9F95-9D423A06FAEA}" dt="2024-07-26T11:22:38.764" v="30327" actId="47"/>
        <pc:sldMkLst>
          <pc:docMk/>
          <pc:sldMk cId="4199983153" sldId="969"/>
        </pc:sldMkLst>
        <pc:spChg chg="add del mod">
          <ac:chgData name="Andreas Koksrud" userId="9d9beba6-c052-407a-8599-c781a677a996" providerId="ADAL" clId="{4C89AD2D-B60A-479F-9F95-9D423A06FAEA}" dt="2024-07-25T22:26:36.788" v="30303" actId="478"/>
          <ac:spMkLst>
            <pc:docMk/>
            <pc:sldMk cId="4199983153" sldId="969"/>
            <ac:spMk id="6" creationId="{4523ABDE-B19B-C08F-B395-53879018DB14}"/>
          </ac:spMkLst>
        </pc:spChg>
        <pc:picChg chg="add mod">
          <ac:chgData name="Andreas Koksrud" userId="9d9beba6-c052-407a-8599-c781a677a996" providerId="ADAL" clId="{4C89AD2D-B60A-479F-9F95-9D423A06FAEA}" dt="2024-07-19T20:19:13.867" v="26013"/>
          <ac:picMkLst>
            <pc:docMk/>
            <pc:sldMk cId="4199983153" sldId="969"/>
            <ac:picMk id="2" creationId="{BB6A3314-2C2D-2C3F-71B2-E717C21E2326}"/>
          </ac:picMkLst>
        </pc:picChg>
      </pc:sldChg>
      <pc:sldChg chg="addSp delSp modSp add mod">
        <pc:chgData name="Andreas Koksrud" userId="9d9beba6-c052-407a-8599-c781a677a996" providerId="ADAL" clId="{4C89AD2D-B60A-479F-9F95-9D423A06FAEA}" dt="2024-07-20T19:00:50.728" v="26140" actId="6549"/>
        <pc:sldMkLst>
          <pc:docMk/>
          <pc:sldMk cId="1310829930" sldId="970"/>
        </pc:sldMkLst>
        <pc:spChg chg="add mod">
          <ac:chgData name="Andreas Koksrud" userId="9d9beba6-c052-407a-8599-c781a677a996" providerId="ADAL" clId="{4C89AD2D-B60A-479F-9F95-9D423A06FAEA}" dt="2024-07-20T19:00:50.728" v="26140" actId="6549"/>
          <ac:spMkLst>
            <pc:docMk/>
            <pc:sldMk cId="1310829930" sldId="970"/>
            <ac:spMk id="4" creationId="{845B3FF3-F67D-1657-26DA-E47D58C6F45F}"/>
          </ac:spMkLst>
        </pc:spChg>
        <pc:spChg chg="add del mod">
          <ac:chgData name="Andreas Koksrud" userId="9d9beba6-c052-407a-8599-c781a677a996" providerId="ADAL" clId="{4C89AD2D-B60A-479F-9F95-9D423A06FAEA}" dt="2024-07-01T18:30:16.962" v="15961" actId="478"/>
          <ac:spMkLst>
            <pc:docMk/>
            <pc:sldMk cId="1310829930" sldId="970"/>
            <ac:spMk id="17" creationId="{EDAE2F1A-CB69-122A-8412-357A81C0F3E4}"/>
          </ac:spMkLst>
        </pc:spChg>
        <pc:spChg chg="add mod">
          <ac:chgData name="Andreas Koksrud" userId="9d9beba6-c052-407a-8599-c781a677a996" providerId="ADAL" clId="{4C89AD2D-B60A-479F-9F95-9D423A06FAEA}" dt="2024-06-22T19:48:54.761" v="11522" actId="207"/>
          <ac:spMkLst>
            <pc:docMk/>
            <pc:sldMk cId="1310829930" sldId="970"/>
            <ac:spMk id="22" creationId="{BAAC0D3C-29BC-6D26-91CD-5BF465D7AD97}"/>
          </ac:spMkLst>
        </pc:spChg>
        <pc:spChg chg="mod">
          <ac:chgData name="Andreas Koksrud" userId="9d9beba6-c052-407a-8599-c781a677a996" providerId="ADAL" clId="{4C89AD2D-B60A-479F-9F95-9D423A06FAEA}" dt="2024-06-22T19:36:56.763" v="11441" actId="20577"/>
          <ac:spMkLst>
            <pc:docMk/>
            <pc:sldMk cId="1310829930" sldId="970"/>
            <ac:spMk id="180" creationId="{1891DE32-0AB5-A3C5-52E7-3A8D7DDA4683}"/>
          </ac:spMkLst>
        </pc:spChg>
        <pc:picChg chg="del">
          <ac:chgData name="Andreas Koksrud" userId="9d9beba6-c052-407a-8599-c781a677a996" providerId="ADAL" clId="{4C89AD2D-B60A-479F-9F95-9D423A06FAEA}" dt="2024-06-22T19:37:00.464" v="11442" actId="478"/>
          <ac:picMkLst>
            <pc:docMk/>
            <pc:sldMk cId="1310829930" sldId="970"/>
            <ac:picMk id="5" creationId="{F8A115C8-868B-5A69-F64C-E43508F21DE1}"/>
          </ac:picMkLst>
        </pc:picChg>
        <pc:picChg chg="add mod">
          <ac:chgData name="Andreas Koksrud" userId="9d9beba6-c052-407a-8599-c781a677a996" providerId="ADAL" clId="{4C89AD2D-B60A-479F-9F95-9D423A06FAEA}" dt="2024-06-22T19:39:49.192" v="11450" actId="14100"/>
          <ac:picMkLst>
            <pc:docMk/>
            <pc:sldMk cId="1310829930" sldId="970"/>
            <ac:picMk id="6" creationId="{6B37C0EF-EF3C-04EE-4B05-5DF774AB1FF5}"/>
          </ac:picMkLst>
        </pc:picChg>
        <pc:picChg chg="del">
          <ac:chgData name="Andreas Koksrud" userId="9d9beba6-c052-407a-8599-c781a677a996" providerId="ADAL" clId="{4C89AD2D-B60A-479F-9F95-9D423A06FAEA}" dt="2024-06-22T19:37:01.984" v="11443" actId="478"/>
          <ac:picMkLst>
            <pc:docMk/>
            <pc:sldMk cId="1310829930" sldId="970"/>
            <ac:picMk id="7" creationId="{7ADF71EA-625D-7040-37AE-E07C58C09CEE}"/>
          </ac:picMkLst>
        </pc:picChg>
        <pc:picChg chg="del">
          <ac:chgData name="Andreas Koksrud" userId="9d9beba6-c052-407a-8599-c781a677a996" providerId="ADAL" clId="{4C89AD2D-B60A-479F-9F95-9D423A06FAEA}" dt="2024-06-22T19:37:02.755" v="11444" actId="478"/>
          <ac:picMkLst>
            <pc:docMk/>
            <pc:sldMk cId="1310829930" sldId="970"/>
            <ac:picMk id="9" creationId="{2EED6B9C-9E23-12C8-0E73-94257CA5C5A0}"/>
          </ac:picMkLst>
        </pc:picChg>
        <pc:picChg chg="add mod">
          <ac:chgData name="Andreas Koksrud" userId="9d9beba6-c052-407a-8599-c781a677a996" providerId="ADAL" clId="{4C89AD2D-B60A-479F-9F95-9D423A06FAEA}" dt="2024-06-22T19:39:46.881" v="11449" actId="14100"/>
          <ac:picMkLst>
            <pc:docMk/>
            <pc:sldMk cId="1310829930" sldId="970"/>
            <ac:picMk id="10" creationId="{B3BDA3A7-4C1A-E4EB-3B86-6FEF83547FFC}"/>
          </ac:picMkLst>
        </pc:picChg>
        <pc:picChg chg="add mod">
          <ac:chgData name="Andreas Koksrud" userId="9d9beba6-c052-407a-8599-c781a677a996" providerId="ADAL" clId="{4C89AD2D-B60A-479F-9F95-9D423A06FAEA}" dt="2024-06-22T19:47:35.271" v="11513" actId="1076"/>
          <ac:picMkLst>
            <pc:docMk/>
            <pc:sldMk cId="1310829930" sldId="970"/>
            <ac:picMk id="19" creationId="{E0DCE25A-C310-E786-19F5-02344C6DC920}"/>
          </ac:picMkLst>
        </pc:picChg>
        <pc:picChg chg="add mod modCrop">
          <ac:chgData name="Andreas Koksrud" userId="9d9beba6-c052-407a-8599-c781a677a996" providerId="ADAL" clId="{4C89AD2D-B60A-479F-9F95-9D423A06FAEA}" dt="2024-06-22T19:48:27.761" v="11519" actId="1076"/>
          <ac:picMkLst>
            <pc:docMk/>
            <pc:sldMk cId="1310829930" sldId="970"/>
            <ac:picMk id="21" creationId="{C768D469-190C-89EC-2C1D-1171E9FCE25C}"/>
          </ac:picMkLst>
        </pc:picChg>
        <pc:cxnChg chg="add mod">
          <ac:chgData name="Andreas Koksrud" userId="9d9beba6-c052-407a-8599-c781a677a996" providerId="ADAL" clId="{4C89AD2D-B60A-479F-9F95-9D423A06FAEA}" dt="2024-06-22T19:40:02.072" v="11453" actId="14100"/>
          <ac:cxnSpMkLst>
            <pc:docMk/>
            <pc:sldMk cId="1310829930" sldId="970"/>
            <ac:cxnSpMk id="11" creationId="{90CC9BD9-543D-C5DD-FF04-3093A243D69B}"/>
          </ac:cxnSpMkLst>
        </pc:cxnChg>
        <pc:cxnChg chg="add mod">
          <ac:chgData name="Andreas Koksrud" userId="9d9beba6-c052-407a-8599-c781a677a996" providerId="ADAL" clId="{4C89AD2D-B60A-479F-9F95-9D423A06FAEA}" dt="2024-06-22T19:40:14.245" v="11457" actId="14100"/>
          <ac:cxnSpMkLst>
            <pc:docMk/>
            <pc:sldMk cId="1310829930" sldId="970"/>
            <ac:cxnSpMk id="13" creationId="{8327EECB-AE95-6FAD-62B4-3E7D42CFBD43}"/>
          </ac:cxnSpMkLst>
        </pc:cxnChg>
        <pc:cxnChg chg="add mod">
          <ac:chgData name="Andreas Koksrud" userId="9d9beba6-c052-407a-8599-c781a677a996" providerId="ADAL" clId="{4C89AD2D-B60A-479F-9F95-9D423A06FAEA}" dt="2024-06-22T19:49:23.150" v="11527" actId="14100"/>
          <ac:cxnSpMkLst>
            <pc:docMk/>
            <pc:sldMk cId="1310829930" sldId="970"/>
            <ac:cxnSpMk id="23" creationId="{FB00F752-4816-F1AE-20ED-E698CE49FF4F}"/>
          </ac:cxnSpMkLst>
        </pc:cxnChg>
      </pc:sldChg>
      <pc:sldChg chg="addSp delSp modSp add mod">
        <pc:chgData name="Andreas Koksrud" userId="9d9beba6-c052-407a-8599-c781a677a996" providerId="ADAL" clId="{4C89AD2D-B60A-479F-9F95-9D423A06FAEA}" dt="2024-08-01T09:17:38.657" v="34654" actId="1076"/>
        <pc:sldMkLst>
          <pc:docMk/>
          <pc:sldMk cId="2305951208" sldId="971"/>
        </pc:sldMkLst>
        <pc:spChg chg="add mod">
          <ac:chgData name="Andreas Koksrud" userId="9d9beba6-c052-407a-8599-c781a677a996" providerId="ADAL" clId="{4C89AD2D-B60A-479F-9F95-9D423A06FAEA}" dt="2024-08-01T09:13:22.861" v="34520" actId="207"/>
          <ac:spMkLst>
            <pc:docMk/>
            <pc:sldMk cId="2305951208" sldId="971"/>
            <ac:spMk id="11" creationId="{300E147C-2030-BFD9-7F12-184D132BFA01}"/>
          </ac:spMkLst>
        </pc:spChg>
        <pc:spChg chg="mod">
          <ac:chgData name="Andreas Koksrud" userId="9d9beba6-c052-407a-8599-c781a677a996" providerId="ADAL" clId="{4C89AD2D-B60A-479F-9F95-9D423A06FAEA}" dt="2024-08-01T08:58:39.316" v="34399" actId="20577"/>
          <ac:spMkLst>
            <pc:docMk/>
            <pc:sldMk cId="2305951208" sldId="971"/>
            <ac:spMk id="180" creationId="{00000000-0000-0000-0000-000000000000}"/>
          </ac:spMkLst>
        </pc:spChg>
        <pc:spChg chg="mod">
          <ac:chgData name="Andreas Koksrud" userId="9d9beba6-c052-407a-8599-c781a677a996" providerId="ADAL" clId="{4C89AD2D-B60A-479F-9F95-9D423A06FAEA}" dt="2024-08-01T09:16:10.339" v="34649" actId="6549"/>
          <ac:spMkLst>
            <pc:docMk/>
            <pc:sldMk cId="2305951208" sldId="971"/>
            <ac:spMk id="181" creationId="{00000000-0000-0000-0000-000000000000}"/>
          </ac:spMkLst>
        </pc:spChg>
        <pc:picChg chg="add mod modCrop">
          <ac:chgData name="Andreas Koksrud" userId="9d9beba6-c052-407a-8599-c781a677a996" providerId="ADAL" clId="{4C89AD2D-B60A-479F-9F95-9D423A06FAEA}" dt="2024-08-01T09:01:19.578" v="34420" actId="732"/>
          <ac:picMkLst>
            <pc:docMk/>
            <pc:sldMk cId="2305951208" sldId="971"/>
            <ac:picMk id="3" creationId="{198C04C1-8E93-4B23-AA79-819BF6410C4F}"/>
          </ac:picMkLst>
        </pc:picChg>
        <pc:picChg chg="del">
          <ac:chgData name="Andreas Koksrud" userId="9d9beba6-c052-407a-8599-c781a677a996" providerId="ADAL" clId="{4C89AD2D-B60A-479F-9F95-9D423A06FAEA}" dt="2024-06-30T15:20:41.866" v="13072" actId="478"/>
          <ac:picMkLst>
            <pc:docMk/>
            <pc:sldMk cId="2305951208" sldId="971"/>
            <ac:picMk id="3" creationId="{DBFC979B-2C45-BC09-60D9-9CD280D1798B}"/>
          </ac:picMkLst>
        </pc:picChg>
        <pc:picChg chg="add del mod modCrop">
          <ac:chgData name="Andreas Koksrud" userId="9d9beba6-c052-407a-8599-c781a677a996" providerId="ADAL" clId="{4C89AD2D-B60A-479F-9F95-9D423A06FAEA}" dt="2024-08-01T09:00:10.806" v="34412" actId="21"/>
          <ac:picMkLst>
            <pc:docMk/>
            <pc:sldMk cId="2305951208" sldId="971"/>
            <ac:picMk id="6" creationId="{C4B9405E-09BB-FE31-021E-77CB22C502A7}"/>
          </ac:picMkLst>
        </pc:picChg>
        <pc:picChg chg="add mod">
          <ac:chgData name="Andreas Koksrud" userId="9d9beba6-c052-407a-8599-c781a677a996" providerId="ADAL" clId="{4C89AD2D-B60A-479F-9F95-9D423A06FAEA}" dt="2024-08-01T09:10:55.800" v="34514" actId="1076"/>
          <ac:picMkLst>
            <pc:docMk/>
            <pc:sldMk cId="2305951208" sldId="971"/>
            <ac:picMk id="8" creationId="{C8803D27-2102-99C8-28BF-493A3C3B3EB1}"/>
          </ac:picMkLst>
        </pc:picChg>
        <pc:picChg chg="add mod">
          <ac:chgData name="Andreas Koksrud" userId="9d9beba6-c052-407a-8599-c781a677a996" providerId="ADAL" clId="{4C89AD2D-B60A-479F-9F95-9D423A06FAEA}" dt="2024-08-01T09:12:35.945" v="34517" actId="1076"/>
          <ac:picMkLst>
            <pc:docMk/>
            <pc:sldMk cId="2305951208" sldId="971"/>
            <ac:picMk id="10" creationId="{A97E6B27-B6B8-A18E-78E9-1976758119CB}"/>
          </ac:picMkLst>
        </pc:picChg>
        <pc:picChg chg="add mod">
          <ac:chgData name="Andreas Koksrud" userId="9d9beba6-c052-407a-8599-c781a677a996" providerId="ADAL" clId="{4C89AD2D-B60A-479F-9F95-9D423A06FAEA}" dt="2024-08-01T09:17:38.657" v="34654" actId="1076"/>
          <ac:picMkLst>
            <pc:docMk/>
            <pc:sldMk cId="2305951208" sldId="971"/>
            <ac:picMk id="13" creationId="{36CA4CDE-19E9-BCDD-9213-05DDCAEBB818}"/>
          </ac:picMkLst>
        </pc:picChg>
        <pc:picChg chg="add del mod">
          <ac:chgData name="Andreas Koksrud" userId="9d9beba6-c052-407a-8599-c781a677a996" providerId="ADAL" clId="{4C89AD2D-B60A-479F-9F95-9D423A06FAEA}" dt="2024-08-01T09:10:39.754" v="34494" actId="478"/>
          <ac:picMkLst>
            <pc:docMk/>
            <pc:sldMk cId="2305951208" sldId="971"/>
            <ac:picMk id="1026" creationId="{94E51968-0C13-D58E-DB77-78CBB7E99A6F}"/>
          </ac:picMkLst>
        </pc:picChg>
      </pc:sldChg>
      <pc:sldChg chg="addSp delSp modSp add del mod">
        <pc:chgData name="Andreas Koksrud" userId="9d9beba6-c052-407a-8599-c781a677a996" providerId="ADAL" clId="{4C89AD2D-B60A-479F-9F95-9D423A06FAEA}" dt="2024-08-01T08:59:39.638" v="34408" actId="2696"/>
        <pc:sldMkLst>
          <pc:docMk/>
          <pc:sldMk cId="935846747" sldId="972"/>
        </pc:sldMkLst>
        <pc:spChg chg="mod">
          <ac:chgData name="Andreas Koksrud" userId="9d9beba6-c052-407a-8599-c781a677a996" providerId="ADAL" clId="{4C89AD2D-B60A-479F-9F95-9D423A06FAEA}" dt="2024-08-01T08:52:57.812" v="34078" actId="20577"/>
          <ac:spMkLst>
            <pc:docMk/>
            <pc:sldMk cId="935846747" sldId="972"/>
            <ac:spMk id="180" creationId="{00000000-0000-0000-0000-000000000000}"/>
          </ac:spMkLst>
        </pc:spChg>
        <pc:spChg chg="mod">
          <ac:chgData name="Andreas Koksrud" userId="9d9beba6-c052-407a-8599-c781a677a996" providerId="ADAL" clId="{4C89AD2D-B60A-479F-9F95-9D423A06FAEA}" dt="2024-08-01T08:59:25.367" v="34407" actId="6549"/>
          <ac:spMkLst>
            <pc:docMk/>
            <pc:sldMk cId="935846747" sldId="972"/>
            <ac:spMk id="181" creationId="{00000000-0000-0000-0000-000000000000}"/>
          </ac:spMkLst>
        </pc:spChg>
        <pc:picChg chg="add mod">
          <ac:chgData name="Andreas Koksrud" userId="9d9beba6-c052-407a-8599-c781a677a996" providerId="ADAL" clId="{4C89AD2D-B60A-479F-9F95-9D423A06FAEA}" dt="2024-06-30T15:50:41.196" v="13925" actId="1076"/>
          <ac:picMkLst>
            <pc:docMk/>
            <pc:sldMk cId="935846747" sldId="972"/>
            <ac:picMk id="3" creationId="{DB5CD4E5-3BE7-7364-A4E7-78C03845C8B7}"/>
          </ac:picMkLst>
        </pc:picChg>
        <pc:picChg chg="del">
          <ac:chgData name="Andreas Koksrud" userId="9d9beba6-c052-407a-8599-c781a677a996" providerId="ADAL" clId="{4C89AD2D-B60A-479F-9F95-9D423A06FAEA}" dt="2024-06-30T15:23:27.257" v="13336" actId="478"/>
          <ac:picMkLst>
            <pc:docMk/>
            <pc:sldMk cId="935846747" sldId="972"/>
            <ac:picMk id="6" creationId="{C4B9405E-09BB-FE31-021E-77CB22C502A7}"/>
          </ac:picMkLst>
        </pc:picChg>
      </pc:sldChg>
      <pc:sldChg chg="addSp delSp modSp add mod ord">
        <pc:chgData name="Andreas Koksrud" userId="9d9beba6-c052-407a-8599-c781a677a996" providerId="ADAL" clId="{4C89AD2D-B60A-479F-9F95-9D423A06FAEA}" dt="2024-08-04T16:31:44.142" v="37133"/>
        <pc:sldMkLst>
          <pc:docMk/>
          <pc:sldMk cId="2919214617" sldId="972"/>
        </pc:sldMkLst>
        <pc:spChg chg="add mod">
          <ac:chgData name="Andreas Koksrud" userId="9d9beba6-c052-407a-8599-c781a677a996" providerId="ADAL" clId="{4C89AD2D-B60A-479F-9F95-9D423A06FAEA}" dt="2024-08-03T09:28:17.063" v="35052"/>
          <ac:spMkLst>
            <pc:docMk/>
            <pc:sldMk cId="2919214617" sldId="972"/>
            <ac:spMk id="2" creationId="{AA8EBD60-876B-4C2E-3F6C-4465FF455669}"/>
          </ac:spMkLst>
        </pc:spChg>
        <pc:spChg chg="del">
          <ac:chgData name="Andreas Koksrud" userId="9d9beba6-c052-407a-8599-c781a677a996" providerId="ADAL" clId="{4C89AD2D-B60A-479F-9F95-9D423A06FAEA}" dt="2024-08-03T09:28:15.313" v="35050" actId="478"/>
          <ac:spMkLst>
            <pc:docMk/>
            <pc:sldMk cId="2919214617" sldId="972"/>
            <ac:spMk id="4" creationId="{DE31E3CE-1F59-7A8C-281A-D17BCA8237EA}"/>
          </ac:spMkLst>
        </pc:spChg>
        <pc:spChg chg="del">
          <ac:chgData name="Andreas Koksrud" userId="9d9beba6-c052-407a-8599-c781a677a996" providerId="ADAL" clId="{4C89AD2D-B60A-479F-9F95-9D423A06FAEA}" dt="2024-08-03T09:28:16.224" v="35051" actId="478"/>
          <ac:spMkLst>
            <pc:docMk/>
            <pc:sldMk cId="2919214617" sldId="972"/>
            <ac:spMk id="5" creationId="{F8C53B93-A4D2-5C78-E224-F1F4C6AB4C84}"/>
          </ac:spMkLst>
        </pc:spChg>
        <pc:spChg chg="add mod">
          <ac:chgData name="Andreas Koksrud" userId="9d9beba6-c052-407a-8599-c781a677a996" providerId="ADAL" clId="{4C89AD2D-B60A-479F-9F95-9D423A06FAEA}" dt="2024-08-03T09:28:17.063" v="35052"/>
          <ac:spMkLst>
            <pc:docMk/>
            <pc:sldMk cId="2919214617" sldId="972"/>
            <ac:spMk id="6" creationId="{6BCF03F3-FFDE-2EB5-7559-E2592BF25E0F}"/>
          </ac:spMkLst>
        </pc:spChg>
        <pc:spChg chg="mod">
          <ac:chgData name="Andreas Koksrud" userId="9d9beba6-c052-407a-8599-c781a677a996" providerId="ADAL" clId="{4C89AD2D-B60A-479F-9F95-9D423A06FAEA}" dt="2024-08-04T16:23:26.253" v="37106" actId="20577"/>
          <ac:spMkLst>
            <pc:docMk/>
            <pc:sldMk cId="2919214617" sldId="972"/>
            <ac:spMk id="181" creationId="{00000000-0000-0000-0000-000000000000}"/>
          </ac:spMkLst>
        </pc:spChg>
        <pc:picChg chg="mod">
          <ac:chgData name="Andreas Koksrud" userId="9d9beba6-c052-407a-8599-c781a677a996" providerId="ADAL" clId="{4C89AD2D-B60A-479F-9F95-9D423A06FAEA}" dt="2024-08-04T16:23:18.529" v="37094" actId="1076"/>
          <ac:picMkLst>
            <pc:docMk/>
            <pc:sldMk cId="2919214617" sldId="972"/>
            <ac:picMk id="3" creationId="{DB5CD4E5-3BE7-7364-A4E7-78C03845C8B7}"/>
          </ac:picMkLst>
        </pc:picChg>
      </pc:sldChg>
      <pc:sldChg chg="addSp modSp add mod">
        <pc:chgData name="Andreas Koksrud" userId="9d9beba6-c052-407a-8599-c781a677a996" providerId="ADAL" clId="{4C89AD2D-B60A-479F-9F95-9D423A06FAEA}" dt="2024-07-25T16:04:38.365" v="27626" actId="14100"/>
        <pc:sldMkLst>
          <pc:docMk/>
          <pc:sldMk cId="1288900963" sldId="973"/>
        </pc:sldMkLst>
        <pc:spChg chg="mod">
          <ac:chgData name="Andreas Koksrud" userId="9d9beba6-c052-407a-8599-c781a677a996" providerId="ADAL" clId="{4C89AD2D-B60A-479F-9F95-9D423A06FAEA}" dt="2024-07-25T16:04:38.365" v="27626" actId="14100"/>
          <ac:spMkLst>
            <pc:docMk/>
            <pc:sldMk cId="1288900963" sldId="973"/>
            <ac:spMk id="5" creationId="{06C331F7-EF3E-5E7F-9901-C355F1A9896B}"/>
          </ac:spMkLst>
        </pc:spChg>
        <pc:picChg chg="add mod">
          <ac:chgData name="Andreas Koksrud" userId="9d9beba6-c052-407a-8599-c781a677a996" providerId="ADAL" clId="{4C89AD2D-B60A-479F-9F95-9D423A06FAEA}" dt="2024-07-24T19:52:08.392" v="27572" actId="1076"/>
          <ac:picMkLst>
            <pc:docMk/>
            <pc:sldMk cId="1288900963" sldId="973"/>
            <ac:picMk id="3" creationId="{57C6686E-7A90-FD07-E113-D6B4C0121822}"/>
          </ac:picMkLst>
        </pc:picChg>
      </pc:sldChg>
      <pc:sldChg chg="addSp delSp modSp add del mod">
        <pc:chgData name="Andreas Koksrud" userId="9d9beba6-c052-407a-8599-c781a677a996" providerId="ADAL" clId="{4C89AD2D-B60A-479F-9F95-9D423A06FAEA}" dt="2024-08-01T09:01:50.974" v="34421" actId="47"/>
        <pc:sldMkLst>
          <pc:docMk/>
          <pc:sldMk cId="3760783594" sldId="974"/>
        </pc:sldMkLst>
        <pc:spChg chg="add mod">
          <ac:chgData name="Andreas Koksrud" userId="9d9beba6-c052-407a-8599-c781a677a996" providerId="ADAL" clId="{4C89AD2D-B60A-479F-9F95-9D423A06FAEA}" dt="2024-06-30T15:51:35.053" v="13973" actId="208"/>
          <ac:spMkLst>
            <pc:docMk/>
            <pc:sldMk cId="3760783594" sldId="974"/>
            <ac:spMk id="9" creationId="{5AE98A74-A0D9-F4ED-687A-8C75036EB09B}"/>
          </ac:spMkLst>
        </pc:spChg>
        <pc:spChg chg="add mod">
          <ac:chgData name="Andreas Koksrud" userId="9d9beba6-c052-407a-8599-c781a677a996" providerId="ADAL" clId="{4C89AD2D-B60A-479F-9F95-9D423A06FAEA}" dt="2024-06-30T15:51:41.436" v="13975" actId="14100"/>
          <ac:spMkLst>
            <pc:docMk/>
            <pc:sldMk cId="3760783594" sldId="974"/>
            <ac:spMk id="10" creationId="{1BE788F6-6E8D-AC86-76EF-C96AD1482575}"/>
          </ac:spMkLst>
        </pc:spChg>
        <pc:spChg chg="add mod">
          <ac:chgData name="Andreas Koksrud" userId="9d9beba6-c052-407a-8599-c781a677a996" providerId="ADAL" clId="{4C89AD2D-B60A-479F-9F95-9D423A06FAEA}" dt="2024-06-30T15:51:55.533" v="13982" actId="14100"/>
          <ac:spMkLst>
            <pc:docMk/>
            <pc:sldMk cId="3760783594" sldId="974"/>
            <ac:spMk id="13" creationId="{FD3E508E-9AAB-1290-93AD-86A0B2BB9CB5}"/>
          </ac:spMkLst>
        </pc:spChg>
        <pc:spChg chg="add mod">
          <ac:chgData name="Andreas Koksrud" userId="9d9beba6-c052-407a-8599-c781a677a996" providerId="ADAL" clId="{4C89AD2D-B60A-479F-9F95-9D423A06FAEA}" dt="2024-06-30T15:52:06.865" v="13984" actId="14100"/>
          <ac:spMkLst>
            <pc:docMk/>
            <pc:sldMk cId="3760783594" sldId="974"/>
            <ac:spMk id="14" creationId="{F62C8EC4-ABEF-54E4-6E30-6231C8008454}"/>
          </ac:spMkLst>
        </pc:spChg>
        <pc:spChg chg="mod">
          <ac:chgData name="Andreas Koksrud" userId="9d9beba6-c052-407a-8599-c781a677a996" providerId="ADAL" clId="{4C89AD2D-B60A-479F-9F95-9D423A06FAEA}" dt="2024-08-01T08:53:25.233" v="34099" actId="20577"/>
          <ac:spMkLst>
            <pc:docMk/>
            <pc:sldMk cId="3760783594" sldId="974"/>
            <ac:spMk id="180" creationId="{00000000-0000-0000-0000-000000000000}"/>
          </ac:spMkLst>
        </pc:spChg>
        <pc:spChg chg="mod">
          <ac:chgData name="Andreas Koksrud" userId="9d9beba6-c052-407a-8599-c781a677a996" providerId="ADAL" clId="{4C89AD2D-B60A-479F-9F95-9D423A06FAEA}" dt="2024-06-30T15:51:11.665" v="13968" actId="20577"/>
          <ac:spMkLst>
            <pc:docMk/>
            <pc:sldMk cId="3760783594" sldId="974"/>
            <ac:spMk id="181" creationId="{00000000-0000-0000-0000-000000000000}"/>
          </ac:spMkLst>
        </pc:spChg>
        <pc:picChg chg="del">
          <ac:chgData name="Andreas Koksrud" userId="9d9beba6-c052-407a-8599-c781a677a996" providerId="ADAL" clId="{4C89AD2D-B60A-479F-9F95-9D423A06FAEA}" dt="2024-06-30T15:50:52.549" v="13927" actId="478"/>
          <ac:picMkLst>
            <pc:docMk/>
            <pc:sldMk cId="3760783594" sldId="974"/>
            <ac:picMk id="3" creationId="{DB5CD4E5-3BE7-7364-A4E7-78C03845C8B7}"/>
          </ac:picMkLst>
        </pc:picChg>
        <pc:picChg chg="add del mod">
          <ac:chgData name="Andreas Koksrud" userId="9d9beba6-c052-407a-8599-c781a677a996" providerId="ADAL" clId="{4C89AD2D-B60A-479F-9F95-9D423A06FAEA}" dt="2024-06-30T15:51:00.862" v="13932" actId="22"/>
          <ac:picMkLst>
            <pc:docMk/>
            <pc:sldMk cId="3760783594" sldId="974"/>
            <ac:picMk id="6" creationId="{6E6BD1DE-5620-A946-0C42-86C04C79BC11}"/>
          </ac:picMkLst>
        </pc:picChg>
        <pc:picChg chg="add mod">
          <ac:chgData name="Andreas Koksrud" userId="9d9beba6-c052-407a-8599-c781a677a996" providerId="ADAL" clId="{4C89AD2D-B60A-479F-9F95-9D423A06FAEA}" dt="2024-06-30T15:51:47.638" v="13979" actId="1076"/>
          <ac:picMkLst>
            <pc:docMk/>
            <pc:sldMk cId="3760783594" sldId="974"/>
            <ac:picMk id="8" creationId="{4EE530B6-C953-579A-0317-E1416E72B80E}"/>
          </ac:picMkLst>
        </pc:picChg>
        <pc:picChg chg="add del">
          <ac:chgData name="Andreas Koksrud" userId="9d9beba6-c052-407a-8599-c781a677a996" providerId="ADAL" clId="{4C89AD2D-B60A-479F-9F95-9D423A06FAEA}" dt="2024-06-30T15:51:45.171" v="13977" actId="22"/>
          <ac:picMkLst>
            <pc:docMk/>
            <pc:sldMk cId="3760783594" sldId="974"/>
            <ac:picMk id="12" creationId="{EEF88247-9E3B-9CFD-5B82-5F5CD2584E06}"/>
          </ac:picMkLst>
        </pc:picChg>
      </pc:sldChg>
      <pc:sldChg chg="addSp delSp modSp add del mod">
        <pc:chgData name="Andreas Koksrud" userId="9d9beba6-c052-407a-8599-c781a677a996" providerId="ADAL" clId="{4C89AD2D-B60A-479F-9F95-9D423A06FAEA}" dt="2024-08-01T09:01:57.486" v="34422" actId="2696"/>
        <pc:sldMkLst>
          <pc:docMk/>
          <pc:sldMk cId="4173058943" sldId="975"/>
        </pc:sldMkLst>
        <pc:spChg chg="del">
          <ac:chgData name="Andreas Koksrud" userId="9d9beba6-c052-407a-8599-c781a677a996" providerId="ADAL" clId="{4C89AD2D-B60A-479F-9F95-9D423A06FAEA}" dt="2024-06-30T16:54:30.272" v="13989" actId="478"/>
          <ac:spMkLst>
            <pc:docMk/>
            <pc:sldMk cId="4173058943" sldId="975"/>
            <ac:spMk id="9" creationId="{5AE98A74-A0D9-F4ED-687A-8C75036EB09B}"/>
          </ac:spMkLst>
        </pc:spChg>
        <pc:spChg chg="del">
          <ac:chgData name="Andreas Koksrud" userId="9d9beba6-c052-407a-8599-c781a677a996" providerId="ADAL" clId="{4C89AD2D-B60A-479F-9F95-9D423A06FAEA}" dt="2024-06-30T16:54:31.278" v="13990" actId="478"/>
          <ac:spMkLst>
            <pc:docMk/>
            <pc:sldMk cId="4173058943" sldId="975"/>
            <ac:spMk id="10" creationId="{1BE788F6-6E8D-AC86-76EF-C96AD1482575}"/>
          </ac:spMkLst>
        </pc:spChg>
        <pc:spChg chg="add mod">
          <ac:chgData name="Andreas Koksrud" userId="9d9beba6-c052-407a-8599-c781a677a996" providerId="ADAL" clId="{4C89AD2D-B60A-479F-9F95-9D423A06FAEA}" dt="2024-06-30T16:56:54.161" v="14112" actId="14100"/>
          <ac:spMkLst>
            <pc:docMk/>
            <pc:sldMk cId="4173058943" sldId="975"/>
            <ac:spMk id="11" creationId="{2819E410-5E84-2048-45CC-9992A331552D}"/>
          </ac:spMkLst>
        </pc:spChg>
        <pc:spChg chg="add mod">
          <ac:chgData name="Andreas Koksrud" userId="9d9beba6-c052-407a-8599-c781a677a996" providerId="ADAL" clId="{4C89AD2D-B60A-479F-9F95-9D423A06FAEA}" dt="2024-06-30T16:57:01.572" v="14115" actId="14100"/>
          <ac:spMkLst>
            <pc:docMk/>
            <pc:sldMk cId="4173058943" sldId="975"/>
            <ac:spMk id="12" creationId="{31761B16-B5DE-B70B-79EC-6F0D9565162C}"/>
          </ac:spMkLst>
        </pc:spChg>
        <pc:spChg chg="del">
          <ac:chgData name="Andreas Koksrud" userId="9d9beba6-c052-407a-8599-c781a677a996" providerId="ADAL" clId="{4C89AD2D-B60A-479F-9F95-9D423A06FAEA}" dt="2024-06-30T16:54:29.166" v="13988" actId="478"/>
          <ac:spMkLst>
            <pc:docMk/>
            <pc:sldMk cId="4173058943" sldId="975"/>
            <ac:spMk id="13" creationId="{FD3E508E-9AAB-1290-93AD-86A0B2BB9CB5}"/>
          </ac:spMkLst>
        </pc:spChg>
        <pc:spChg chg="del">
          <ac:chgData name="Andreas Koksrud" userId="9d9beba6-c052-407a-8599-c781a677a996" providerId="ADAL" clId="{4C89AD2D-B60A-479F-9F95-9D423A06FAEA}" dt="2024-06-30T16:54:28.121" v="13987" actId="478"/>
          <ac:spMkLst>
            <pc:docMk/>
            <pc:sldMk cId="4173058943" sldId="975"/>
            <ac:spMk id="14" creationId="{F62C8EC4-ABEF-54E4-6E30-6231C8008454}"/>
          </ac:spMkLst>
        </pc:spChg>
        <pc:spChg chg="add mod">
          <ac:chgData name="Andreas Koksrud" userId="9d9beba6-c052-407a-8599-c781a677a996" providerId="ADAL" clId="{4C89AD2D-B60A-479F-9F95-9D423A06FAEA}" dt="2024-06-30T16:57:04.523" v="14116" actId="571"/>
          <ac:spMkLst>
            <pc:docMk/>
            <pc:sldMk cId="4173058943" sldId="975"/>
            <ac:spMk id="15" creationId="{06358E47-2170-93CF-F4A0-5714388D601D}"/>
          </ac:spMkLst>
        </pc:spChg>
        <pc:spChg chg="add mod">
          <ac:chgData name="Andreas Koksrud" userId="9d9beba6-c052-407a-8599-c781a677a996" providerId="ADAL" clId="{4C89AD2D-B60A-479F-9F95-9D423A06FAEA}" dt="2024-06-30T16:57:49.065" v="14229" actId="404"/>
          <ac:spMkLst>
            <pc:docMk/>
            <pc:sldMk cId="4173058943" sldId="975"/>
            <ac:spMk id="16" creationId="{E699483B-CC77-16A8-F481-DFD2E109003B}"/>
          </ac:spMkLst>
        </pc:spChg>
        <pc:spChg chg="mod">
          <ac:chgData name="Andreas Koksrud" userId="9d9beba6-c052-407a-8599-c781a677a996" providerId="ADAL" clId="{4C89AD2D-B60A-479F-9F95-9D423A06FAEA}" dt="2024-06-30T16:56:37.394" v="14101" actId="20577"/>
          <ac:spMkLst>
            <pc:docMk/>
            <pc:sldMk cId="4173058943" sldId="975"/>
            <ac:spMk id="181" creationId="{00000000-0000-0000-0000-000000000000}"/>
          </ac:spMkLst>
        </pc:spChg>
        <pc:picChg chg="add mod">
          <ac:chgData name="Andreas Koksrud" userId="9d9beba6-c052-407a-8599-c781a677a996" providerId="ADAL" clId="{4C89AD2D-B60A-479F-9F95-9D423A06FAEA}" dt="2024-06-30T16:55:41.174" v="14022" actId="1076"/>
          <ac:picMkLst>
            <pc:docMk/>
            <pc:sldMk cId="4173058943" sldId="975"/>
            <ac:picMk id="3" creationId="{F6DA6060-D234-5719-2571-4E8363B35D06}"/>
          </ac:picMkLst>
        </pc:picChg>
        <pc:picChg chg="add mod">
          <ac:chgData name="Andreas Koksrud" userId="9d9beba6-c052-407a-8599-c781a677a996" providerId="ADAL" clId="{4C89AD2D-B60A-479F-9F95-9D423A06FAEA}" dt="2024-06-30T16:58:04.348" v="14233" actId="1076"/>
          <ac:picMkLst>
            <pc:docMk/>
            <pc:sldMk cId="4173058943" sldId="975"/>
            <ac:picMk id="7" creationId="{2E9868D2-B9FC-1DAC-273F-18FC36AEDB6E}"/>
          </ac:picMkLst>
        </pc:picChg>
        <pc:picChg chg="del">
          <ac:chgData name="Andreas Koksrud" userId="9d9beba6-c052-407a-8599-c781a677a996" providerId="ADAL" clId="{4C89AD2D-B60A-479F-9F95-9D423A06FAEA}" dt="2024-06-30T16:54:25.198" v="13986" actId="478"/>
          <ac:picMkLst>
            <pc:docMk/>
            <pc:sldMk cId="4173058943" sldId="975"/>
            <ac:picMk id="8" creationId="{4EE530B6-C953-579A-0317-E1416E72B80E}"/>
          </ac:picMkLst>
        </pc:picChg>
        <pc:cxnChg chg="add mod">
          <ac:chgData name="Andreas Koksrud" userId="9d9beba6-c052-407a-8599-c781a677a996" providerId="ADAL" clId="{4C89AD2D-B60A-479F-9F95-9D423A06FAEA}" dt="2024-06-30T16:58:10.203" v="14234" actId="14100"/>
          <ac:cxnSpMkLst>
            <pc:docMk/>
            <pc:sldMk cId="4173058943" sldId="975"/>
            <ac:cxnSpMk id="17" creationId="{C9EBCCD3-8487-2D02-1567-6CD761553268}"/>
          </ac:cxnSpMkLst>
        </pc:cxnChg>
        <pc:cxnChg chg="add mod">
          <ac:chgData name="Andreas Koksrud" userId="9d9beba6-c052-407a-8599-c781a677a996" providerId="ADAL" clId="{4C89AD2D-B60A-479F-9F95-9D423A06FAEA}" dt="2024-06-30T16:58:24.803" v="14237" actId="14100"/>
          <ac:cxnSpMkLst>
            <pc:docMk/>
            <pc:sldMk cId="4173058943" sldId="975"/>
            <ac:cxnSpMk id="20" creationId="{AB5EBA06-3DD5-0361-0243-B1F7E60B9436}"/>
          </ac:cxnSpMkLst>
        </pc:cxnChg>
      </pc:sldChg>
      <pc:sldChg chg="addSp delSp modSp add mod ord">
        <pc:chgData name="Andreas Koksrud" userId="9d9beba6-c052-407a-8599-c781a677a996" providerId="ADAL" clId="{4C89AD2D-B60A-479F-9F95-9D423A06FAEA}" dt="2024-07-02T15:15:30.727" v="18602"/>
        <pc:sldMkLst>
          <pc:docMk/>
          <pc:sldMk cId="2327836157" sldId="976"/>
        </pc:sldMkLst>
        <pc:spChg chg="mod">
          <ac:chgData name="Andreas Koksrud" userId="9d9beba6-c052-407a-8599-c781a677a996" providerId="ADAL" clId="{4C89AD2D-B60A-479F-9F95-9D423A06FAEA}" dt="2024-07-02T14:55:03.515" v="18358" actId="20577"/>
          <ac:spMkLst>
            <pc:docMk/>
            <pc:sldMk cId="2327836157" sldId="976"/>
            <ac:spMk id="2" creationId="{9796E8C1-5924-9DB3-B51B-75296717F89F}"/>
          </ac:spMkLst>
        </pc:spChg>
        <pc:spChg chg="mod">
          <ac:chgData name="Andreas Koksrud" userId="9d9beba6-c052-407a-8599-c781a677a996" providerId="ADAL" clId="{4C89AD2D-B60A-479F-9F95-9D423A06FAEA}" dt="2024-07-02T15:15:30.727" v="18602"/>
          <ac:spMkLst>
            <pc:docMk/>
            <pc:sldMk cId="2327836157" sldId="976"/>
            <ac:spMk id="3" creationId="{5FE68121-81AE-F2E5-DCD9-C328BBA3F909}"/>
          </ac:spMkLst>
        </pc:spChg>
        <pc:spChg chg="mod">
          <ac:chgData name="Andreas Koksrud" userId="9d9beba6-c052-407a-8599-c781a677a996" providerId="ADAL" clId="{4C89AD2D-B60A-479F-9F95-9D423A06FAEA}" dt="2024-07-02T15:15:17.604" v="18599"/>
          <ac:spMkLst>
            <pc:docMk/>
            <pc:sldMk cId="2327836157" sldId="976"/>
            <ac:spMk id="4" creationId="{E53BC320-EB76-AACD-B492-E0CEFD69F83A}"/>
          </ac:spMkLst>
        </pc:spChg>
        <pc:spChg chg="mod">
          <ac:chgData name="Andreas Koksrud" userId="9d9beba6-c052-407a-8599-c781a677a996" providerId="ADAL" clId="{4C89AD2D-B60A-479F-9F95-9D423A06FAEA}" dt="2024-07-02T14:54:41.239" v="18297" actId="20577"/>
          <ac:spMkLst>
            <pc:docMk/>
            <pc:sldMk cId="2327836157" sldId="976"/>
            <ac:spMk id="180" creationId="{00000000-0000-0000-0000-000000000000}"/>
          </ac:spMkLst>
        </pc:spChg>
        <pc:picChg chg="del">
          <ac:chgData name="Andreas Koksrud" userId="9d9beba6-c052-407a-8599-c781a677a996" providerId="ADAL" clId="{4C89AD2D-B60A-479F-9F95-9D423A06FAEA}" dt="2024-06-30T17:09:43.982" v="14747" actId="478"/>
          <ac:picMkLst>
            <pc:docMk/>
            <pc:sldMk cId="2327836157" sldId="976"/>
            <ac:picMk id="19" creationId="{16102E3D-30A8-E8EE-D800-B326185287B8}"/>
          </ac:picMkLst>
        </pc:picChg>
        <pc:cxnChg chg="add del mod">
          <ac:chgData name="Andreas Koksrud" userId="9d9beba6-c052-407a-8599-c781a677a996" providerId="ADAL" clId="{4C89AD2D-B60A-479F-9F95-9D423A06FAEA}" dt="2024-07-02T14:55:07.310" v="18359" actId="478"/>
          <ac:cxnSpMkLst>
            <pc:docMk/>
            <pc:sldMk cId="2327836157" sldId="976"/>
            <ac:cxnSpMk id="5" creationId="{07F643B4-9817-B408-6422-4621DED7357B}"/>
          </ac:cxnSpMkLst>
        </pc:cxnChg>
        <pc:cxnChg chg="del">
          <ac:chgData name="Andreas Koksrud" userId="9d9beba6-c052-407a-8599-c781a677a996" providerId="ADAL" clId="{4C89AD2D-B60A-479F-9F95-9D423A06FAEA}" dt="2024-06-30T17:09:45.133" v="14748" actId="478"/>
          <ac:cxnSpMkLst>
            <pc:docMk/>
            <pc:sldMk cId="2327836157" sldId="976"/>
            <ac:cxnSpMk id="22" creationId="{21009E25-D8DE-E975-55FA-12227386461E}"/>
          </ac:cxnSpMkLst>
        </pc:cxnChg>
      </pc:sldChg>
      <pc:sldChg chg="addSp delSp modSp add del mod ord">
        <pc:chgData name="Andreas Koksrud" userId="9d9beba6-c052-407a-8599-c781a677a996" providerId="ADAL" clId="{4C89AD2D-B60A-479F-9F95-9D423A06FAEA}" dt="2024-07-01T18:47:48.242" v="16851" actId="2696"/>
        <pc:sldMkLst>
          <pc:docMk/>
          <pc:sldMk cId="334905366" sldId="977"/>
        </pc:sldMkLst>
        <pc:spChg chg="mod">
          <ac:chgData name="Andreas Koksrud" userId="9d9beba6-c052-407a-8599-c781a677a996" providerId="ADAL" clId="{4C89AD2D-B60A-479F-9F95-9D423A06FAEA}" dt="2024-07-01T04:59:40.729" v="15716" actId="20577"/>
          <ac:spMkLst>
            <pc:docMk/>
            <pc:sldMk cId="334905366" sldId="977"/>
            <ac:spMk id="2" creationId="{9796E8C1-5924-9DB3-B51B-75296717F89F}"/>
          </ac:spMkLst>
        </pc:spChg>
        <pc:spChg chg="mod">
          <ac:chgData name="Andreas Koksrud" userId="9d9beba6-c052-407a-8599-c781a677a996" providerId="ADAL" clId="{4C89AD2D-B60A-479F-9F95-9D423A06FAEA}" dt="2024-07-01T04:46:32.731" v="15275" actId="20577"/>
          <ac:spMkLst>
            <pc:docMk/>
            <pc:sldMk cId="334905366" sldId="977"/>
            <ac:spMk id="180" creationId="{00000000-0000-0000-0000-000000000000}"/>
          </ac:spMkLst>
        </pc:spChg>
        <pc:picChg chg="del">
          <ac:chgData name="Andreas Koksrud" userId="9d9beba6-c052-407a-8599-c781a677a996" providerId="ADAL" clId="{4C89AD2D-B60A-479F-9F95-9D423A06FAEA}" dt="2024-07-01T04:55:57.853" v="15483" actId="478"/>
          <ac:picMkLst>
            <pc:docMk/>
            <pc:sldMk cId="334905366" sldId="977"/>
            <ac:picMk id="4" creationId="{4A547D6D-809C-115D-7BF6-BE32EA1F17A4}"/>
          </ac:picMkLst>
        </pc:picChg>
        <pc:picChg chg="del">
          <ac:chgData name="Andreas Koksrud" userId="9d9beba6-c052-407a-8599-c781a677a996" providerId="ADAL" clId="{4C89AD2D-B60A-479F-9F95-9D423A06FAEA}" dt="2024-07-01T04:46:52.916" v="15279" actId="478"/>
          <ac:picMkLst>
            <pc:docMk/>
            <pc:sldMk cId="334905366" sldId="977"/>
            <ac:picMk id="5" creationId="{BA0F6610-8D6A-ACFB-0475-F273EB8CF5F9}"/>
          </ac:picMkLst>
        </pc:picChg>
        <pc:picChg chg="del">
          <ac:chgData name="Andreas Koksrud" userId="9d9beba6-c052-407a-8599-c781a677a996" providerId="ADAL" clId="{4C89AD2D-B60A-479F-9F95-9D423A06FAEA}" dt="2024-07-01T04:46:51.880" v="15278" actId="478"/>
          <ac:picMkLst>
            <pc:docMk/>
            <pc:sldMk cId="334905366" sldId="977"/>
            <ac:picMk id="6" creationId="{9E113B21-20FD-72C4-7760-43E1A6BC93F4}"/>
          </ac:picMkLst>
        </pc:picChg>
        <pc:picChg chg="add mod ord modCrop">
          <ac:chgData name="Andreas Koksrud" userId="9d9beba6-c052-407a-8599-c781a677a996" providerId="ADAL" clId="{4C89AD2D-B60A-479F-9F95-9D423A06FAEA}" dt="2024-07-01T04:57:53.438" v="15683" actId="1076"/>
          <ac:picMkLst>
            <pc:docMk/>
            <pc:sldMk cId="334905366" sldId="977"/>
            <ac:picMk id="11" creationId="{DDDAE4F3-5480-7F69-95AD-38D50B393A53}"/>
          </ac:picMkLst>
        </pc:picChg>
        <pc:picChg chg="add del mod">
          <ac:chgData name="Andreas Koksrud" userId="9d9beba6-c052-407a-8599-c781a677a996" providerId="ADAL" clId="{4C89AD2D-B60A-479F-9F95-9D423A06FAEA}" dt="2024-07-01T04:54:07.597" v="15474" actId="478"/>
          <ac:picMkLst>
            <pc:docMk/>
            <pc:sldMk cId="334905366" sldId="977"/>
            <ac:picMk id="14" creationId="{A0E9151A-EEB2-C17C-A924-E32E871867CE}"/>
          </ac:picMkLst>
        </pc:picChg>
        <pc:picChg chg="add mod ord">
          <ac:chgData name="Andreas Koksrud" userId="9d9beba6-c052-407a-8599-c781a677a996" providerId="ADAL" clId="{4C89AD2D-B60A-479F-9F95-9D423A06FAEA}" dt="2024-07-01T04:56:33.759" v="15508" actId="167"/>
          <ac:picMkLst>
            <pc:docMk/>
            <pc:sldMk cId="334905366" sldId="977"/>
            <ac:picMk id="16" creationId="{B16855CB-D3AD-CEEE-24F4-F2F169D6A36B}"/>
          </ac:picMkLst>
        </pc:picChg>
        <pc:picChg chg="del">
          <ac:chgData name="Andreas Koksrud" userId="9d9beba6-c052-407a-8599-c781a677a996" providerId="ADAL" clId="{4C89AD2D-B60A-479F-9F95-9D423A06FAEA}" dt="2024-07-01T04:46:53.628" v="15280" actId="478"/>
          <ac:picMkLst>
            <pc:docMk/>
            <pc:sldMk cId="334905366" sldId="977"/>
            <ac:picMk id="18" creationId="{4909D0B2-92A8-C4D4-AA92-F48B2FB211AC}"/>
          </ac:picMkLst>
        </pc:picChg>
        <pc:picChg chg="add mod ord">
          <ac:chgData name="Andreas Koksrud" userId="9d9beba6-c052-407a-8599-c781a677a996" providerId="ADAL" clId="{4C89AD2D-B60A-479F-9F95-9D423A06FAEA}" dt="2024-07-01T04:56:33.759" v="15508" actId="167"/>
          <ac:picMkLst>
            <pc:docMk/>
            <pc:sldMk cId="334905366" sldId="977"/>
            <ac:picMk id="19" creationId="{226FB763-34A5-DD87-24D9-B4997ACF53FE}"/>
          </ac:picMkLst>
        </pc:picChg>
        <pc:picChg chg="add del mod">
          <ac:chgData name="Andreas Koksrud" userId="9d9beba6-c052-407a-8599-c781a677a996" providerId="ADAL" clId="{4C89AD2D-B60A-479F-9F95-9D423A06FAEA}" dt="2024-07-01T04:56:00.242" v="15484" actId="478"/>
          <ac:picMkLst>
            <pc:docMk/>
            <pc:sldMk cId="334905366" sldId="977"/>
            <ac:picMk id="21" creationId="{7D7E0EC7-D6E4-62D7-2CE8-D7BE2EC3916C}"/>
          </ac:picMkLst>
        </pc:picChg>
        <pc:picChg chg="add mod">
          <ac:chgData name="Andreas Koksrud" userId="9d9beba6-c052-407a-8599-c781a677a996" providerId="ADAL" clId="{4C89AD2D-B60A-479F-9F95-9D423A06FAEA}" dt="2024-07-01T04:58:40.997" v="15687" actId="1076"/>
          <ac:picMkLst>
            <pc:docMk/>
            <pc:sldMk cId="334905366" sldId="977"/>
            <ac:picMk id="26" creationId="{B6C99450-723E-66C4-F41E-238BF94C7664}"/>
          </ac:picMkLst>
        </pc:picChg>
        <pc:picChg chg="add mod">
          <ac:chgData name="Andreas Koksrud" userId="9d9beba6-c052-407a-8599-c781a677a996" providerId="ADAL" clId="{4C89AD2D-B60A-479F-9F95-9D423A06FAEA}" dt="2024-07-01T05:00:37.935" v="15723" actId="1076"/>
          <ac:picMkLst>
            <pc:docMk/>
            <pc:sldMk cId="334905366" sldId="977"/>
            <ac:picMk id="31" creationId="{ECD01651-D94B-18AD-1EE0-EAA009C04AFE}"/>
          </ac:picMkLst>
        </pc:picChg>
        <pc:cxnChg chg="mod ord">
          <ac:chgData name="Andreas Koksrud" userId="9d9beba6-c052-407a-8599-c781a677a996" providerId="ADAL" clId="{4C89AD2D-B60A-479F-9F95-9D423A06FAEA}" dt="2024-07-01T04:56:43.363" v="15510" actId="14100"/>
          <ac:cxnSpMkLst>
            <pc:docMk/>
            <pc:sldMk cId="334905366" sldId="977"/>
            <ac:cxnSpMk id="8" creationId="{87407839-F583-F4F8-6870-7596EB34EDF4}"/>
          </ac:cxnSpMkLst>
        </pc:cxnChg>
        <pc:cxnChg chg="del mod">
          <ac:chgData name="Andreas Koksrud" userId="9d9beba6-c052-407a-8599-c781a677a996" providerId="ADAL" clId="{4C89AD2D-B60A-479F-9F95-9D423A06FAEA}" dt="2024-07-01T04:55:36.828" v="15482" actId="478"/>
          <ac:cxnSpMkLst>
            <pc:docMk/>
            <pc:sldMk cId="334905366" sldId="977"/>
            <ac:cxnSpMk id="10" creationId="{114731E6-C0B6-42E8-0546-511317D59522}"/>
          </ac:cxnSpMkLst>
        </pc:cxnChg>
        <pc:cxnChg chg="add mod">
          <ac:chgData name="Andreas Koksrud" userId="9d9beba6-c052-407a-8599-c781a677a996" providerId="ADAL" clId="{4C89AD2D-B60A-479F-9F95-9D423A06FAEA}" dt="2024-07-01T04:58:03.332" v="15685" actId="14100"/>
          <ac:cxnSpMkLst>
            <pc:docMk/>
            <pc:sldMk cId="334905366" sldId="977"/>
            <ac:cxnSpMk id="23" creationId="{1296C061-24EA-A935-EA3B-E2A68731F95E}"/>
          </ac:cxnSpMkLst>
        </pc:cxnChg>
        <pc:cxnChg chg="add mod">
          <ac:chgData name="Andreas Koksrud" userId="9d9beba6-c052-407a-8599-c781a677a996" providerId="ADAL" clId="{4C89AD2D-B60A-479F-9F95-9D423A06FAEA}" dt="2024-07-01T04:58:51.517" v="15690" actId="14100"/>
          <ac:cxnSpMkLst>
            <pc:docMk/>
            <pc:sldMk cId="334905366" sldId="977"/>
            <ac:cxnSpMk id="27" creationId="{CEE092F4-FAEB-D03A-5B69-19002319BFB8}"/>
          </ac:cxnSpMkLst>
        </pc:cxnChg>
        <pc:cxnChg chg="add mod">
          <ac:chgData name="Andreas Koksrud" userId="9d9beba6-c052-407a-8599-c781a677a996" providerId="ADAL" clId="{4C89AD2D-B60A-479F-9F95-9D423A06FAEA}" dt="2024-07-01T05:00:42.097" v="15724" actId="14100"/>
          <ac:cxnSpMkLst>
            <pc:docMk/>
            <pc:sldMk cId="334905366" sldId="977"/>
            <ac:cxnSpMk id="32" creationId="{8F5533CE-2A64-4905-5455-E21F0F27D567}"/>
          </ac:cxnSpMkLst>
        </pc:cxnChg>
      </pc:sldChg>
      <pc:sldChg chg="addSp delSp modSp add mod">
        <pc:chgData name="Andreas Koksrud" userId="9d9beba6-c052-407a-8599-c781a677a996" providerId="ADAL" clId="{4C89AD2D-B60A-479F-9F95-9D423A06FAEA}" dt="2024-08-03T09:27:12.186" v="35036"/>
        <pc:sldMkLst>
          <pc:docMk/>
          <pc:sldMk cId="520098437" sldId="977"/>
        </pc:sldMkLst>
        <pc:spChg chg="add mod">
          <ac:chgData name="Andreas Koksrud" userId="9d9beba6-c052-407a-8599-c781a677a996" providerId="ADAL" clId="{4C89AD2D-B60A-479F-9F95-9D423A06FAEA}" dt="2024-08-03T09:27:12.186" v="35036"/>
          <ac:spMkLst>
            <pc:docMk/>
            <pc:sldMk cId="520098437" sldId="977"/>
            <ac:spMk id="3" creationId="{6FAF88EC-BADD-6346-742F-7D8068A9990E}"/>
          </ac:spMkLst>
        </pc:spChg>
        <pc:spChg chg="del">
          <ac:chgData name="Andreas Koksrud" userId="9d9beba6-c052-407a-8599-c781a677a996" providerId="ADAL" clId="{4C89AD2D-B60A-479F-9F95-9D423A06FAEA}" dt="2024-08-03T09:27:11.256" v="35035" actId="478"/>
          <ac:spMkLst>
            <pc:docMk/>
            <pc:sldMk cId="520098437" sldId="977"/>
            <ac:spMk id="4" creationId="{5369A19A-49CB-D93F-8D2D-6BC499AEF99D}"/>
          </ac:spMkLst>
        </pc:spChg>
        <pc:spChg chg="del">
          <ac:chgData name="Andreas Koksrud" userId="9d9beba6-c052-407a-8599-c781a677a996" providerId="ADAL" clId="{4C89AD2D-B60A-479F-9F95-9D423A06FAEA}" dt="2024-08-03T09:27:08.420" v="35034" actId="478"/>
          <ac:spMkLst>
            <pc:docMk/>
            <pc:sldMk cId="520098437" sldId="977"/>
            <ac:spMk id="5" creationId="{A45CF392-52EC-1BC9-0C06-4FFAA11528E0}"/>
          </ac:spMkLst>
        </pc:spChg>
        <pc:spChg chg="add mod">
          <ac:chgData name="Andreas Koksrud" userId="9d9beba6-c052-407a-8599-c781a677a996" providerId="ADAL" clId="{4C89AD2D-B60A-479F-9F95-9D423A06FAEA}" dt="2024-08-03T09:27:12.186" v="35036"/>
          <ac:spMkLst>
            <pc:docMk/>
            <pc:sldMk cId="520098437" sldId="977"/>
            <ac:spMk id="6" creationId="{CF7F7F97-9C2F-81B1-DE35-802903A639AC}"/>
          </ac:spMkLst>
        </pc:spChg>
      </pc:sldChg>
      <pc:sldChg chg="addSp delSp modSp add del mod ord">
        <pc:chgData name="Andreas Koksrud" userId="9d9beba6-c052-407a-8599-c781a677a996" providerId="ADAL" clId="{4C89AD2D-B60A-479F-9F95-9D423A06FAEA}" dt="2024-08-03T09:24:05.449" v="34760" actId="2696"/>
        <pc:sldMkLst>
          <pc:docMk/>
          <pc:sldMk cId="724889857" sldId="977"/>
        </pc:sldMkLst>
        <pc:spChg chg="mod ord">
          <ac:chgData name="Andreas Koksrud" userId="9d9beba6-c052-407a-8599-c781a677a996" providerId="ADAL" clId="{4C89AD2D-B60A-479F-9F95-9D423A06FAEA}" dt="2024-07-20T19:11:02.268" v="26172" actId="167"/>
          <ac:spMkLst>
            <pc:docMk/>
            <pc:sldMk cId="724889857" sldId="977"/>
            <ac:spMk id="2" creationId="{9796E8C1-5924-9DB3-B51B-75296717F89F}"/>
          </ac:spMkLst>
        </pc:spChg>
        <pc:spChg chg="del">
          <ac:chgData name="Andreas Koksrud" userId="9d9beba6-c052-407a-8599-c781a677a996" providerId="ADAL" clId="{4C89AD2D-B60A-479F-9F95-9D423A06FAEA}" dt="2024-07-15T20:47:20.887" v="23407" actId="478"/>
          <ac:spMkLst>
            <pc:docMk/>
            <pc:sldMk cId="724889857" sldId="977"/>
            <ac:spMk id="3" creationId="{1A11297B-9D47-93B8-252D-68759FA77E1C}"/>
          </ac:spMkLst>
        </pc:spChg>
        <pc:spChg chg="add mod">
          <ac:chgData name="Andreas Koksrud" userId="9d9beba6-c052-407a-8599-c781a677a996" providerId="ADAL" clId="{4C89AD2D-B60A-479F-9F95-9D423A06FAEA}" dt="2024-07-15T20:47:23.183" v="23409"/>
          <ac:spMkLst>
            <pc:docMk/>
            <pc:sldMk cId="724889857" sldId="977"/>
            <ac:spMk id="4" creationId="{5369A19A-49CB-D93F-8D2D-6BC499AEF99D}"/>
          </ac:spMkLst>
        </pc:spChg>
        <pc:spChg chg="add mod">
          <ac:chgData name="Andreas Koksrud" userId="9d9beba6-c052-407a-8599-c781a677a996" providerId="ADAL" clId="{4C89AD2D-B60A-479F-9F95-9D423A06FAEA}" dt="2024-07-15T20:47:23.183" v="23409"/>
          <ac:spMkLst>
            <pc:docMk/>
            <pc:sldMk cId="724889857" sldId="977"/>
            <ac:spMk id="5" creationId="{A45CF392-52EC-1BC9-0C06-4FFAA11528E0}"/>
          </ac:spMkLst>
        </pc:spChg>
        <pc:spChg chg="del">
          <ac:chgData name="Andreas Koksrud" userId="9d9beba6-c052-407a-8599-c781a677a996" providerId="ADAL" clId="{4C89AD2D-B60A-479F-9F95-9D423A06FAEA}" dt="2024-07-15T20:47:22.244" v="23408" actId="478"/>
          <ac:spMkLst>
            <pc:docMk/>
            <pc:sldMk cId="724889857" sldId="977"/>
            <ac:spMk id="7" creationId="{E2DB7780-0CB7-A551-3EA7-484C310E45AD}"/>
          </ac:spMkLst>
        </pc:spChg>
        <pc:picChg chg="mod">
          <ac:chgData name="Andreas Koksrud" userId="9d9beba6-c052-407a-8599-c781a677a996" providerId="ADAL" clId="{4C89AD2D-B60A-479F-9F95-9D423A06FAEA}" dt="2024-07-20T19:11:05.147" v="26173" actId="14826"/>
          <ac:picMkLst>
            <pc:docMk/>
            <pc:sldMk cId="724889857" sldId="977"/>
            <ac:picMk id="16" creationId="{B16855CB-D3AD-CEEE-24F4-F2F169D6A36B}"/>
          </ac:picMkLst>
        </pc:picChg>
        <pc:picChg chg="del">
          <ac:chgData name="Andreas Koksrud" userId="9d9beba6-c052-407a-8599-c781a677a996" providerId="ADAL" clId="{4C89AD2D-B60A-479F-9F95-9D423A06FAEA}" dt="2024-07-01T18:58:00.784" v="16970" actId="478"/>
          <ac:picMkLst>
            <pc:docMk/>
            <pc:sldMk cId="724889857" sldId="977"/>
            <ac:picMk id="31" creationId="{ECD01651-D94B-18AD-1EE0-EAA009C04AFE}"/>
          </ac:picMkLst>
        </pc:picChg>
        <pc:cxnChg chg="mod">
          <ac:chgData name="Andreas Koksrud" userId="9d9beba6-c052-407a-8599-c781a677a996" providerId="ADAL" clId="{4C89AD2D-B60A-479F-9F95-9D423A06FAEA}" dt="2024-07-01T18:58:17.023" v="16975" actId="14100"/>
          <ac:cxnSpMkLst>
            <pc:docMk/>
            <pc:sldMk cId="724889857" sldId="977"/>
            <ac:cxnSpMk id="27" creationId="{CEE092F4-FAEB-D03A-5B69-19002319BFB8}"/>
          </ac:cxnSpMkLst>
        </pc:cxnChg>
        <pc:cxnChg chg="del">
          <ac:chgData name="Andreas Koksrud" userId="9d9beba6-c052-407a-8599-c781a677a996" providerId="ADAL" clId="{4C89AD2D-B60A-479F-9F95-9D423A06FAEA}" dt="2024-07-01T18:58:02.647" v="16971" actId="478"/>
          <ac:cxnSpMkLst>
            <pc:docMk/>
            <pc:sldMk cId="724889857" sldId="977"/>
            <ac:cxnSpMk id="32" creationId="{8F5533CE-2A64-4905-5455-E21F0F27D567}"/>
          </ac:cxnSpMkLst>
        </pc:cxnChg>
      </pc:sldChg>
      <pc:sldChg chg="delSp modSp add del mod">
        <pc:chgData name="Andreas Koksrud" userId="9d9beba6-c052-407a-8599-c781a677a996" providerId="ADAL" clId="{4C89AD2D-B60A-479F-9F95-9D423A06FAEA}" dt="2024-07-01T18:47:48.242" v="16851" actId="2696"/>
        <pc:sldMkLst>
          <pc:docMk/>
          <pc:sldMk cId="400080082" sldId="978"/>
        </pc:sldMkLst>
        <pc:spChg chg="mod">
          <ac:chgData name="Andreas Koksrud" userId="9d9beba6-c052-407a-8599-c781a677a996" providerId="ADAL" clId="{4C89AD2D-B60A-479F-9F95-9D423A06FAEA}" dt="2024-07-01T05:13:42.664" v="15851" actId="20577"/>
          <ac:spMkLst>
            <pc:docMk/>
            <pc:sldMk cId="400080082" sldId="978"/>
            <ac:spMk id="2" creationId="{9796E8C1-5924-9DB3-B51B-75296717F89F}"/>
          </ac:spMkLst>
        </pc:spChg>
        <pc:picChg chg="del">
          <ac:chgData name="Andreas Koksrud" userId="9d9beba6-c052-407a-8599-c781a677a996" providerId="ADAL" clId="{4C89AD2D-B60A-479F-9F95-9D423A06FAEA}" dt="2024-07-01T05:12:42.042" v="15727" actId="478"/>
          <ac:picMkLst>
            <pc:docMk/>
            <pc:sldMk cId="400080082" sldId="978"/>
            <ac:picMk id="11" creationId="{DDDAE4F3-5480-7F69-95AD-38D50B393A53}"/>
          </ac:picMkLst>
        </pc:picChg>
        <pc:picChg chg="del">
          <ac:chgData name="Andreas Koksrud" userId="9d9beba6-c052-407a-8599-c781a677a996" providerId="ADAL" clId="{4C89AD2D-B60A-479F-9F95-9D423A06FAEA}" dt="2024-07-01T05:12:42.042" v="15727" actId="478"/>
          <ac:picMkLst>
            <pc:docMk/>
            <pc:sldMk cId="400080082" sldId="978"/>
            <ac:picMk id="16" creationId="{B16855CB-D3AD-CEEE-24F4-F2F169D6A36B}"/>
          </ac:picMkLst>
        </pc:picChg>
        <pc:picChg chg="del">
          <ac:chgData name="Andreas Koksrud" userId="9d9beba6-c052-407a-8599-c781a677a996" providerId="ADAL" clId="{4C89AD2D-B60A-479F-9F95-9D423A06FAEA}" dt="2024-07-01T05:12:42.042" v="15727" actId="478"/>
          <ac:picMkLst>
            <pc:docMk/>
            <pc:sldMk cId="400080082" sldId="978"/>
            <ac:picMk id="19" creationId="{226FB763-34A5-DD87-24D9-B4997ACF53FE}"/>
          </ac:picMkLst>
        </pc:picChg>
        <pc:picChg chg="del">
          <ac:chgData name="Andreas Koksrud" userId="9d9beba6-c052-407a-8599-c781a677a996" providerId="ADAL" clId="{4C89AD2D-B60A-479F-9F95-9D423A06FAEA}" dt="2024-07-01T05:12:39.666" v="15726" actId="478"/>
          <ac:picMkLst>
            <pc:docMk/>
            <pc:sldMk cId="400080082" sldId="978"/>
            <ac:picMk id="26" creationId="{B6C99450-723E-66C4-F41E-238BF94C7664}"/>
          </ac:picMkLst>
        </pc:picChg>
        <pc:picChg chg="mod">
          <ac:chgData name="Andreas Koksrud" userId="9d9beba6-c052-407a-8599-c781a677a996" providerId="ADAL" clId="{4C89AD2D-B60A-479F-9F95-9D423A06FAEA}" dt="2024-07-01T05:12:51.368" v="15731" actId="1076"/>
          <ac:picMkLst>
            <pc:docMk/>
            <pc:sldMk cId="400080082" sldId="978"/>
            <ac:picMk id="31" creationId="{ECD01651-D94B-18AD-1EE0-EAA009C04AFE}"/>
          </ac:picMkLst>
        </pc:picChg>
        <pc:cxnChg chg="del">
          <ac:chgData name="Andreas Koksrud" userId="9d9beba6-c052-407a-8599-c781a677a996" providerId="ADAL" clId="{4C89AD2D-B60A-479F-9F95-9D423A06FAEA}" dt="2024-07-01T05:12:42.042" v="15727" actId="478"/>
          <ac:cxnSpMkLst>
            <pc:docMk/>
            <pc:sldMk cId="400080082" sldId="978"/>
            <ac:cxnSpMk id="8" creationId="{87407839-F583-F4F8-6870-7596EB34EDF4}"/>
          </ac:cxnSpMkLst>
        </pc:cxnChg>
        <pc:cxnChg chg="del">
          <ac:chgData name="Andreas Koksrud" userId="9d9beba6-c052-407a-8599-c781a677a996" providerId="ADAL" clId="{4C89AD2D-B60A-479F-9F95-9D423A06FAEA}" dt="2024-07-01T05:12:42.042" v="15727" actId="478"/>
          <ac:cxnSpMkLst>
            <pc:docMk/>
            <pc:sldMk cId="400080082" sldId="978"/>
            <ac:cxnSpMk id="23" creationId="{1296C061-24EA-A935-EA3B-E2A68731F95E}"/>
          </ac:cxnSpMkLst>
        </pc:cxnChg>
        <pc:cxnChg chg="del">
          <ac:chgData name="Andreas Koksrud" userId="9d9beba6-c052-407a-8599-c781a677a996" providerId="ADAL" clId="{4C89AD2D-B60A-479F-9F95-9D423A06FAEA}" dt="2024-07-01T05:12:42.042" v="15727" actId="478"/>
          <ac:cxnSpMkLst>
            <pc:docMk/>
            <pc:sldMk cId="400080082" sldId="978"/>
            <ac:cxnSpMk id="27" creationId="{CEE092F4-FAEB-D03A-5B69-19002319BFB8}"/>
          </ac:cxnSpMkLst>
        </pc:cxnChg>
        <pc:cxnChg chg="del">
          <ac:chgData name="Andreas Koksrud" userId="9d9beba6-c052-407a-8599-c781a677a996" providerId="ADAL" clId="{4C89AD2D-B60A-479F-9F95-9D423A06FAEA}" dt="2024-07-01T05:13:38.146" v="15841" actId="478"/>
          <ac:cxnSpMkLst>
            <pc:docMk/>
            <pc:sldMk cId="400080082" sldId="978"/>
            <ac:cxnSpMk id="32" creationId="{8F5533CE-2A64-4905-5455-E21F0F27D567}"/>
          </ac:cxnSpMkLst>
        </pc:cxnChg>
      </pc:sldChg>
      <pc:sldChg chg="add del ord">
        <pc:chgData name="Andreas Koksrud" userId="9d9beba6-c052-407a-8599-c781a677a996" providerId="ADAL" clId="{4C89AD2D-B60A-479F-9F95-9D423A06FAEA}" dt="2024-07-01T18:57:37.643" v="16967" actId="47"/>
        <pc:sldMkLst>
          <pc:docMk/>
          <pc:sldMk cId="3006150980" sldId="978"/>
        </pc:sldMkLst>
      </pc:sldChg>
      <pc:sldChg chg="addSp delSp modSp add mod">
        <pc:chgData name="Andreas Koksrud" userId="9d9beba6-c052-407a-8599-c781a677a996" providerId="ADAL" clId="{4C89AD2D-B60A-479F-9F95-9D423A06FAEA}" dt="2024-08-04T15:50:28.514" v="36065" actId="790"/>
        <pc:sldMkLst>
          <pc:docMk/>
          <pc:sldMk cId="1090692380" sldId="979"/>
        </pc:sldMkLst>
        <pc:spChg chg="mod">
          <ac:chgData name="Andreas Koksrud" userId="9d9beba6-c052-407a-8599-c781a677a996" providerId="ADAL" clId="{4C89AD2D-B60A-479F-9F95-9D423A06FAEA}" dt="2024-07-01T18:35:47.573" v="16125" actId="20577"/>
          <ac:spMkLst>
            <pc:docMk/>
            <pc:sldMk cId="1090692380" sldId="979"/>
            <ac:spMk id="2" creationId="{092F375E-88F1-2491-C4B4-4FFB2575B3FC}"/>
          </ac:spMkLst>
        </pc:spChg>
        <pc:spChg chg="add mod">
          <ac:chgData name="Andreas Koksrud" userId="9d9beba6-c052-407a-8599-c781a677a996" providerId="ADAL" clId="{4C89AD2D-B60A-479F-9F95-9D423A06FAEA}" dt="2024-08-04T15:50:22.296" v="36064" actId="790"/>
          <ac:spMkLst>
            <pc:docMk/>
            <pc:sldMk cId="1090692380" sldId="979"/>
            <ac:spMk id="3" creationId="{0AB21190-EB15-A051-46E9-CEBD6C7A1F13}"/>
          </ac:spMkLst>
        </pc:spChg>
        <pc:spChg chg="add mod">
          <ac:chgData name="Andreas Koksrud" userId="9d9beba6-c052-407a-8599-c781a677a996" providerId="ADAL" clId="{4C89AD2D-B60A-479F-9F95-9D423A06FAEA}" dt="2024-08-04T15:50:28.514" v="36065" actId="790"/>
          <ac:spMkLst>
            <pc:docMk/>
            <pc:sldMk cId="1090692380" sldId="979"/>
            <ac:spMk id="4" creationId="{7345CD42-B411-4D2A-D01B-8D68EE7AF675}"/>
          </ac:spMkLst>
        </pc:spChg>
        <pc:spChg chg="del">
          <ac:chgData name="Andreas Koksrud" userId="9d9beba6-c052-407a-8599-c781a677a996" providerId="ADAL" clId="{4C89AD2D-B60A-479F-9F95-9D423A06FAEA}" dt="2024-07-01T18:35:54.939" v="16129" actId="478"/>
          <ac:spMkLst>
            <pc:docMk/>
            <pc:sldMk cId="1090692380" sldId="979"/>
            <ac:spMk id="37" creationId="{95B27A29-FE90-9A04-68D9-F0B8445DA3A2}"/>
          </ac:spMkLst>
        </pc:spChg>
        <pc:spChg chg="del">
          <ac:chgData name="Andreas Koksrud" userId="9d9beba6-c052-407a-8599-c781a677a996" providerId="ADAL" clId="{4C89AD2D-B60A-479F-9F95-9D423A06FAEA}" dt="2024-07-01T18:35:56.358" v="16130" actId="478"/>
          <ac:spMkLst>
            <pc:docMk/>
            <pc:sldMk cId="1090692380" sldId="979"/>
            <ac:spMk id="38" creationId="{441691CC-9FA7-3018-1713-2E8E242F570C}"/>
          </ac:spMkLst>
        </pc:spChg>
        <pc:picChg chg="del">
          <ac:chgData name="Andreas Koksrud" userId="9d9beba6-c052-407a-8599-c781a677a996" providerId="ADAL" clId="{4C89AD2D-B60A-479F-9F95-9D423A06FAEA}" dt="2024-07-01T18:36:00.752" v="16133" actId="478"/>
          <ac:picMkLst>
            <pc:docMk/>
            <pc:sldMk cId="1090692380" sldId="979"/>
            <ac:picMk id="12" creationId="{31065A3F-005F-8170-27F1-D666F665FD11}"/>
          </ac:picMkLst>
        </pc:picChg>
        <pc:picChg chg="del">
          <ac:chgData name="Andreas Koksrud" userId="9d9beba6-c052-407a-8599-c781a677a996" providerId="ADAL" clId="{4C89AD2D-B60A-479F-9F95-9D423A06FAEA}" dt="2024-07-01T18:36:02.024" v="16135" actId="478"/>
          <ac:picMkLst>
            <pc:docMk/>
            <pc:sldMk cId="1090692380" sldId="979"/>
            <ac:picMk id="18" creationId="{4D11162B-F2ED-B950-F8DC-ABD52C197FBC}"/>
          </ac:picMkLst>
        </pc:picChg>
        <pc:picChg chg="del">
          <ac:chgData name="Andreas Koksrud" userId="9d9beba6-c052-407a-8599-c781a677a996" providerId="ADAL" clId="{4C89AD2D-B60A-479F-9F95-9D423A06FAEA}" dt="2024-07-01T18:36:00.047" v="16132" actId="478"/>
          <ac:picMkLst>
            <pc:docMk/>
            <pc:sldMk cId="1090692380" sldId="979"/>
            <ac:picMk id="20" creationId="{03539320-1EA0-1DB6-6C9A-0584BD1224BF}"/>
          </ac:picMkLst>
        </pc:picChg>
        <pc:picChg chg="del">
          <ac:chgData name="Andreas Koksrud" userId="9d9beba6-c052-407a-8599-c781a677a996" providerId="ADAL" clId="{4C89AD2D-B60A-479F-9F95-9D423A06FAEA}" dt="2024-07-01T18:36:01.432" v="16134" actId="478"/>
          <ac:picMkLst>
            <pc:docMk/>
            <pc:sldMk cId="1090692380" sldId="979"/>
            <ac:picMk id="32" creationId="{39EB8162-2F1B-8F63-D92A-75E086162C78}"/>
          </ac:picMkLst>
        </pc:picChg>
        <pc:picChg chg="del">
          <ac:chgData name="Andreas Koksrud" userId="9d9beba6-c052-407a-8599-c781a677a996" providerId="ADAL" clId="{4C89AD2D-B60A-479F-9F95-9D423A06FAEA}" dt="2024-07-01T18:35:57.008" v="16131" actId="478"/>
          <ac:picMkLst>
            <pc:docMk/>
            <pc:sldMk cId="1090692380" sldId="979"/>
            <ac:picMk id="34" creationId="{A2F951E7-CAE4-6880-14FD-E358DE19C974}"/>
          </ac:picMkLst>
        </pc:picChg>
        <pc:picChg chg="del">
          <ac:chgData name="Andreas Koksrud" userId="9d9beba6-c052-407a-8599-c781a677a996" providerId="ADAL" clId="{4C89AD2D-B60A-479F-9F95-9D423A06FAEA}" dt="2024-07-01T18:35:52.552" v="16128" actId="478"/>
          <ac:picMkLst>
            <pc:docMk/>
            <pc:sldMk cId="1090692380" sldId="979"/>
            <ac:picMk id="36" creationId="{DEFE8EC0-B755-072C-D4C0-686A131808ED}"/>
          </ac:picMkLst>
        </pc:picChg>
        <pc:picChg chg="del">
          <ac:chgData name="Andreas Koksrud" userId="9d9beba6-c052-407a-8599-c781a677a996" providerId="ADAL" clId="{4C89AD2D-B60A-479F-9F95-9D423A06FAEA}" dt="2024-07-01T18:35:50.398" v="16126" actId="478"/>
          <ac:picMkLst>
            <pc:docMk/>
            <pc:sldMk cId="1090692380" sldId="979"/>
            <ac:picMk id="41" creationId="{997F2965-D0D8-838D-B577-BC557588CDB0}"/>
          </ac:picMkLst>
        </pc:picChg>
        <pc:cxnChg chg="del">
          <ac:chgData name="Andreas Koksrud" userId="9d9beba6-c052-407a-8599-c781a677a996" providerId="ADAL" clId="{4C89AD2D-B60A-479F-9F95-9D423A06FAEA}" dt="2024-07-01T18:35:51.824" v="16127" actId="478"/>
          <ac:cxnSpMkLst>
            <pc:docMk/>
            <pc:sldMk cId="1090692380" sldId="979"/>
            <ac:cxnSpMk id="39" creationId="{6815ECF9-4EC7-69AF-79A8-251036CC0710}"/>
          </ac:cxnSpMkLst>
        </pc:cxnChg>
      </pc:sldChg>
      <pc:sldChg chg="add">
        <pc:chgData name="Andreas Koksrud" userId="9d9beba6-c052-407a-8599-c781a677a996" providerId="ADAL" clId="{4C89AD2D-B60A-479F-9F95-9D423A06FAEA}" dt="2024-07-01T18:47:05.211" v="16767" actId="2890"/>
        <pc:sldMkLst>
          <pc:docMk/>
          <pc:sldMk cId="3623507131" sldId="980"/>
        </pc:sldMkLst>
      </pc:sldChg>
      <pc:sldChg chg="modSp add mod">
        <pc:chgData name="Andreas Koksrud" userId="9d9beba6-c052-407a-8599-c781a677a996" providerId="ADAL" clId="{4C89AD2D-B60A-479F-9F95-9D423A06FAEA}" dt="2024-07-16T13:59:57.242" v="24837" actId="20577"/>
        <pc:sldMkLst>
          <pc:docMk/>
          <pc:sldMk cId="201479614" sldId="981"/>
        </pc:sldMkLst>
        <pc:spChg chg="mod">
          <ac:chgData name="Andreas Koksrud" userId="9d9beba6-c052-407a-8599-c781a677a996" providerId="ADAL" clId="{4C89AD2D-B60A-479F-9F95-9D423A06FAEA}" dt="2024-07-02T13:57:04.605" v="17127" actId="20577"/>
          <ac:spMkLst>
            <pc:docMk/>
            <pc:sldMk cId="201479614" sldId="981"/>
            <ac:spMk id="2" creationId="{8D9AF8E0-ED58-049B-F591-0FAE74AD16DC}"/>
          </ac:spMkLst>
        </pc:spChg>
        <pc:spChg chg="mod">
          <ac:chgData name="Andreas Koksrud" userId="9d9beba6-c052-407a-8599-c781a677a996" providerId="ADAL" clId="{4C89AD2D-B60A-479F-9F95-9D423A06FAEA}" dt="2024-07-02T13:56:49.277" v="17077" actId="20577"/>
          <ac:spMkLst>
            <pc:docMk/>
            <pc:sldMk cId="201479614" sldId="981"/>
            <ac:spMk id="5" creationId="{6FF65290-59AB-6DD3-3EA1-31BF85E26153}"/>
          </ac:spMkLst>
        </pc:spChg>
        <pc:spChg chg="mod">
          <ac:chgData name="Andreas Koksrud" userId="9d9beba6-c052-407a-8599-c781a677a996" providerId="ADAL" clId="{4C89AD2D-B60A-479F-9F95-9D423A06FAEA}" dt="2024-07-16T13:59:57.242" v="24837" actId="20577"/>
          <ac:spMkLst>
            <pc:docMk/>
            <pc:sldMk cId="201479614" sldId="981"/>
            <ac:spMk id="180" creationId="{00000000-0000-0000-0000-000000000000}"/>
          </ac:spMkLst>
        </pc:spChg>
        <pc:spChg chg="mod">
          <ac:chgData name="Andreas Koksrud" userId="9d9beba6-c052-407a-8599-c781a677a996" providerId="ADAL" clId="{4C89AD2D-B60A-479F-9F95-9D423A06FAEA}" dt="2024-07-02T13:56:37.730" v="17062" actId="20577"/>
          <ac:spMkLst>
            <pc:docMk/>
            <pc:sldMk cId="201479614" sldId="981"/>
            <ac:spMk id="181" creationId="{00000000-0000-0000-0000-000000000000}"/>
          </ac:spMkLst>
        </pc:spChg>
      </pc:sldChg>
      <pc:sldChg chg="modSp add mod">
        <pc:chgData name="Andreas Koksrud" userId="9d9beba6-c052-407a-8599-c781a677a996" providerId="ADAL" clId="{4C89AD2D-B60A-479F-9F95-9D423A06FAEA}" dt="2024-07-02T13:58:48.028" v="17303" actId="20577"/>
        <pc:sldMkLst>
          <pc:docMk/>
          <pc:sldMk cId="3258998827" sldId="982"/>
        </pc:sldMkLst>
        <pc:spChg chg="mod">
          <ac:chgData name="Andreas Koksrud" userId="9d9beba6-c052-407a-8599-c781a677a996" providerId="ADAL" clId="{4C89AD2D-B60A-479F-9F95-9D423A06FAEA}" dt="2024-07-02T13:58:05.110" v="17157" actId="20577"/>
          <ac:spMkLst>
            <pc:docMk/>
            <pc:sldMk cId="3258998827" sldId="982"/>
            <ac:spMk id="180" creationId="{00000000-0000-0000-0000-000000000000}"/>
          </ac:spMkLst>
        </pc:spChg>
        <pc:spChg chg="mod">
          <ac:chgData name="Andreas Koksrud" userId="9d9beba6-c052-407a-8599-c781a677a996" providerId="ADAL" clId="{4C89AD2D-B60A-479F-9F95-9D423A06FAEA}" dt="2024-07-02T13:58:48.028" v="17303" actId="20577"/>
          <ac:spMkLst>
            <pc:docMk/>
            <pc:sldMk cId="3258998827" sldId="982"/>
            <ac:spMk id="181" creationId="{00000000-0000-0000-0000-000000000000}"/>
          </ac:spMkLst>
        </pc:spChg>
      </pc:sldChg>
      <pc:sldChg chg="addSp delSp modSp add del mod">
        <pc:chgData name="Andreas Koksrud" userId="9d9beba6-c052-407a-8599-c781a677a996" providerId="ADAL" clId="{4C89AD2D-B60A-479F-9F95-9D423A06FAEA}" dt="2024-08-03T09:24:05.449" v="34760" actId="2696"/>
        <pc:sldMkLst>
          <pc:docMk/>
          <pc:sldMk cId="1929372969" sldId="983"/>
        </pc:sldMkLst>
        <pc:spChg chg="mod">
          <ac:chgData name="Andreas Koksrud" userId="9d9beba6-c052-407a-8599-c781a677a996" providerId="ADAL" clId="{4C89AD2D-B60A-479F-9F95-9D423A06FAEA}" dt="2024-07-02T14:23:49.604" v="17501" actId="1076"/>
          <ac:spMkLst>
            <pc:docMk/>
            <pc:sldMk cId="1929372969" sldId="983"/>
            <ac:spMk id="2" creationId="{9796E8C1-5924-9DB3-B51B-75296717F89F}"/>
          </ac:spMkLst>
        </pc:spChg>
        <pc:spChg chg="add mod ord">
          <ac:chgData name="Andreas Koksrud" userId="9d9beba6-c052-407a-8599-c781a677a996" providerId="ADAL" clId="{4C89AD2D-B60A-479F-9F95-9D423A06FAEA}" dt="2024-07-02T14:29:47.022" v="17503" actId="1076"/>
          <ac:spMkLst>
            <pc:docMk/>
            <pc:sldMk cId="1929372969" sldId="983"/>
            <ac:spMk id="11" creationId="{08ECC5E9-F272-B52F-7825-2A6A702B319F}"/>
          </ac:spMkLst>
        </pc:spChg>
        <pc:spChg chg="add mod ord">
          <ac:chgData name="Andreas Koksrud" userId="9d9beba6-c052-407a-8599-c781a677a996" providerId="ADAL" clId="{4C89AD2D-B60A-479F-9F95-9D423A06FAEA}" dt="2024-07-02T14:29:47.022" v="17503" actId="1076"/>
          <ac:spMkLst>
            <pc:docMk/>
            <pc:sldMk cId="1929372969" sldId="983"/>
            <ac:spMk id="12" creationId="{B9BEE2AB-1F32-F312-1D1B-BA023E774B1C}"/>
          </ac:spMkLst>
        </pc:spChg>
        <pc:spChg chg="add mod ord">
          <ac:chgData name="Andreas Koksrud" userId="9d9beba6-c052-407a-8599-c781a677a996" providerId="ADAL" clId="{4C89AD2D-B60A-479F-9F95-9D423A06FAEA}" dt="2024-07-20T19:12:38.782" v="26181" actId="1035"/>
          <ac:spMkLst>
            <pc:docMk/>
            <pc:sldMk cId="1929372969" sldId="983"/>
            <ac:spMk id="13" creationId="{DD7970DD-F435-60ED-9479-AD4450812ED1}"/>
          </ac:spMkLst>
        </pc:spChg>
        <pc:spChg chg="add del mod">
          <ac:chgData name="Andreas Koksrud" userId="9d9beba6-c052-407a-8599-c781a677a996" providerId="ADAL" clId="{4C89AD2D-B60A-479F-9F95-9D423A06FAEA}" dt="2024-07-02T14:23:44.838" v="17500" actId="478"/>
          <ac:spMkLst>
            <pc:docMk/>
            <pc:sldMk cId="1929372969" sldId="983"/>
            <ac:spMk id="27" creationId="{C9B5DA6E-18D4-42F5-725E-9BBB3D712313}"/>
          </ac:spMkLst>
        </pc:spChg>
        <pc:spChg chg="add mod">
          <ac:chgData name="Andreas Koksrud" userId="9d9beba6-c052-407a-8599-c781a677a996" providerId="ADAL" clId="{4C89AD2D-B60A-479F-9F95-9D423A06FAEA}" dt="2024-07-20T19:14:48.660" v="26360" actId="1076"/>
          <ac:spMkLst>
            <pc:docMk/>
            <pc:sldMk cId="1929372969" sldId="983"/>
            <ac:spMk id="28" creationId="{DCC3A971-0CA0-D21F-8842-39738C4B733C}"/>
          </ac:spMkLst>
        </pc:spChg>
        <pc:spChg chg="add mod">
          <ac:chgData name="Andreas Koksrud" userId="9d9beba6-c052-407a-8599-c781a677a996" providerId="ADAL" clId="{4C89AD2D-B60A-479F-9F95-9D423A06FAEA}" dt="2024-07-20T19:14:54.504" v="26362" actId="1076"/>
          <ac:spMkLst>
            <pc:docMk/>
            <pc:sldMk cId="1929372969" sldId="983"/>
            <ac:spMk id="29" creationId="{A0F16859-2FAB-01FD-D11A-B8A1717AB9E6}"/>
          </ac:spMkLst>
        </pc:spChg>
        <pc:spChg chg="del mod">
          <ac:chgData name="Andreas Koksrud" userId="9d9beba6-c052-407a-8599-c781a677a996" providerId="ADAL" clId="{4C89AD2D-B60A-479F-9F95-9D423A06FAEA}" dt="2024-07-02T14:23:43.308" v="17499" actId="478"/>
          <ac:spMkLst>
            <pc:docMk/>
            <pc:sldMk cId="1929372969" sldId="983"/>
            <ac:spMk id="180" creationId="{00000000-0000-0000-0000-000000000000}"/>
          </ac:spMkLst>
        </pc:spChg>
        <pc:picChg chg="del">
          <ac:chgData name="Andreas Koksrud" userId="9d9beba6-c052-407a-8599-c781a677a996" providerId="ADAL" clId="{4C89AD2D-B60A-479F-9F95-9D423A06FAEA}" dt="2024-07-02T14:16:23.690" v="17320" actId="478"/>
          <ac:picMkLst>
            <pc:docMk/>
            <pc:sldMk cId="1929372969" sldId="983"/>
            <ac:picMk id="4" creationId="{EE49B416-6D45-D9BB-9236-660E9EFE010E}"/>
          </ac:picMkLst>
        </pc:picChg>
        <pc:picChg chg="del">
          <ac:chgData name="Andreas Koksrud" userId="9d9beba6-c052-407a-8599-c781a677a996" providerId="ADAL" clId="{4C89AD2D-B60A-479F-9F95-9D423A06FAEA}" dt="2024-07-02T14:17:44.846" v="17464" actId="478"/>
          <ac:picMkLst>
            <pc:docMk/>
            <pc:sldMk cId="1929372969" sldId="983"/>
            <ac:picMk id="8" creationId="{C7A1E34A-DBAC-F62C-35CA-F9EE01DFEBE8}"/>
          </ac:picMkLst>
        </pc:picChg>
        <pc:picChg chg="add del mod ord">
          <ac:chgData name="Andreas Koksrud" userId="9d9beba6-c052-407a-8599-c781a677a996" providerId="ADAL" clId="{4C89AD2D-B60A-479F-9F95-9D423A06FAEA}" dt="2024-07-02T14:22:07.188" v="17494" actId="478"/>
          <ac:picMkLst>
            <pc:docMk/>
            <pc:sldMk cId="1929372969" sldId="983"/>
            <ac:picMk id="9" creationId="{E1CD3E30-F913-8D8B-B99D-33BC07ABD128}"/>
          </ac:picMkLst>
        </pc:picChg>
        <pc:picChg chg="del">
          <ac:chgData name="Andreas Koksrud" userId="9d9beba6-c052-407a-8599-c781a677a996" providerId="ADAL" clId="{4C89AD2D-B60A-479F-9F95-9D423A06FAEA}" dt="2024-07-02T14:17:20.100" v="17445" actId="478"/>
          <ac:picMkLst>
            <pc:docMk/>
            <pc:sldMk cId="1929372969" sldId="983"/>
            <ac:picMk id="15" creationId="{1BF73C7B-00A5-0A7B-F9E4-3746C6B79854}"/>
          </ac:picMkLst>
        </pc:picChg>
        <pc:picChg chg="add mod modCrop">
          <ac:chgData name="Andreas Koksrud" userId="9d9beba6-c052-407a-8599-c781a677a996" providerId="ADAL" clId="{4C89AD2D-B60A-479F-9F95-9D423A06FAEA}" dt="2024-07-20T19:15:46.179" v="26368" actId="1076"/>
          <ac:picMkLst>
            <pc:docMk/>
            <pc:sldMk cId="1929372969" sldId="983"/>
            <ac:picMk id="16" creationId="{FA4A8BF7-86E7-CADA-56C9-6C61A18A9E5A}"/>
          </ac:picMkLst>
        </pc:picChg>
        <pc:picChg chg="add del mod">
          <ac:chgData name="Andreas Koksrud" userId="9d9beba6-c052-407a-8599-c781a677a996" providerId="ADAL" clId="{4C89AD2D-B60A-479F-9F95-9D423A06FAEA}" dt="2024-07-02T14:21:52.959" v="17491" actId="478"/>
          <ac:picMkLst>
            <pc:docMk/>
            <pc:sldMk cId="1929372969" sldId="983"/>
            <ac:picMk id="22" creationId="{BE4BF1DB-A1EE-E722-4491-F386F79A7666}"/>
          </ac:picMkLst>
        </pc:picChg>
        <pc:picChg chg="add mod ord">
          <ac:chgData name="Andreas Koksrud" userId="9d9beba6-c052-407a-8599-c781a677a996" providerId="ADAL" clId="{4C89AD2D-B60A-479F-9F95-9D423A06FAEA}" dt="2024-07-20T19:12:33.898" v="26174" actId="14826"/>
          <ac:picMkLst>
            <pc:docMk/>
            <pc:sldMk cId="1929372969" sldId="983"/>
            <ac:picMk id="24" creationId="{EFB4012B-4844-0459-FDD6-4151322CFE59}"/>
          </ac:picMkLst>
        </pc:picChg>
        <pc:cxnChg chg="mod">
          <ac:chgData name="Andreas Koksrud" userId="9d9beba6-c052-407a-8599-c781a677a996" providerId="ADAL" clId="{4C89AD2D-B60A-479F-9F95-9D423A06FAEA}" dt="2024-07-02T14:29:47.022" v="17503" actId="1076"/>
          <ac:cxnSpMkLst>
            <pc:docMk/>
            <pc:sldMk cId="1929372969" sldId="983"/>
            <ac:cxnSpMk id="5" creationId="{99EDF0DF-3AE9-13BB-D977-80F04527045E}"/>
          </ac:cxnSpMkLst>
        </pc:cxnChg>
        <pc:cxnChg chg="del">
          <ac:chgData name="Andreas Koksrud" userId="9d9beba6-c052-407a-8599-c781a677a996" providerId="ADAL" clId="{4C89AD2D-B60A-479F-9F95-9D423A06FAEA}" dt="2024-07-02T14:17:47.525" v="17466" actId="478"/>
          <ac:cxnSpMkLst>
            <pc:docMk/>
            <pc:sldMk cId="1929372969" sldId="983"/>
            <ac:cxnSpMk id="10" creationId="{23C6121A-FF67-1F42-432D-FEA6E5431A44}"/>
          </ac:cxnSpMkLst>
        </pc:cxnChg>
        <pc:cxnChg chg="del">
          <ac:chgData name="Andreas Koksrud" userId="9d9beba6-c052-407a-8599-c781a677a996" providerId="ADAL" clId="{4C89AD2D-B60A-479F-9F95-9D423A06FAEA}" dt="2024-07-02T14:17:46.456" v="17465" actId="478"/>
          <ac:cxnSpMkLst>
            <pc:docMk/>
            <pc:sldMk cId="1929372969" sldId="983"/>
            <ac:cxnSpMk id="16" creationId="{7EFC93E0-25A6-B0B4-FB10-D2643CD67A77}"/>
          </ac:cxnSpMkLst>
        </pc:cxnChg>
        <pc:cxnChg chg="add mod">
          <ac:chgData name="Andreas Koksrud" userId="9d9beba6-c052-407a-8599-c781a677a996" providerId="ADAL" clId="{4C89AD2D-B60A-479F-9F95-9D423A06FAEA}" dt="2024-07-20T19:12:43.272" v="26182" actId="14100"/>
          <ac:cxnSpMkLst>
            <pc:docMk/>
            <pc:sldMk cId="1929372969" sldId="983"/>
            <ac:cxnSpMk id="17" creationId="{F994F638-5F12-9B02-1073-08A90570FCE7}"/>
          </ac:cxnSpMkLst>
        </pc:cxnChg>
        <pc:cxnChg chg="add mod">
          <ac:chgData name="Andreas Koksrud" userId="9d9beba6-c052-407a-8599-c781a677a996" providerId="ADAL" clId="{4C89AD2D-B60A-479F-9F95-9D423A06FAEA}" dt="2024-07-20T19:16:01.302" v="26370" actId="14100"/>
          <ac:cxnSpMkLst>
            <pc:docMk/>
            <pc:sldMk cId="1929372969" sldId="983"/>
            <ac:cxnSpMk id="18" creationId="{1DB16162-56AD-0644-3168-E10F055A3896}"/>
          </ac:cxnSpMkLst>
        </pc:cxnChg>
        <pc:cxnChg chg="add mod">
          <ac:chgData name="Andreas Koksrud" userId="9d9beba6-c052-407a-8599-c781a677a996" providerId="ADAL" clId="{4C89AD2D-B60A-479F-9F95-9D423A06FAEA}" dt="2024-07-20T19:12:51.074" v="26183" actId="14100"/>
          <ac:cxnSpMkLst>
            <pc:docMk/>
            <pc:sldMk cId="1929372969" sldId="983"/>
            <ac:cxnSpMk id="19" creationId="{94D2A1A9-C9DA-8E00-2250-56FF710F9E20}"/>
          </ac:cxnSpMkLst>
        </pc:cxnChg>
        <pc:cxnChg chg="add mod">
          <ac:chgData name="Andreas Koksrud" userId="9d9beba6-c052-407a-8599-c781a677a996" providerId="ADAL" clId="{4C89AD2D-B60A-479F-9F95-9D423A06FAEA}" dt="2024-07-20T19:14:45.284" v="26359" actId="14100"/>
          <ac:cxnSpMkLst>
            <pc:docMk/>
            <pc:sldMk cId="1929372969" sldId="983"/>
            <ac:cxnSpMk id="30" creationId="{7E767183-2953-BF4E-ADA2-72D40E2B119F}"/>
          </ac:cxnSpMkLst>
        </pc:cxnChg>
        <pc:cxnChg chg="add mod">
          <ac:chgData name="Andreas Koksrud" userId="9d9beba6-c052-407a-8599-c781a677a996" providerId="ADAL" clId="{4C89AD2D-B60A-479F-9F95-9D423A06FAEA}" dt="2024-07-20T19:16:13.681" v="26374" actId="14100"/>
          <ac:cxnSpMkLst>
            <pc:docMk/>
            <pc:sldMk cId="1929372969" sldId="983"/>
            <ac:cxnSpMk id="32" creationId="{7000CBB5-772F-F9F7-C5C3-3EE79A64244A}"/>
          </ac:cxnSpMkLst>
        </pc:cxnChg>
      </pc:sldChg>
      <pc:sldChg chg="addSp delSp modSp add mod">
        <pc:chgData name="Andreas Koksrud" userId="9d9beba6-c052-407a-8599-c781a677a996" providerId="ADAL" clId="{4C89AD2D-B60A-479F-9F95-9D423A06FAEA}" dt="2024-08-03T09:27:25.141" v="35045"/>
        <pc:sldMkLst>
          <pc:docMk/>
          <pc:sldMk cId="2763641771" sldId="983"/>
        </pc:sldMkLst>
        <pc:spChg chg="del">
          <ac:chgData name="Andreas Koksrud" userId="9d9beba6-c052-407a-8599-c781a677a996" providerId="ADAL" clId="{4C89AD2D-B60A-479F-9F95-9D423A06FAEA}" dt="2024-08-03T09:27:24.410" v="35044" actId="478"/>
          <ac:spMkLst>
            <pc:docMk/>
            <pc:sldMk cId="2763641771" sldId="983"/>
            <ac:spMk id="3" creationId="{D716D84C-92F8-0D97-658B-D580A9E686C2}"/>
          </ac:spMkLst>
        </pc:spChg>
        <pc:spChg chg="add mod">
          <ac:chgData name="Andreas Koksrud" userId="9d9beba6-c052-407a-8599-c781a677a996" providerId="ADAL" clId="{4C89AD2D-B60A-479F-9F95-9D423A06FAEA}" dt="2024-08-03T09:27:25.141" v="35045"/>
          <ac:spMkLst>
            <pc:docMk/>
            <pc:sldMk cId="2763641771" sldId="983"/>
            <ac:spMk id="4" creationId="{8FBAA27B-4E6D-5353-9582-2B1D98BE05E0}"/>
          </ac:spMkLst>
        </pc:spChg>
        <pc:spChg chg="del">
          <ac:chgData name="Andreas Koksrud" userId="9d9beba6-c052-407a-8599-c781a677a996" providerId="ADAL" clId="{4C89AD2D-B60A-479F-9F95-9D423A06FAEA}" dt="2024-08-03T09:27:23.610" v="35043" actId="478"/>
          <ac:spMkLst>
            <pc:docMk/>
            <pc:sldMk cId="2763641771" sldId="983"/>
            <ac:spMk id="6" creationId="{F79AC7D6-9707-FA3C-4181-45142247410B}"/>
          </ac:spMkLst>
        </pc:spChg>
        <pc:spChg chg="add mod">
          <ac:chgData name="Andreas Koksrud" userId="9d9beba6-c052-407a-8599-c781a677a996" providerId="ADAL" clId="{4C89AD2D-B60A-479F-9F95-9D423A06FAEA}" dt="2024-08-03T09:27:25.141" v="35045"/>
          <ac:spMkLst>
            <pc:docMk/>
            <pc:sldMk cId="2763641771" sldId="983"/>
            <ac:spMk id="7" creationId="{D2C947CF-B6EB-7B40-A245-11A2432E05C3}"/>
          </ac:spMkLst>
        </pc:spChg>
      </pc:sldChg>
      <pc:sldChg chg="addSp delSp modSp add mod">
        <pc:chgData name="Andreas Koksrud" userId="9d9beba6-c052-407a-8599-c781a677a996" providerId="ADAL" clId="{4C89AD2D-B60A-479F-9F95-9D423A06FAEA}" dt="2024-08-03T09:27:37.307" v="35049"/>
        <pc:sldMkLst>
          <pc:docMk/>
          <pc:sldMk cId="29582" sldId="984"/>
        </pc:sldMkLst>
        <pc:spChg chg="del">
          <ac:chgData name="Andreas Koksrud" userId="9d9beba6-c052-407a-8599-c781a677a996" providerId="ADAL" clId="{4C89AD2D-B60A-479F-9F95-9D423A06FAEA}" dt="2024-08-03T09:27:36.464" v="35048" actId="478"/>
          <ac:spMkLst>
            <pc:docMk/>
            <pc:sldMk cId="29582" sldId="984"/>
            <ac:spMk id="3" creationId="{D716D84C-92F8-0D97-658B-D580A9E686C2}"/>
          </ac:spMkLst>
        </pc:spChg>
        <pc:spChg chg="add mod">
          <ac:chgData name="Andreas Koksrud" userId="9d9beba6-c052-407a-8599-c781a677a996" providerId="ADAL" clId="{4C89AD2D-B60A-479F-9F95-9D423A06FAEA}" dt="2024-08-03T09:27:37.307" v="35049"/>
          <ac:spMkLst>
            <pc:docMk/>
            <pc:sldMk cId="29582" sldId="984"/>
            <ac:spMk id="4" creationId="{E4966BA8-6DBF-4EAA-4EE7-B7353A2504DA}"/>
          </ac:spMkLst>
        </pc:spChg>
        <pc:spChg chg="add mod">
          <ac:chgData name="Andreas Koksrud" userId="9d9beba6-c052-407a-8599-c781a677a996" providerId="ADAL" clId="{4C89AD2D-B60A-479F-9F95-9D423A06FAEA}" dt="2024-08-03T09:27:37.307" v="35049"/>
          <ac:spMkLst>
            <pc:docMk/>
            <pc:sldMk cId="29582" sldId="984"/>
            <ac:spMk id="5" creationId="{9455CF74-42D1-AD16-1F0F-70A933B9FDB3}"/>
          </ac:spMkLst>
        </pc:spChg>
        <pc:spChg chg="del mod">
          <ac:chgData name="Andreas Koksrud" userId="9d9beba6-c052-407a-8599-c781a677a996" providerId="ADAL" clId="{4C89AD2D-B60A-479F-9F95-9D423A06FAEA}" dt="2024-08-03T09:27:35.049" v="35047" actId="478"/>
          <ac:spMkLst>
            <pc:docMk/>
            <pc:sldMk cId="29582" sldId="984"/>
            <ac:spMk id="6" creationId="{F79AC7D6-9707-FA3C-4181-45142247410B}"/>
          </ac:spMkLst>
        </pc:spChg>
      </pc:sldChg>
      <pc:sldChg chg="addSp delSp modSp add del mod">
        <pc:chgData name="Andreas Koksrud" userId="9d9beba6-c052-407a-8599-c781a677a996" providerId="ADAL" clId="{4C89AD2D-B60A-479F-9F95-9D423A06FAEA}" dt="2024-08-03T09:24:05.449" v="34760" actId="2696"/>
        <pc:sldMkLst>
          <pc:docMk/>
          <pc:sldMk cId="933648768" sldId="984"/>
        </pc:sldMkLst>
        <pc:spChg chg="mod">
          <ac:chgData name="Andreas Koksrud" userId="9d9beba6-c052-407a-8599-c781a677a996" providerId="ADAL" clId="{4C89AD2D-B60A-479F-9F95-9D423A06FAEA}" dt="2024-07-02T14:35:39.610" v="17974" actId="20577"/>
          <ac:spMkLst>
            <pc:docMk/>
            <pc:sldMk cId="933648768" sldId="984"/>
            <ac:spMk id="2" creationId="{9796E8C1-5924-9DB3-B51B-75296717F89F}"/>
          </ac:spMkLst>
        </pc:spChg>
        <pc:spChg chg="del">
          <ac:chgData name="Andreas Koksrud" userId="9d9beba6-c052-407a-8599-c781a677a996" providerId="ADAL" clId="{4C89AD2D-B60A-479F-9F95-9D423A06FAEA}" dt="2024-07-02T14:36:02.612" v="17976" actId="478"/>
          <ac:spMkLst>
            <pc:docMk/>
            <pc:sldMk cId="933648768" sldId="984"/>
            <ac:spMk id="11" creationId="{08ECC5E9-F272-B52F-7825-2A6A702B319F}"/>
          </ac:spMkLst>
        </pc:spChg>
        <pc:spChg chg="del">
          <ac:chgData name="Andreas Koksrud" userId="9d9beba6-c052-407a-8599-c781a677a996" providerId="ADAL" clId="{4C89AD2D-B60A-479F-9F95-9D423A06FAEA}" dt="2024-07-02T14:36:02.612" v="17976" actId="478"/>
          <ac:spMkLst>
            <pc:docMk/>
            <pc:sldMk cId="933648768" sldId="984"/>
            <ac:spMk id="12" creationId="{B9BEE2AB-1F32-F312-1D1B-BA023E774B1C}"/>
          </ac:spMkLst>
        </pc:spChg>
        <pc:spChg chg="del">
          <ac:chgData name="Andreas Koksrud" userId="9d9beba6-c052-407a-8599-c781a677a996" providerId="ADAL" clId="{4C89AD2D-B60A-479F-9F95-9D423A06FAEA}" dt="2024-07-02T14:36:02.612" v="17976" actId="478"/>
          <ac:spMkLst>
            <pc:docMk/>
            <pc:sldMk cId="933648768" sldId="984"/>
            <ac:spMk id="13" creationId="{DD7970DD-F435-60ED-9479-AD4450812ED1}"/>
          </ac:spMkLst>
        </pc:spChg>
        <pc:spChg chg="del">
          <ac:chgData name="Andreas Koksrud" userId="9d9beba6-c052-407a-8599-c781a677a996" providerId="ADAL" clId="{4C89AD2D-B60A-479F-9F95-9D423A06FAEA}" dt="2024-07-02T14:36:04.706" v="17977" actId="478"/>
          <ac:spMkLst>
            <pc:docMk/>
            <pc:sldMk cId="933648768" sldId="984"/>
            <ac:spMk id="28" creationId="{DCC3A971-0CA0-D21F-8842-39738C4B733C}"/>
          </ac:spMkLst>
        </pc:spChg>
        <pc:spChg chg="del">
          <ac:chgData name="Andreas Koksrud" userId="9d9beba6-c052-407a-8599-c781a677a996" providerId="ADAL" clId="{4C89AD2D-B60A-479F-9F95-9D423A06FAEA}" dt="2024-07-02T14:36:06.836" v="17978" actId="478"/>
          <ac:spMkLst>
            <pc:docMk/>
            <pc:sldMk cId="933648768" sldId="984"/>
            <ac:spMk id="29" creationId="{A0F16859-2FAB-01FD-D11A-B8A1717AB9E6}"/>
          </ac:spMkLst>
        </pc:spChg>
        <pc:picChg chg="add mod">
          <ac:chgData name="Andreas Koksrud" userId="9d9beba6-c052-407a-8599-c781a677a996" providerId="ADAL" clId="{4C89AD2D-B60A-479F-9F95-9D423A06FAEA}" dt="2024-07-02T14:39:46.950" v="17982" actId="1076"/>
          <ac:picMkLst>
            <pc:docMk/>
            <pc:sldMk cId="933648768" sldId="984"/>
            <ac:picMk id="7" creationId="{50264CB1-7B07-3D62-C9C5-B4760B2398B4}"/>
          </ac:picMkLst>
        </pc:picChg>
        <pc:picChg chg="del mod">
          <ac:chgData name="Andreas Koksrud" userId="9d9beba6-c052-407a-8599-c781a677a996" providerId="ADAL" clId="{4C89AD2D-B60A-479F-9F95-9D423A06FAEA}" dt="2024-07-02T14:36:00.529" v="17975" actId="478"/>
          <ac:picMkLst>
            <pc:docMk/>
            <pc:sldMk cId="933648768" sldId="984"/>
            <ac:picMk id="24" creationId="{EFB4012B-4844-0459-FDD6-4151322CFE59}"/>
          </ac:picMkLst>
        </pc:picChg>
        <pc:cxnChg chg="del">
          <ac:chgData name="Andreas Koksrud" userId="9d9beba6-c052-407a-8599-c781a677a996" providerId="ADAL" clId="{4C89AD2D-B60A-479F-9F95-9D423A06FAEA}" dt="2024-07-02T14:36:02.612" v="17976" actId="478"/>
          <ac:cxnSpMkLst>
            <pc:docMk/>
            <pc:sldMk cId="933648768" sldId="984"/>
            <ac:cxnSpMk id="5" creationId="{99EDF0DF-3AE9-13BB-D977-80F04527045E}"/>
          </ac:cxnSpMkLst>
        </pc:cxnChg>
        <pc:cxnChg chg="add mod">
          <ac:chgData name="Andreas Koksrud" userId="9d9beba6-c052-407a-8599-c781a677a996" providerId="ADAL" clId="{4C89AD2D-B60A-479F-9F95-9D423A06FAEA}" dt="2024-07-02T14:39:54.125" v="17984" actId="14100"/>
          <ac:cxnSpMkLst>
            <pc:docMk/>
            <pc:sldMk cId="933648768" sldId="984"/>
            <ac:cxnSpMk id="8" creationId="{77270D5C-063D-B1F6-4F3B-48C7E839B928}"/>
          </ac:cxnSpMkLst>
        </pc:cxnChg>
        <pc:cxnChg chg="del">
          <ac:chgData name="Andreas Koksrud" userId="9d9beba6-c052-407a-8599-c781a677a996" providerId="ADAL" clId="{4C89AD2D-B60A-479F-9F95-9D423A06FAEA}" dt="2024-07-02T14:36:02.612" v="17976" actId="478"/>
          <ac:cxnSpMkLst>
            <pc:docMk/>
            <pc:sldMk cId="933648768" sldId="984"/>
            <ac:cxnSpMk id="17" creationId="{F994F638-5F12-9B02-1073-08A90570FCE7}"/>
          </ac:cxnSpMkLst>
        </pc:cxnChg>
        <pc:cxnChg chg="del">
          <ac:chgData name="Andreas Koksrud" userId="9d9beba6-c052-407a-8599-c781a677a996" providerId="ADAL" clId="{4C89AD2D-B60A-479F-9F95-9D423A06FAEA}" dt="2024-07-02T14:36:02.612" v="17976" actId="478"/>
          <ac:cxnSpMkLst>
            <pc:docMk/>
            <pc:sldMk cId="933648768" sldId="984"/>
            <ac:cxnSpMk id="19" creationId="{94D2A1A9-C9DA-8E00-2250-56FF710F9E20}"/>
          </ac:cxnSpMkLst>
        </pc:cxnChg>
        <pc:cxnChg chg="del">
          <ac:chgData name="Andreas Koksrud" userId="9d9beba6-c052-407a-8599-c781a677a996" providerId="ADAL" clId="{4C89AD2D-B60A-479F-9F95-9D423A06FAEA}" dt="2024-07-02T14:36:04.706" v="17977" actId="478"/>
          <ac:cxnSpMkLst>
            <pc:docMk/>
            <pc:sldMk cId="933648768" sldId="984"/>
            <ac:cxnSpMk id="30" creationId="{7E767183-2953-BF4E-ADA2-72D40E2B119F}"/>
          </ac:cxnSpMkLst>
        </pc:cxnChg>
        <pc:cxnChg chg="del">
          <ac:chgData name="Andreas Koksrud" userId="9d9beba6-c052-407a-8599-c781a677a996" providerId="ADAL" clId="{4C89AD2D-B60A-479F-9F95-9D423A06FAEA}" dt="2024-07-02T14:36:04.706" v="17977" actId="478"/>
          <ac:cxnSpMkLst>
            <pc:docMk/>
            <pc:sldMk cId="933648768" sldId="984"/>
            <ac:cxnSpMk id="32" creationId="{7000CBB5-772F-F9F7-C5C3-3EE79A64244A}"/>
          </ac:cxnSpMkLst>
        </pc:cxnChg>
      </pc:sldChg>
      <pc:sldChg chg="addSp delSp modSp add mod">
        <pc:chgData name="Andreas Koksrud" userId="9d9beba6-c052-407a-8599-c781a677a996" providerId="ADAL" clId="{4C89AD2D-B60A-479F-9F95-9D423A06FAEA}" dt="2024-07-02T15:15:28.556" v="18601"/>
        <pc:sldMkLst>
          <pc:docMk/>
          <pc:sldMk cId="2373732333" sldId="985"/>
        </pc:sldMkLst>
        <pc:spChg chg="mod">
          <ac:chgData name="Andreas Koksrud" userId="9d9beba6-c052-407a-8599-c781a677a996" providerId="ADAL" clId="{4C89AD2D-B60A-479F-9F95-9D423A06FAEA}" dt="2024-07-02T14:56:56.083" v="18568" actId="20577"/>
          <ac:spMkLst>
            <pc:docMk/>
            <pc:sldMk cId="2373732333" sldId="985"/>
            <ac:spMk id="2" creationId="{9796E8C1-5924-9DB3-B51B-75296717F89F}"/>
          </ac:spMkLst>
        </pc:spChg>
        <pc:spChg chg="mod">
          <ac:chgData name="Andreas Koksrud" userId="9d9beba6-c052-407a-8599-c781a677a996" providerId="ADAL" clId="{4C89AD2D-B60A-479F-9F95-9D423A06FAEA}" dt="2024-07-02T15:15:28.556" v="18601"/>
          <ac:spMkLst>
            <pc:docMk/>
            <pc:sldMk cId="2373732333" sldId="985"/>
            <ac:spMk id="3" creationId="{5FE68121-81AE-F2E5-DCD9-C328BBA3F909}"/>
          </ac:spMkLst>
        </pc:spChg>
        <pc:spChg chg="mod">
          <ac:chgData name="Andreas Koksrud" userId="9d9beba6-c052-407a-8599-c781a677a996" providerId="ADAL" clId="{4C89AD2D-B60A-479F-9F95-9D423A06FAEA}" dt="2024-07-02T15:15:20.123" v="18600"/>
          <ac:spMkLst>
            <pc:docMk/>
            <pc:sldMk cId="2373732333" sldId="985"/>
            <ac:spMk id="4" creationId="{E53BC320-EB76-AACD-B492-E0CEFD69F83A}"/>
          </ac:spMkLst>
        </pc:spChg>
        <pc:spChg chg="mod">
          <ac:chgData name="Andreas Koksrud" userId="9d9beba6-c052-407a-8599-c781a677a996" providerId="ADAL" clId="{4C89AD2D-B60A-479F-9F95-9D423A06FAEA}" dt="2024-07-02T14:55:32.143" v="18379" actId="20577"/>
          <ac:spMkLst>
            <pc:docMk/>
            <pc:sldMk cId="2373732333" sldId="985"/>
            <ac:spMk id="180" creationId="{00000000-0000-0000-0000-000000000000}"/>
          </ac:spMkLst>
        </pc:spChg>
        <pc:picChg chg="add mod">
          <ac:chgData name="Andreas Koksrud" userId="9d9beba6-c052-407a-8599-c781a677a996" providerId="ADAL" clId="{4C89AD2D-B60A-479F-9F95-9D423A06FAEA}" dt="2024-07-02T14:57:23.534" v="18570" actId="1076"/>
          <ac:picMkLst>
            <pc:docMk/>
            <pc:sldMk cId="2373732333" sldId="985"/>
            <ac:picMk id="6" creationId="{04E65978-1008-7A95-E700-4C9A7AAF775C}"/>
          </ac:picMkLst>
        </pc:picChg>
        <pc:picChg chg="del">
          <ac:chgData name="Andreas Koksrud" userId="9d9beba6-c052-407a-8599-c781a677a996" providerId="ADAL" clId="{4C89AD2D-B60A-479F-9F95-9D423A06FAEA}" dt="2024-07-02T14:55:47.703" v="18430" actId="478"/>
          <ac:picMkLst>
            <pc:docMk/>
            <pc:sldMk cId="2373732333" sldId="985"/>
            <ac:picMk id="10" creationId="{89AD7208-33E1-786F-68C4-B07CE69D9B90}"/>
          </ac:picMkLst>
        </pc:picChg>
        <pc:picChg chg="del">
          <ac:chgData name="Andreas Koksrud" userId="9d9beba6-c052-407a-8599-c781a677a996" providerId="ADAL" clId="{4C89AD2D-B60A-479F-9F95-9D423A06FAEA}" dt="2024-07-02T14:55:48.484" v="18431" actId="478"/>
          <ac:picMkLst>
            <pc:docMk/>
            <pc:sldMk cId="2373732333" sldId="985"/>
            <ac:picMk id="13" creationId="{64C063CB-5F33-4B77-965C-B90C6AE27B39}"/>
          </ac:picMkLst>
        </pc:picChg>
        <pc:cxnChg chg="del">
          <ac:chgData name="Andreas Koksrud" userId="9d9beba6-c052-407a-8599-c781a677a996" providerId="ADAL" clId="{4C89AD2D-B60A-479F-9F95-9D423A06FAEA}" dt="2024-07-02T14:55:49.933" v="18432" actId="478"/>
          <ac:cxnSpMkLst>
            <pc:docMk/>
            <pc:sldMk cId="2373732333" sldId="985"/>
            <ac:cxnSpMk id="14" creationId="{EBD79003-BA5F-9EC4-AB1E-B169474A75BA}"/>
          </ac:cxnSpMkLst>
        </pc:cxnChg>
      </pc:sldChg>
      <pc:sldChg chg="addSp modSp add mod">
        <pc:chgData name="Andreas Koksrud" userId="9d9beba6-c052-407a-8599-c781a677a996" providerId="ADAL" clId="{4C89AD2D-B60A-479F-9F95-9D423A06FAEA}" dt="2024-07-13T21:46:18.768" v="21483" actId="255"/>
        <pc:sldMkLst>
          <pc:docMk/>
          <pc:sldMk cId="3094626849" sldId="986"/>
        </pc:sldMkLst>
        <pc:spChg chg="mod">
          <ac:chgData name="Andreas Koksrud" userId="9d9beba6-c052-407a-8599-c781a677a996" providerId="ADAL" clId="{4C89AD2D-B60A-479F-9F95-9D423A06FAEA}" dt="2024-07-13T21:42:00.368" v="21435" actId="404"/>
          <ac:spMkLst>
            <pc:docMk/>
            <pc:sldMk cId="3094626849" sldId="986"/>
            <ac:spMk id="2" creationId="{8D9AF8E0-ED58-049B-F591-0FAE74AD16DC}"/>
          </ac:spMkLst>
        </pc:spChg>
        <pc:spChg chg="mod">
          <ac:chgData name="Andreas Koksrud" userId="9d9beba6-c052-407a-8599-c781a677a996" providerId="ADAL" clId="{4C89AD2D-B60A-479F-9F95-9D423A06FAEA}" dt="2024-07-13T21:41:48.612" v="21433" actId="20577"/>
          <ac:spMkLst>
            <pc:docMk/>
            <pc:sldMk cId="3094626849" sldId="986"/>
            <ac:spMk id="5" creationId="{6FF65290-59AB-6DD3-3EA1-31BF85E26153}"/>
          </ac:spMkLst>
        </pc:spChg>
        <pc:spChg chg="add mod">
          <ac:chgData name="Andreas Koksrud" userId="9d9beba6-c052-407a-8599-c781a677a996" providerId="ADAL" clId="{4C89AD2D-B60A-479F-9F95-9D423A06FAEA}" dt="2024-07-13T21:46:18.768" v="21483" actId="255"/>
          <ac:spMkLst>
            <pc:docMk/>
            <pc:sldMk cId="3094626849" sldId="986"/>
            <ac:spMk id="6" creationId="{5C6587C5-D11C-661C-90C2-76F3FED824FB}"/>
          </ac:spMkLst>
        </pc:spChg>
        <pc:spChg chg="add mod">
          <ac:chgData name="Andreas Koksrud" userId="9d9beba6-c052-407a-8599-c781a677a996" providerId="ADAL" clId="{4C89AD2D-B60A-479F-9F95-9D423A06FAEA}" dt="2024-07-13T21:46:05.990" v="21479" actId="20577"/>
          <ac:spMkLst>
            <pc:docMk/>
            <pc:sldMk cId="3094626849" sldId="986"/>
            <ac:spMk id="7" creationId="{09295E3C-2A09-2FBA-E4DF-E7529346477C}"/>
          </ac:spMkLst>
        </pc:spChg>
        <pc:spChg chg="mod">
          <ac:chgData name="Andreas Koksrud" userId="9d9beba6-c052-407a-8599-c781a677a996" providerId="ADAL" clId="{4C89AD2D-B60A-479F-9F95-9D423A06FAEA}" dt="2024-07-13T21:24:37.953" v="20803" actId="20577"/>
          <ac:spMkLst>
            <pc:docMk/>
            <pc:sldMk cId="3094626849" sldId="986"/>
            <ac:spMk id="180" creationId="{00000000-0000-0000-0000-000000000000}"/>
          </ac:spMkLst>
        </pc:spChg>
        <pc:spChg chg="mod">
          <ac:chgData name="Andreas Koksrud" userId="9d9beba6-c052-407a-8599-c781a677a996" providerId="ADAL" clId="{4C89AD2D-B60A-479F-9F95-9D423A06FAEA}" dt="2024-07-13T21:42:21.986" v="21459" actId="20577"/>
          <ac:spMkLst>
            <pc:docMk/>
            <pc:sldMk cId="3094626849" sldId="986"/>
            <ac:spMk id="181" creationId="{00000000-0000-0000-0000-000000000000}"/>
          </ac:spMkLst>
        </pc:spChg>
      </pc:sldChg>
      <pc:sldChg chg="addSp modSp add mod">
        <pc:chgData name="Andreas Koksrud" userId="9d9beba6-c052-407a-8599-c781a677a996" providerId="ADAL" clId="{4C89AD2D-B60A-479F-9F95-9D423A06FAEA}" dt="2024-07-13T21:33:43.274" v="21392" actId="13926"/>
        <pc:sldMkLst>
          <pc:docMk/>
          <pc:sldMk cId="1120336581" sldId="987"/>
        </pc:sldMkLst>
        <pc:spChg chg="mod">
          <ac:chgData name="Andreas Koksrud" userId="9d9beba6-c052-407a-8599-c781a677a996" providerId="ADAL" clId="{4C89AD2D-B60A-479F-9F95-9D423A06FAEA}" dt="2024-07-13T21:31:00.654" v="21351"/>
          <ac:spMkLst>
            <pc:docMk/>
            <pc:sldMk cId="1120336581" sldId="987"/>
            <ac:spMk id="2" creationId="{8D9AF8E0-ED58-049B-F591-0FAE74AD16DC}"/>
          </ac:spMkLst>
        </pc:spChg>
        <pc:spChg chg="mod">
          <ac:chgData name="Andreas Koksrud" userId="9d9beba6-c052-407a-8599-c781a677a996" providerId="ADAL" clId="{4C89AD2D-B60A-479F-9F95-9D423A06FAEA}" dt="2024-07-13T21:29:52.079" v="21350" actId="14100"/>
          <ac:spMkLst>
            <pc:docMk/>
            <pc:sldMk cId="1120336581" sldId="987"/>
            <ac:spMk id="5" creationId="{6FF65290-59AB-6DD3-3EA1-31BF85E26153}"/>
          </ac:spMkLst>
        </pc:spChg>
        <pc:spChg chg="add mod">
          <ac:chgData name="Andreas Koksrud" userId="9d9beba6-c052-407a-8599-c781a677a996" providerId="ADAL" clId="{4C89AD2D-B60A-479F-9F95-9D423A06FAEA}" dt="2024-07-13T21:32:10.708" v="21355" actId="404"/>
          <ac:spMkLst>
            <pc:docMk/>
            <pc:sldMk cId="1120336581" sldId="987"/>
            <ac:spMk id="6" creationId="{A284A32E-D6B6-8EFB-17F9-2990ABA20C35}"/>
          </ac:spMkLst>
        </pc:spChg>
        <pc:spChg chg="add mod">
          <ac:chgData name="Andreas Koksrud" userId="9d9beba6-c052-407a-8599-c781a677a996" providerId="ADAL" clId="{4C89AD2D-B60A-479F-9F95-9D423A06FAEA}" dt="2024-07-13T21:32:22.678" v="21378" actId="20577"/>
          <ac:spMkLst>
            <pc:docMk/>
            <pc:sldMk cId="1120336581" sldId="987"/>
            <ac:spMk id="7" creationId="{D1C3C8F3-9C8D-AA61-4C59-8029E0C8DF43}"/>
          </ac:spMkLst>
        </pc:spChg>
        <pc:spChg chg="mod">
          <ac:chgData name="Andreas Koksrud" userId="9d9beba6-c052-407a-8599-c781a677a996" providerId="ADAL" clId="{4C89AD2D-B60A-479F-9F95-9D423A06FAEA}" dt="2024-07-13T21:27:19.765" v="20991" actId="20577"/>
          <ac:spMkLst>
            <pc:docMk/>
            <pc:sldMk cId="1120336581" sldId="987"/>
            <ac:spMk id="180" creationId="{00000000-0000-0000-0000-000000000000}"/>
          </ac:spMkLst>
        </pc:spChg>
        <pc:spChg chg="mod">
          <ac:chgData name="Andreas Koksrud" userId="9d9beba6-c052-407a-8599-c781a677a996" providerId="ADAL" clId="{4C89AD2D-B60A-479F-9F95-9D423A06FAEA}" dt="2024-07-13T21:33:43.274" v="21392" actId="13926"/>
          <ac:spMkLst>
            <pc:docMk/>
            <pc:sldMk cId="1120336581" sldId="987"/>
            <ac:spMk id="181" creationId="{00000000-0000-0000-0000-000000000000}"/>
          </ac:spMkLst>
        </pc:spChg>
      </pc:sldChg>
      <pc:sldChg chg="modSp add mod ord">
        <pc:chgData name="Andreas Koksrud" userId="9d9beba6-c052-407a-8599-c781a677a996" providerId="ADAL" clId="{4C89AD2D-B60A-479F-9F95-9D423A06FAEA}" dt="2024-08-03T09:30:45.767" v="35098" actId="6549"/>
        <pc:sldMkLst>
          <pc:docMk/>
          <pc:sldMk cId="2633229105" sldId="988"/>
        </pc:sldMkLst>
        <pc:spChg chg="mod">
          <ac:chgData name="Andreas Koksrud" userId="9d9beba6-c052-407a-8599-c781a677a996" providerId="ADAL" clId="{4C89AD2D-B60A-479F-9F95-9D423A06FAEA}" dt="2024-07-15T20:48:12.761" v="23470" actId="20577"/>
          <ac:spMkLst>
            <pc:docMk/>
            <pc:sldMk cId="2633229105" sldId="988"/>
            <ac:spMk id="4" creationId="{6D5A99BA-E2FE-FBF1-0ABF-DEC72FED1C6A}"/>
          </ac:spMkLst>
        </pc:spChg>
        <pc:spChg chg="mod">
          <ac:chgData name="Andreas Koksrud" userId="9d9beba6-c052-407a-8599-c781a677a996" providerId="ADAL" clId="{4C89AD2D-B60A-479F-9F95-9D423A06FAEA}" dt="2024-07-15T20:48:22.153" v="23500" actId="20577"/>
          <ac:spMkLst>
            <pc:docMk/>
            <pc:sldMk cId="2633229105" sldId="988"/>
            <ac:spMk id="180" creationId="{00000000-0000-0000-0000-000000000000}"/>
          </ac:spMkLst>
        </pc:spChg>
        <pc:spChg chg="mod">
          <ac:chgData name="Andreas Koksrud" userId="9d9beba6-c052-407a-8599-c781a677a996" providerId="ADAL" clId="{4C89AD2D-B60A-479F-9F95-9D423A06FAEA}" dt="2024-08-03T09:30:45.767" v="35098" actId="6549"/>
          <ac:spMkLst>
            <pc:docMk/>
            <pc:sldMk cId="2633229105" sldId="988"/>
            <ac:spMk id="181" creationId="{00000000-0000-0000-0000-000000000000}"/>
          </ac:spMkLst>
        </pc:spChg>
      </pc:sldChg>
      <pc:sldChg chg="addSp modSp add mod">
        <pc:chgData name="Andreas Koksrud" userId="9d9beba6-c052-407a-8599-c781a677a996" providerId="ADAL" clId="{4C89AD2D-B60A-479F-9F95-9D423A06FAEA}" dt="2024-07-16T14:05:00.326" v="25103" actId="1076"/>
        <pc:sldMkLst>
          <pc:docMk/>
          <pc:sldMk cId="2858715144" sldId="989"/>
        </pc:sldMkLst>
        <pc:spChg chg="mod">
          <ac:chgData name="Andreas Koksrud" userId="9d9beba6-c052-407a-8599-c781a677a996" providerId="ADAL" clId="{4C89AD2D-B60A-479F-9F95-9D423A06FAEA}" dt="2024-07-16T14:03:53.051" v="25060" actId="20577"/>
          <ac:spMkLst>
            <pc:docMk/>
            <pc:sldMk cId="2858715144" sldId="989"/>
            <ac:spMk id="5" creationId="{6FF65290-59AB-6DD3-3EA1-31BF85E26153}"/>
          </ac:spMkLst>
        </pc:spChg>
        <pc:spChg chg="add mod">
          <ac:chgData name="Andreas Koksrud" userId="9d9beba6-c052-407a-8599-c781a677a996" providerId="ADAL" clId="{4C89AD2D-B60A-479F-9F95-9D423A06FAEA}" dt="2024-07-16T14:03:59.538" v="25061" actId="571"/>
          <ac:spMkLst>
            <pc:docMk/>
            <pc:sldMk cId="2858715144" sldId="989"/>
            <ac:spMk id="6" creationId="{1862D493-66B2-EDB8-2D6F-2AFE9D103CD7}"/>
          </ac:spMkLst>
        </pc:spChg>
        <pc:spChg chg="add mod">
          <ac:chgData name="Andreas Koksrud" userId="9d9beba6-c052-407a-8599-c781a677a996" providerId="ADAL" clId="{4C89AD2D-B60A-479F-9F95-9D423A06FAEA}" dt="2024-07-16T14:04:04.355" v="25074" actId="20577"/>
          <ac:spMkLst>
            <pc:docMk/>
            <pc:sldMk cId="2858715144" sldId="989"/>
            <ac:spMk id="7" creationId="{6372AB75-E59F-98C2-C54D-561832D88990}"/>
          </ac:spMkLst>
        </pc:spChg>
        <pc:spChg chg="mod">
          <ac:chgData name="Andreas Koksrud" userId="9d9beba6-c052-407a-8599-c781a677a996" providerId="ADAL" clId="{4C89AD2D-B60A-479F-9F95-9D423A06FAEA}" dt="2024-07-16T14:03:42.311" v="25034" actId="6549"/>
          <ac:spMkLst>
            <pc:docMk/>
            <pc:sldMk cId="2858715144" sldId="989"/>
            <ac:spMk id="180" creationId="{00000000-0000-0000-0000-000000000000}"/>
          </ac:spMkLst>
        </pc:spChg>
        <pc:spChg chg="mod">
          <ac:chgData name="Andreas Koksrud" userId="9d9beba6-c052-407a-8599-c781a677a996" providerId="ADAL" clId="{4C89AD2D-B60A-479F-9F95-9D423A06FAEA}" dt="2024-07-16T14:04:15.772" v="25101" actId="20577"/>
          <ac:spMkLst>
            <pc:docMk/>
            <pc:sldMk cId="2858715144" sldId="989"/>
            <ac:spMk id="181" creationId="{00000000-0000-0000-0000-000000000000}"/>
          </ac:spMkLst>
        </pc:spChg>
        <pc:picChg chg="add mod">
          <ac:chgData name="Andreas Koksrud" userId="9d9beba6-c052-407a-8599-c781a677a996" providerId="ADAL" clId="{4C89AD2D-B60A-479F-9F95-9D423A06FAEA}" dt="2024-07-16T14:05:00.326" v="25103" actId="1076"/>
          <ac:picMkLst>
            <pc:docMk/>
            <pc:sldMk cId="2858715144" sldId="989"/>
            <ac:picMk id="9" creationId="{40DFFF7A-EBA7-1203-CE7B-482EACEAF8A4}"/>
          </ac:picMkLst>
        </pc:picChg>
      </pc:sldChg>
      <pc:sldChg chg="modSp add mod">
        <pc:chgData name="Andreas Koksrud" userId="9d9beba6-c052-407a-8599-c781a677a996" providerId="ADAL" clId="{4C89AD2D-B60A-479F-9F95-9D423A06FAEA}" dt="2024-07-16T13:59:46.186" v="24808" actId="20577"/>
        <pc:sldMkLst>
          <pc:docMk/>
          <pc:sldMk cId="1472919352" sldId="990"/>
        </pc:sldMkLst>
        <pc:spChg chg="mod">
          <ac:chgData name="Andreas Koksrud" userId="9d9beba6-c052-407a-8599-c781a677a996" providerId="ADAL" clId="{4C89AD2D-B60A-479F-9F95-9D423A06FAEA}" dt="2024-07-16T13:59:46.186" v="24808" actId="20577"/>
          <ac:spMkLst>
            <pc:docMk/>
            <pc:sldMk cId="1472919352" sldId="990"/>
            <ac:spMk id="180" creationId="{00000000-0000-0000-0000-000000000000}"/>
          </ac:spMkLst>
        </pc:spChg>
      </pc:sldChg>
      <pc:sldChg chg="addSp delSp modSp add mod">
        <pc:chgData name="Andreas Koksrud" userId="9d9beba6-c052-407a-8599-c781a677a996" providerId="ADAL" clId="{4C89AD2D-B60A-479F-9F95-9D423A06FAEA}" dt="2024-08-04T16:18:14.926" v="36651" actId="6549"/>
        <pc:sldMkLst>
          <pc:docMk/>
          <pc:sldMk cId="1776970496" sldId="991"/>
        </pc:sldMkLst>
        <pc:spChg chg="add del mod">
          <ac:chgData name="Andreas Koksrud" userId="9d9beba6-c052-407a-8599-c781a677a996" providerId="ADAL" clId="{4C89AD2D-B60A-479F-9F95-9D423A06FAEA}" dt="2024-07-16T14:34:28.409" v="25526" actId="478"/>
          <ac:spMkLst>
            <pc:docMk/>
            <pc:sldMk cId="1776970496" sldId="991"/>
            <ac:spMk id="5" creationId="{AE972852-34D4-4DD2-028D-0685ACDDBB82}"/>
          </ac:spMkLst>
        </pc:spChg>
        <pc:spChg chg="mod">
          <ac:chgData name="Andreas Koksrud" userId="9d9beba6-c052-407a-8599-c781a677a996" providerId="ADAL" clId="{4C89AD2D-B60A-479F-9F95-9D423A06FAEA}" dt="2024-08-04T16:18:14.926" v="36651" actId="6549"/>
          <ac:spMkLst>
            <pc:docMk/>
            <pc:sldMk cId="1776970496" sldId="991"/>
            <ac:spMk id="180" creationId="{00000000-0000-0000-0000-000000000000}"/>
          </ac:spMkLst>
        </pc:spChg>
        <pc:spChg chg="del">
          <ac:chgData name="Andreas Koksrud" userId="9d9beba6-c052-407a-8599-c781a677a996" providerId="ADAL" clId="{4C89AD2D-B60A-479F-9F95-9D423A06FAEA}" dt="2024-07-16T14:34:26.026" v="25525" actId="478"/>
          <ac:spMkLst>
            <pc:docMk/>
            <pc:sldMk cId="1776970496" sldId="991"/>
            <ac:spMk id="181" creationId="{00000000-0000-0000-0000-000000000000}"/>
          </ac:spMkLst>
        </pc:spChg>
        <pc:picChg chg="add mod">
          <ac:chgData name="Andreas Koksrud" userId="9d9beba6-c052-407a-8599-c781a677a996" providerId="ADAL" clId="{4C89AD2D-B60A-479F-9F95-9D423A06FAEA}" dt="2024-07-16T19:25:14.239" v="25574" actId="1076"/>
          <ac:picMkLst>
            <pc:docMk/>
            <pc:sldMk cId="1776970496" sldId="991"/>
            <ac:picMk id="7" creationId="{91833619-A476-327D-88DA-9475C1F98D1C}"/>
          </ac:picMkLst>
        </pc:picChg>
      </pc:sldChg>
      <pc:sldChg chg="addSp modSp add mod">
        <pc:chgData name="Andreas Koksrud" userId="9d9beba6-c052-407a-8599-c781a677a996" providerId="ADAL" clId="{4C89AD2D-B60A-479F-9F95-9D423A06FAEA}" dt="2024-07-16T14:37:52.129" v="25571" actId="14100"/>
        <pc:sldMkLst>
          <pc:docMk/>
          <pc:sldMk cId="3392338419" sldId="992"/>
        </pc:sldMkLst>
        <pc:spChg chg="mod">
          <ac:chgData name="Andreas Koksrud" userId="9d9beba6-c052-407a-8599-c781a677a996" providerId="ADAL" clId="{4C89AD2D-B60A-479F-9F95-9D423A06FAEA}" dt="2024-07-16T14:34:39.132" v="25538" actId="20577"/>
          <ac:spMkLst>
            <pc:docMk/>
            <pc:sldMk cId="3392338419" sldId="992"/>
            <ac:spMk id="180" creationId="{00000000-0000-0000-0000-000000000000}"/>
          </ac:spMkLst>
        </pc:spChg>
        <pc:picChg chg="add mod">
          <ac:chgData name="Andreas Koksrud" userId="9d9beba6-c052-407a-8599-c781a677a996" providerId="ADAL" clId="{4C89AD2D-B60A-479F-9F95-9D423A06FAEA}" dt="2024-07-16T14:37:52.129" v="25571" actId="14100"/>
          <ac:picMkLst>
            <pc:docMk/>
            <pc:sldMk cId="3392338419" sldId="992"/>
            <ac:picMk id="5" creationId="{890C43C2-0C1E-2AD4-0E89-60FEB2D6D985}"/>
          </ac:picMkLst>
        </pc:picChg>
      </pc:sldChg>
      <pc:sldChg chg="addSp modSp add mod">
        <pc:chgData name="Andreas Koksrud" userId="9d9beba6-c052-407a-8599-c781a677a996" providerId="ADAL" clId="{4C89AD2D-B60A-479F-9F95-9D423A06FAEA}" dt="2024-07-16T14:36:06.137" v="25567" actId="1076"/>
        <pc:sldMkLst>
          <pc:docMk/>
          <pc:sldMk cId="3849634961" sldId="993"/>
        </pc:sldMkLst>
        <pc:spChg chg="mod">
          <ac:chgData name="Andreas Koksrud" userId="9d9beba6-c052-407a-8599-c781a677a996" providerId="ADAL" clId="{4C89AD2D-B60A-479F-9F95-9D423A06FAEA}" dt="2024-07-16T14:34:49.882" v="25564" actId="20577"/>
          <ac:spMkLst>
            <pc:docMk/>
            <pc:sldMk cId="3849634961" sldId="993"/>
            <ac:spMk id="180" creationId="{00000000-0000-0000-0000-000000000000}"/>
          </ac:spMkLst>
        </pc:spChg>
        <pc:picChg chg="add mod">
          <ac:chgData name="Andreas Koksrud" userId="9d9beba6-c052-407a-8599-c781a677a996" providerId="ADAL" clId="{4C89AD2D-B60A-479F-9F95-9D423A06FAEA}" dt="2024-07-16T14:36:06.137" v="25567" actId="1076"/>
          <ac:picMkLst>
            <pc:docMk/>
            <pc:sldMk cId="3849634961" sldId="993"/>
            <ac:picMk id="5" creationId="{B319825E-FFD7-7D6B-8E09-964106608A80}"/>
          </ac:picMkLst>
        </pc:picChg>
      </pc:sldChg>
      <pc:sldChg chg="addSp delSp modSp add mod">
        <pc:chgData name="Andreas Koksrud" userId="9d9beba6-c052-407a-8599-c781a677a996" providerId="ADAL" clId="{4C89AD2D-B60A-479F-9F95-9D423A06FAEA}" dt="2024-07-17T13:58:59.868" v="25829" actId="14100"/>
        <pc:sldMkLst>
          <pc:docMk/>
          <pc:sldMk cId="3249461836" sldId="994"/>
        </pc:sldMkLst>
        <pc:spChg chg="add del mod">
          <ac:chgData name="Andreas Koksrud" userId="9d9beba6-c052-407a-8599-c781a677a996" providerId="ADAL" clId="{4C89AD2D-B60A-479F-9F95-9D423A06FAEA}" dt="2024-07-17T13:38:11.930" v="25788" actId="478"/>
          <ac:spMkLst>
            <pc:docMk/>
            <pc:sldMk cId="3249461836" sldId="994"/>
            <ac:spMk id="5" creationId="{B788543F-F273-2A78-E8BE-244C6CDD120F}"/>
          </ac:spMkLst>
        </pc:spChg>
        <pc:spChg chg="mod">
          <ac:chgData name="Andreas Koksrud" userId="9d9beba6-c052-407a-8599-c781a677a996" providerId="ADAL" clId="{4C89AD2D-B60A-479F-9F95-9D423A06FAEA}" dt="2024-07-17T13:37:49.485" v="25750" actId="20577"/>
          <ac:spMkLst>
            <pc:docMk/>
            <pc:sldMk cId="3249461836" sldId="994"/>
            <ac:spMk id="180" creationId="{00000000-0000-0000-0000-000000000000}"/>
          </ac:spMkLst>
        </pc:spChg>
        <pc:spChg chg="del">
          <ac:chgData name="Andreas Koksrud" userId="9d9beba6-c052-407a-8599-c781a677a996" providerId="ADAL" clId="{4C89AD2D-B60A-479F-9F95-9D423A06FAEA}" dt="2024-07-17T13:38:09.500" v="25787" actId="478"/>
          <ac:spMkLst>
            <pc:docMk/>
            <pc:sldMk cId="3249461836" sldId="994"/>
            <ac:spMk id="181" creationId="{00000000-0000-0000-0000-000000000000}"/>
          </ac:spMkLst>
        </pc:spChg>
        <pc:picChg chg="add mod">
          <ac:chgData name="Andreas Koksrud" userId="9d9beba6-c052-407a-8599-c781a677a996" providerId="ADAL" clId="{4C89AD2D-B60A-479F-9F95-9D423A06FAEA}" dt="2024-07-17T13:38:34.508" v="25790" actId="1076"/>
          <ac:picMkLst>
            <pc:docMk/>
            <pc:sldMk cId="3249461836" sldId="994"/>
            <ac:picMk id="7" creationId="{49BCFA56-C595-405B-D07A-1AC760A79995}"/>
          </ac:picMkLst>
        </pc:picChg>
        <pc:picChg chg="add mod">
          <ac:chgData name="Andreas Koksrud" userId="9d9beba6-c052-407a-8599-c781a677a996" providerId="ADAL" clId="{4C89AD2D-B60A-479F-9F95-9D423A06FAEA}" dt="2024-07-17T13:39:05.432" v="25793" actId="1076"/>
          <ac:picMkLst>
            <pc:docMk/>
            <pc:sldMk cId="3249461836" sldId="994"/>
            <ac:picMk id="9" creationId="{777C13A7-538E-EE89-5A23-9FDDABBA193F}"/>
          </ac:picMkLst>
        </pc:picChg>
        <pc:picChg chg="add mod">
          <ac:chgData name="Andreas Koksrud" userId="9d9beba6-c052-407a-8599-c781a677a996" providerId="ADAL" clId="{4C89AD2D-B60A-479F-9F95-9D423A06FAEA}" dt="2024-07-17T13:48:29.575" v="25798" actId="1076"/>
          <ac:picMkLst>
            <pc:docMk/>
            <pc:sldMk cId="3249461836" sldId="994"/>
            <ac:picMk id="11" creationId="{4A0B84DF-B065-8FAF-2AE8-0ABADDB89BAA}"/>
          </ac:picMkLst>
        </pc:picChg>
        <pc:picChg chg="add mod">
          <ac:chgData name="Andreas Koksrud" userId="9d9beba6-c052-407a-8599-c781a677a996" providerId="ADAL" clId="{4C89AD2D-B60A-479F-9F95-9D423A06FAEA}" dt="2024-07-17T13:58:41.922" v="25808" actId="1076"/>
          <ac:picMkLst>
            <pc:docMk/>
            <pc:sldMk cId="3249461836" sldId="994"/>
            <ac:picMk id="18" creationId="{73155E44-CB80-5100-9BCB-18F39E2E999D}"/>
          </ac:picMkLst>
        </pc:picChg>
        <pc:cxnChg chg="add mod">
          <ac:chgData name="Andreas Koksrud" userId="9d9beba6-c052-407a-8599-c781a677a996" providerId="ADAL" clId="{4C89AD2D-B60A-479F-9F95-9D423A06FAEA}" dt="2024-07-17T13:48:49.486" v="25801" actId="14100"/>
          <ac:cxnSpMkLst>
            <pc:docMk/>
            <pc:sldMk cId="3249461836" sldId="994"/>
            <ac:cxnSpMk id="12" creationId="{99AE8916-9758-29C7-A907-AEB8A135DAFC}"/>
          </ac:cxnSpMkLst>
        </pc:cxnChg>
        <pc:cxnChg chg="add mod">
          <ac:chgData name="Andreas Koksrud" userId="9d9beba6-c052-407a-8599-c781a677a996" providerId="ADAL" clId="{4C89AD2D-B60A-479F-9F95-9D423A06FAEA}" dt="2024-07-17T13:48:57.343" v="25804" actId="14100"/>
          <ac:cxnSpMkLst>
            <pc:docMk/>
            <pc:sldMk cId="3249461836" sldId="994"/>
            <ac:cxnSpMk id="14" creationId="{0AE26C64-5652-C940-267A-AC37D6743272}"/>
          </ac:cxnSpMkLst>
        </pc:cxnChg>
        <pc:cxnChg chg="add mod">
          <ac:chgData name="Andreas Koksrud" userId="9d9beba6-c052-407a-8599-c781a677a996" providerId="ADAL" clId="{4C89AD2D-B60A-479F-9F95-9D423A06FAEA}" dt="2024-07-17T13:58:59.868" v="25829" actId="14100"/>
          <ac:cxnSpMkLst>
            <pc:docMk/>
            <pc:sldMk cId="3249461836" sldId="994"/>
            <ac:cxnSpMk id="19" creationId="{6FCF9A0D-203B-2D9B-06A2-37AC4F81F677}"/>
          </ac:cxnSpMkLst>
        </pc:cxnChg>
      </pc:sldChg>
      <pc:sldChg chg="addSp delSp modSp add mod">
        <pc:chgData name="Andreas Koksrud" userId="9d9beba6-c052-407a-8599-c781a677a996" providerId="ADAL" clId="{4C89AD2D-B60A-479F-9F95-9D423A06FAEA}" dt="2024-08-04T16:29:41.428" v="37114" actId="167"/>
        <pc:sldMkLst>
          <pc:docMk/>
          <pc:sldMk cId="1236723272" sldId="995"/>
        </pc:sldMkLst>
        <pc:spChg chg="add del mod">
          <ac:chgData name="Andreas Koksrud" userId="9d9beba6-c052-407a-8599-c781a677a996" providerId="ADAL" clId="{4C89AD2D-B60A-479F-9F95-9D423A06FAEA}" dt="2024-07-17T13:59:15.452" v="25834" actId="478"/>
          <ac:spMkLst>
            <pc:docMk/>
            <pc:sldMk cId="1236723272" sldId="995"/>
            <ac:spMk id="5" creationId="{F1ECBE37-5110-345A-A3C0-FA6404DA82CF}"/>
          </ac:spMkLst>
        </pc:spChg>
        <pc:spChg chg="add mod">
          <ac:chgData name="Andreas Koksrud" userId="9d9beba6-c052-407a-8599-c781a677a996" providerId="ADAL" clId="{4C89AD2D-B60A-479F-9F95-9D423A06FAEA}" dt="2024-07-17T14:00:38.775" v="25841" actId="208"/>
          <ac:spMkLst>
            <pc:docMk/>
            <pc:sldMk cId="1236723272" sldId="995"/>
            <ac:spMk id="10" creationId="{77ED7EAE-5FE2-B0F2-32A7-0268EE010298}"/>
          </ac:spMkLst>
        </pc:spChg>
        <pc:spChg chg="add mod">
          <ac:chgData name="Andreas Koksrud" userId="9d9beba6-c052-407a-8599-c781a677a996" providerId="ADAL" clId="{4C89AD2D-B60A-479F-9F95-9D423A06FAEA}" dt="2024-07-17T14:00:45.854" v="25843" actId="14100"/>
          <ac:spMkLst>
            <pc:docMk/>
            <pc:sldMk cId="1236723272" sldId="995"/>
            <ac:spMk id="11" creationId="{3E8336CD-028F-9C8F-2BFF-11BEFF8B2D0B}"/>
          </ac:spMkLst>
        </pc:spChg>
        <pc:spChg chg="add mod">
          <ac:chgData name="Andreas Koksrud" userId="9d9beba6-c052-407a-8599-c781a677a996" providerId="ADAL" clId="{4C89AD2D-B60A-479F-9F95-9D423A06FAEA}" dt="2024-07-17T14:03:55.850" v="25855" actId="571"/>
          <ac:spMkLst>
            <pc:docMk/>
            <pc:sldMk cId="1236723272" sldId="995"/>
            <ac:spMk id="21" creationId="{2F9A712B-EA00-B16A-78E5-582E38C430FF}"/>
          </ac:spMkLst>
        </pc:spChg>
        <pc:spChg chg="add mod ord">
          <ac:chgData name="Andreas Koksrud" userId="9d9beba6-c052-407a-8599-c781a677a996" providerId="ADAL" clId="{4C89AD2D-B60A-479F-9F95-9D423A06FAEA}" dt="2024-08-04T16:29:41.428" v="37114" actId="167"/>
          <ac:spMkLst>
            <pc:docMk/>
            <pc:sldMk cId="1236723272" sldId="995"/>
            <ac:spMk id="22" creationId="{F01BE91C-44DB-2060-582F-FD0F5B78ACA7}"/>
          </ac:spMkLst>
        </pc:spChg>
        <pc:spChg chg="add mod">
          <ac:chgData name="Andreas Koksrud" userId="9d9beba6-c052-407a-8599-c781a677a996" providerId="ADAL" clId="{4C89AD2D-B60A-479F-9F95-9D423A06FAEA}" dt="2024-07-17T14:04:37.404" v="25897" actId="14100"/>
          <ac:spMkLst>
            <pc:docMk/>
            <pc:sldMk cId="1236723272" sldId="995"/>
            <ac:spMk id="23" creationId="{8E6DD217-48A6-3D1E-30FF-D8FC04D0F012}"/>
          </ac:spMkLst>
        </pc:spChg>
        <pc:spChg chg="mod">
          <ac:chgData name="Andreas Koksrud" userId="9d9beba6-c052-407a-8599-c781a677a996" providerId="ADAL" clId="{4C89AD2D-B60A-479F-9F95-9D423A06FAEA}" dt="2024-07-17T13:59:12.039" v="25832" actId="6549"/>
          <ac:spMkLst>
            <pc:docMk/>
            <pc:sldMk cId="1236723272" sldId="995"/>
            <ac:spMk id="180" creationId="{00000000-0000-0000-0000-000000000000}"/>
          </ac:spMkLst>
        </pc:spChg>
        <pc:spChg chg="del mod">
          <ac:chgData name="Andreas Koksrud" userId="9d9beba6-c052-407a-8599-c781a677a996" providerId="ADAL" clId="{4C89AD2D-B60A-479F-9F95-9D423A06FAEA}" dt="2024-07-17T13:59:13.492" v="25833" actId="478"/>
          <ac:spMkLst>
            <pc:docMk/>
            <pc:sldMk cId="1236723272" sldId="995"/>
            <ac:spMk id="181" creationId="{00000000-0000-0000-0000-000000000000}"/>
          </ac:spMkLst>
        </pc:spChg>
        <pc:picChg chg="add mod">
          <ac:chgData name="Andreas Koksrud" userId="9d9beba6-c052-407a-8599-c781a677a996" providerId="ADAL" clId="{4C89AD2D-B60A-479F-9F95-9D423A06FAEA}" dt="2024-07-17T13:59:59.873" v="25836" actId="1076"/>
          <ac:picMkLst>
            <pc:docMk/>
            <pc:sldMk cId="1236723272" sldId="995"/>
            <ac:picMk id="7" creationId="{810A6DB4-6264-6832-D731-99862E48FB13}"/>
          </ac:picMkLst>
        </pc:picChg>
        <pc:picChg chg="add mod">
          <ac:chgData name="Andreas Koksrud" userId="9d9beba6-c052-407a-8599-c781a677a996" providerId="ADAL" clId="{4C89AD2D-B60A-479F-9F95-9D423A06FAEA}" dt="2024-07-17T14:01:08.908" v="25846" actId="1076"/>
          <ac:picMkLst>
            <pc:docMk/>
            <pc:sldMk cId="1236723272" sldId="995"/>
            <ac:picMk id="13" creationId="{061043A3-B002-9822-BE8B-C25A020848BA}"/>
          </ac:picMkLst>
        </pc:picChg>
        <pc:picChg chg="add mod">
          <ac:chgData name="Andreas Koksrud" userId="9d9beba6-c052-407a-8599-c781a677a996" providerId="ADAL" clId="{4C89AD2D-B60A-479F-9F95-9D423A06FAEA}" dt="2024-07-17T14:02:47.510" v="25850" actId="1076"/>
          <ac:picMkLst>
            <pc:docMk/>
            <pc:sldMk cId="1236723272" sldId="995"/>
            <ac:picMk id="16" creationId="{4DF79986-43D0-3D1B-AF51-868DEADCE020}"/>
          </ac:picMkLst>
        </pc:picChg>
        <pc:picChg chg="add mod">
          <ac:chgData name="Andreas Koksrud" userId="9d9beba6-c052-407a-8599-c781a677a996" providerId="ADAL" clId="{4C89AD2D-B60A-479F-9F95-9D423A06FAEA}" dt="2024-07-17T14:03:47.155" v="25854" actId="1076"/>
          <ac:picMkLst>
            <pc:docMk/>
            <pc:sldMk cId="1236723272" sldId="995"/>
            <ac:picMk id="20" creationId="{945B8550-9104-7894-8DBA-D35EA654BB6B}"/>
          </ac:picMkLst>
        </pc:picChg>
        <pc:picChg chg="add del mod">
          <ac:chgData name="Andreas Koksrud" userId="9d9beba6-c052-407a-8599-c781a677a996" providerId="ADAL" clId="{4C89AD2D-B60A-479F-9F95-9D423A06FAEA}" dt="2024-07-17T14:05:23.196" v="25905" actId="478"/>
          <ac:picMkLst>
            <pc:docMk/>
            <pc:sldMk cId="1236723272" sldId="995"/>
            <ac:picMk id="29" creationId="{AF82ACCA-4AE9-333E-7977-EA7AEC2A3798}"/>
          </ac:picMkLst>
        </pc:picChg>
        <pc:picChg chg="add del">
          <ac:chgData name="Andreas Koksrud" userId="9d9beba6-c052-407a-8599-c781a677a996" providerId="ADAL" clId="{4C89AD2D-B60A-479F-9F95-9D423A06FAEA}" dt="2024-07-18T16:45:59.983" v="25944" actId="21"/>
          <ac:picMkLst>
            <pc:docMk/>
            <pc:sldMk cId="1236723272" sldId="995"/>
            <ac:picMk id="32" creationId="{0DD2D6A0-54BF-A2D2-D988-4233BB264D44}"/>
          </ac:picMkLst>
        </pc:picChg>
        <pc:picChg chg="add mod">
          <ac:chgData name="Andreas Koksrud" userId="9d9beba6-c052-407a-8599-c781a677a996" providerId="ADAL" clId="{4C89AD2D-B60A-479F-9F95-9D423A06FAEA}" dt="2024-07-18T16:48:10.767" v="25948" actId="14100"/>
          <ac:picMkLst>
            <pc:docMk/>
            <pc:sldMk cId="1236723272" sldId="995"/>
            <ac:picMk id="34" creationId="{824CF0E1-3C82-2457-7A38-5A1320A9A117}"/>
          </ac:picMkLst>
        </pc:picChg>
        <pc:cxnChg chg="add mod">
          <ac:chgData name="Andreas Koksrud" userId="9d9beba6-c052-407a-8599-c781a677a996" providerId="ADAL" clId="{4C89AD2D-B60A-479F-9F95-9D423A06FAEA}" dt="2024-07-17T14:01:11.775" v="25847" actId="14100"/>
          <ac:cxnSpMkLst>
            <pc:docMk/>
            <pc:sldMk cId="1236723272" sldId="995"/>
            <ac:cxnSpMk id="8" creationId="{0809E623-D392-BB73-D2A0-E98FD843CCC5}"/>
          </ac:cxnSpMkLst>
        </pc:cxnChg>
        <pc:cxnChg chg="add mod">
          <ac:chgData name="Andreas Koksrud" userId="9d9beba6-c052-407a-8599-c781a677a996" providerId="ADAL" clId="{4C89AD2D-B60A-479F-9F95-9D423A06FAEA}" dt="2024-07-17T14:02:52.194" v="25852" actId="14100"/>
          <ac:cxnSpMkLst>
            <pc:docMk/>
            <pc:sldMk cId="1236723272" sldId="995"/>
            <ac:cxnSpMk id="17" creationId="{7F3AECFC-EAF4-CA81-C6A2-AFFABD641BB5}"/>
          </ac:cxnSpMkLst>
        </pc:cxnChg>
        <pc:cxnChg chg="add mod">
          <ac:chgData name="Andreas Koksrud" userId="9d9beba6-c052-407a-8599-c781a677a996" providerId="ADAL" clId="{4C89AD2D-B60A-479F-9F95-9D423A06FAEA}" dt="2024-07-17T14:04:44.682" v="25899" actId="14100"/>
          <ac:cxnSpMkLst>
            <pc:docMk/>
            <pc:sldMk cId="1236723272" sldId="995"/>
            <ac:cxnSpMk id="24" creationId="{33743EE0-974A-D565-6CBE-D835018285DC}"/>
          </ac:cxnSpMkLst>
        </pc:cxnChg>
        <pc:cxnChg chg="add del mod">
          <ac:chgData name="Andreas Koksrud" userId="9d9beba6-c052-407a-8599-c781a677a996" providerId="ADAL" clId="{4C89AD2D-B60A-479F-9F95-9D423A06FAEA}" dt="2024-07-17T14:05:24.281" v="25906" actId="478"/>
          <ac:cxnSpMkLst>
            <pc:docMk/>
            <pc:sldMk cId="1236723272" sldId="995"/>
            <ac:cxnSpMk id="26" creationId="{4EE51E4C-4DEB-4BC0-518E-67B5E11A79AF}"/>
          </ac:cxnSpMkLst>
        </pc:cxnChg>
      </pc:sldChg>
      <pc:sldChg chg="addSp delSp modSp add mod">
        <pc:chgData name="Andreas Koksrud" userId="9d9beba6-c052-407a-8599-c781a677a996" providerId="ADAL" clId="{4C89AD2D-B60A-479F-9F95-9D423A06FAEA}" dt="2024-08-04T16:45:29.183" v="37484" actId="14100"/>
        <pc:sldMkLst>
          <pc:docMk/>
          <pc:sldMk cId="1617717875" sldId="996"/>
        </pc:sldMkLst>
        <pc:spChg chg="add mod">
          <ac:chgData name="Andreas Koksrud" userId="9d9beba6-c052-407a-8599-c781a677a996" providerId="ADAL" clId="{4C89AD2D-B60A-479F-9F95-9D423A06FAEA}" dt="2024-08-04T16:29:59.358" v="37117" actId="1076"/>
          <ac:spMkLst>
            <pc:docMk/>
            <pc:sldMk cId="1617717875" sldId="996"/>
            <ac:spMk id="9" creationId="{CA0B8F57-C785-7ED7-75A2-B61F4152EC1C}"/>
          </ac:spMkLst>
        </pc:spChg>
        <pc:spChg chg="add mod">
          <ac:chgData name="Andreas Koksrud" userId="9d9beba6-c052-407a-8599-c781a677a996" providerId="ADAL" clId="{4C89AD2D-B60A-479F-9F95-9D423A06FAEA}" dt="2024-08-04T16:29:55.587" v="37116" actId="1076"/>
          <ac:spMkLst>
            <pc:docMk/>
            <pc:sldMk cId="1617717875" sldId="996"/>
            <ac:spMk id="10" creationId="{F997FC19-E381-D98F-81A5-EB4D94CF74AB}"/>
          </ac:spMkLst>
        </pc:spChg>
        <pc:spChg chg="add mod">
          <ac:chgData name="Andreas Koksrud" userId="9d9beba6-c052-407a-8599-c781a677a996" providerId="ADAL" clId="{4C89AD2D-B60A-479F-9F95-9D423A06FAEA}" dt="2024-08-04T16:45:26.578" v="37483" actId="1076"/>
          <ac:spMkLst>
            <pc:docMk/>
            <pc:sldMk cId="1617717875" sldId="996"/>
            <ac:spMk id="18" creationId="{590BE1AA-95AF-43A9-954A-A3E79A728521}"/>
          </ac:spMkLst>
        </pc:spChg>
        <pc:spChg chg="add mod">
          <ac:chgData name="Andreas Koksrud" userId="9d9beba6-c052-407a-8599-c781a677a996" providerId="ADAL" clId="{4C89AD2D-B60A-479F-9F95-9D423A06FAEA}" dt="2024-08-04T16:45:03.337" v="37476" actId="14100"/>
          <ac:spMkLst>
            <pc:docMk/>
            <pc:sldMk cId="1617717875" sldId="996"/>
            <ac:spMk id="27" creationId="{E23DE15B-3418-D2F5-F10C-CF3DA7AA664D}"/>
          </ac:spMkLst>
        </pc:spChg>
        <pc:spChg chg="add mod">
          <ac:chgData name="Andreas Koksrud" userId="9d9beba6-c052-407a-8599-c781a677a996" providerId="ADAL" clId="{4C89AD2D-B60A-479F-9F95-9D423A06FAEA}" dt="2024-08-04T16:45:15.504" v="37480" actId="14100"/>
          <ac:spMkLst>
            <pc:docMk/>
            <pc:sldMk cId="1617717875" sldId="996"/>
            <ac:spMk id="30" creationId="{B7F5CD23-D055-33E3-2089-A3EA205C4EA2}"/>
          </ac:spMkLst>
        </pc:spChg>
        <pc:spChg chg="mod">
          <ac:chgData name="Andreas Koksrud" userId="9d9beba6-c052-407a-8599-c781a677a996" providerId="ADAL" clId="{4C89AD2D-B60A-479F-9F95-9D423A06FAEA}" dt="2024-07-17T13:38:03.382" v="25786" actId="20577"/>
          <ac:spMkLst>
            <pc:docMk/>
            <pc:sldMk cId="1617717875" sldId="996"/>
            <ac:spMk id="180" creationId="{00000000-0000-0000-0000-000000000000}"/>
          </ac:spMkLst>
        </pc:spChg>
        <pc:spChg chg="mod">
          <ac:chgData name="Andreas Koksrud" userId="9d9beba6-c052-407a-8599-c781a677a996" providerId="ADAL" clId="{4C89AD2D-B60A-479F-9F95-9D423A06FAEA}" dt="2024-08-04T16:44:24.107" v="37465" actId="1076"/>
          <ac:spMkLst>
            <pc:docMk/>
            <pc:sldMk cId="1617717875" sldId="996"/>
            <ac:spMk id="181" creationId="{00000000-0000-0000-0000-000000000000}"/>
          </ac:spMkLst>
        </pc:spChg>
        <pc:picChg chg="add del mod">
          <ac:chgData name="Andreas Koksrud" userId="9d9beba6-c052-407a-8599-c781a677a996" providerId="ADAL" clId="{4C89AD2D-B60A-479F-9F95-9D423A06FAEA}" dt="2024-08-04T16:29:07.729" v="37109" actId="478"/>
          <ac:picMkLst>
            <pc:docMk/>
            <pc:sldMk cId="1617717875" sldId="996"/>
            <ac:picMk id="5" creationId="{48F87266-6EB3-1E1C-8D8E-13DC1B23C249}"/>
          </ac:picMkLst>
        </pc:picChg>
        <pc:picChg chg="add mod">
          <ac:chgData name="Andreas Koksrud" userId="9d9beba6-c052-407a-8599-c781a677a996" providerId="ADAL" clId="{4C89AD2D-B60A-479F-9F95-9D423A06FAEA}" dt="2024-08-04T16:30:59.187" v="37126" actId="1076"/>
          <ac:picMkLst>
            <pc:docMk/>
            <pc:sldMk cId="1617717875" sldId="996"/>
            <ac:picMk id="7" creationId="{D270A669-DD81-7E28-5FED-586D5E20D301}"/>
          </ac:picMkLst>
        </pc:picChg>
        <pc:picChg chg="add mod">
          <ac:chgData name="Andreas Koksrud" userId="9d9beba6-c052-407a-8599-c781a677a996" providerId="ADAL" clId="{4C89AD2D-B60A-479F-9F95-9D423A06FAEA}" dt="2024-08-04T16:30:32.908" v="37120" actId="1076"/>
          <ac:picMkLst>
            <pc:docMk/>
            <pc:sldMk cId="1617717875" sldId="996"/>
            <ac:picMk id="13" creationId="{C1E9FDD8-2702-0576-73BE-828D8198DCFB}"/>
          </ac:picMkLst>
        </pc:picChg>
        <pc:picChg chg="add mod">
          <ac:chgData name="Andreas Koksrud" userId="9d9beba6-c052-407a-8599-c781a677a996" providerId="ADAL" clId="{4C89AD2D-B60A-479F-9F95-9D423A06FAEA}" dt="2024-08-04T16:45:26.578" v="37483" actId="1076"/>
          <ac:picMkLst>
            <pc:docMk/>
            <pc:sldMk cId="1617717875" sldId="996"/>
            <ac:picMk id="17" creationId="{A5E4FFA0-B255-C8A8-4BB6-FF985E86FD5E}"/>
          </ac:picMkLst>
        </pc:picChg>
        <pc:picChg chg="add mod">
          <ac:chgData name="Andreas Koksrud" userId="9d9beba6-c052-407a-8599-c781a677a996" providerId="ADAL" clId="{4C89AD2D-B60A-479F-9F95-9D423A06FAEA}" dt="2024-08-04T16:44:32.724" v="37467" actId="1076"/>
          <ac:picMkLst>
            <pc:docMk/>
            <pc:sldMk cId="1617717875" sldId="996"/>
            <ac:picMk id="20" creationId="{0A79E278-D5BD-742B-BF88-C0E91A8CEE9B}"/>
          </ac:picMkLst>
        </pc:picChg>
        <pc:picChg chg="add mod">
          <ac:chgData name="Andreas Koksrud" userId="9d9beba6-c052-407a-8599-c781a677a996" providerId="ADAL" clId="{4C89AD2D-B60A-479F-9F95-9D423A06FAEA}" dt="2024-08-04T16:44:56.615" v="37474" actId="571"/>
          <ac:picMkLst>
            <pc:docMk/>
            <pc:sldMk cId="1617717875" sldId="996"/>
            <ac:picMk id="26" creationId="{473E4AB8-07BC-30A1-74AE-9DA5C732A2AE}"/>
          </ac:picMkLst>
        </pc:picChg>
        <pc:cxnChg chg="add mod">
          <ac:chgData name="Andreas Koksrud" userId="9d9beba6-c052-407a-8599-c781a677a996" providerId="ADAL" clId="{4C89AD2D-B60A-479F-9F95-9D423A06FAEA}" dt="2024-08-04T16:30:02.197" v="37118" actId="14100"/>
          <ac:cxnSpMkLst>
            <pc:docMk/>
            <pc:sldMk cId="1617717875" sldId="996"/>
            <ac:cxnSpMk id="8" creationId="{E82D89F0-8631-AF82-B3B7-0F64B54EE1B5}"/>
          </ac:cxnSpMkLst>
        </pc:cxnChg>
        <pc:cxnChg chg="add mod">
          <ac:chgData name="Andreas Koksrud" userId="9d9beba6-c052-407a-8599-c781a677a996" providerId="ADAL" clId="{4C89AD2D-B60A-479F-9F95-9D423A06FAEA}" dt="2024-08-04T16:30:38.488" v="37122" actId="14100"/>
          <ac:cxnSpMkLst>
            <pc:docMk/>
            <pc:sldMk cId="1617717875" sldId="996"/>
            <ac:cxnSpMk id="14" creationId="{B2C9EDD1-F9A4-636D-A7D1-7E8A19E2AC32}"/>
          </ac:cxnSpMkLst>
        </pc:cxnChg>
        <pc:cxnChg chg="add mod">
          <ac:chgData name="Andreas Koksrud" userId="9d9beba6-c052-407a-8599-c781a677a996" providerId="ADAL" clId="{4C89AD2D-B60A-479F-9F95-9D423A06FAEA}" dt="2024-08-04T16:44:41.160" v="37469" actId="14100"/>
          <ac:cxnSpMkLst>
            <pc:docMk/>
            <pc:sldMk cId="1617717875" sldId="996"/>
            <ac:cxnSpMk id="21" creationId="{4545AB64-B20A-E863-7ABA-53198735F8F7}"/>
          </ac:cxnSpMkLst>
        </pc:cxnChg>
        <pc:cxnChg chg="add mod">
          <ac:chgData name="Andreas Koksrud" userId="9d9beba6-c052-407a-8599-c781a677a996" providerId="ADAL" clId="{4C89AD2D-B60A-479F-9F95-9D423A06FAEA}" dt="2024-08-04T16:44:53.398" v="37472" actId="14100"/>
          <ac:cxnSpMkLst>
            <pc:docMk/>
            <pc:sldMk cId="1617717875" sldId="996"/>
            <ac:cxnSpMk id="23" creationId="{175B051E-8FDE-350B-CB11-7D41DDF7FD6F}"/>
          </ac:cxnSpMkLst>
        </pc:cxnChg>
        <pc:cxnChg chg="add mod">
          <ac:chgData name="Andreas Koksrud" userId="9d9beba6-c052-407a-8599-c781a677a996" providerId="ADAL" clId="{4C89AD2D-B60A-479F-9F95-9D423A06FAEA}" dt="2024-08-04T16:45:09.813" v="37478" actId="14100"/>
          <ac:cxnSpMkLst>
            <pc:docMk/>
            <pc:sldMk cId="1617717875" sldId="996"/>
            <ac:cxnSpMk id="28" creationId="{6E564CBD-0B1D-0213-9520-8A09EB07F7F0}"/>
          </ac:cxnSpMkLst>
        </pc:cxnChg>
        <pc:cxnChg chg="add mod">
          <ac:chgData name="Andreas Koksrud" userId="9d9beba6-c052-407a-8599-c781a677a996" providerId="ADAL" clId="{4C89AD2D-B60A-479F-9F95-9D423A06FAEA}" dt="2024-08-04T16:45:29.183" v="37484" actId="14100"/>
          <ac:cxnSpMkLst>
            <pc:docMk/>
            <pc:sldMk cId="1617717875" sldId="996"/>
            <ac:cxnSpMk id="31" creationId="{BA182186-BAA6-D8BB-ACCB-DA54242A624B}"/>
          </ac:cxnSpMkLst>
        </pc:cxnChg>
      </pc:sldChg>
      <pc:sldChg chg="addSp delSp modSp add mod">
        <pc:chgData name="Andreas Koksrud" userId="9d9beba6-c052-407a-8599-c781a677a996" providerId="ADAL" clId="{4C89AD2D-B60A-479F-9F95-9D423A06FAEA}" dt="2024-07-20T19:21:31.163" v="26738" actId="20577"/>
        <pc:sldMkLst>
          <pc:docMk/>
          <pc:sldMk cId="1986310522" sldId="997"/>
        </pc:sldMkLst>
        <pc:spChg chg="mod">
          <ac:chgData name="Andreas Koksrud" userId="9d9beba6-c052-407a-8599-c781a677a996" providerId="ADAL" clId="{4C89AD2D-B60A-479F-9F95-9D423A06FAEA}" dt="2024-07-20T19:21:31.163" v="26738" actId="20577"/>
          <ac:spMkLst>
            <pc:docMk/>
            <pc:sldMk cId="1986310522" sldId="997"/>
            <ac:spMk id="2" creationId="{9796E8C1-5924-9DB3-B51B-75296717F89F}"/>
          </ac:spMkLst>
        </pc:spChg>
        <pc:spChg chg="add mod">
          <ac:chgData name="Andreas Koksrud" userId="9d9beba6-c052-407a-8599-c781a677a996" providerId="ADAL" clId="{4C89AD2D-B60A-479F-9F95-9D423A06FAEA}" dt="2024-07-20T19:18:24.573" v="26406" actId="6549"/>
          <ac:spMkLst>
            <pc:docMk/>
            <pc:sldMk cId="1986310522" sldId="997"/>
            <ac:spMk id="4" creationId="{43D25E58-39BE-7924-06C6-9C6254D81A44}"/>
          </ac:spMkLst>
        </pc:spChg>
        <pc:spChg chg="mod">
          <ac:chgData name="Andreas Koksrud" userId="9d9beba6-c052-407a-8599-c781a677a996" providerId="ADAL" clId="{4C89AD2D-B60A-479F-9F95-9D423A06FAEA}" dt="2024-07-20T19:18:01.604" v="26393" actId="6549"/>
          <ac:spMkLst>
            <pc:docMk/>
            <pc:sldMk cId="1986310522" sldId="997"/>
            <ac:spMk id="6" creationId="{F79AC7D6-9707-FA3C-4181-45142247410B}"/>
          </ac:spMkLst>
        </pc:spChg>
        <pc:picChg chg="del">
          <ac:chgData name="Andreas Koksrud" userId="9d9beba6-c052-407a-8599-c781a677a996" providerId="ADAL" clId="{4C89AD2D-B60A-479F-9F95-9D423A06FAEA}" dt="2024-07-20T19:18:04.518" v="26394" actId="478"/>
          <ac:picMkLst>
            <pc:docMk/>
            <pc:sldMk cId="1986310522" sldId="997"/>
            <ac:picMk id="7" creationId="{50264CB1-7B07-3D62-C9C5-B4760B2398B4}"/>
          </ac:picMkLst>
        </pc:picChg>
        <pc:cxnChg chg="del">
          <ac:chgData name="Andreas Koksrud" userId="9d9beba6-c052-407a-8599-c781a677a996" providerId="ADAL" clId="{4C89AD2D-B60A-479F-9F95-9D423A06FAEA}" dt="2024-07-20T19:18:06.807" v="26395" actId="478"/>
          <ac:cxnSpMkLst>
            <pc:docMk/>
            <pc:sldMk cId="1986310522" sldId="997"/>
            <ac:cxnSpMk id="8" creationId="{77270D5C-063D-B1F6-4F3B-48C7E839B928}"/>
          </ac:cxnSpMkLst>
        </pc:cxnChg>
      </pc:sldChg>
      <pc:sldChg chg="addSp delSp modSp new del mod chgLayout">
        <pc:chgData name="Andreas Koksrud" userId="9d9beba6-c052-407a-8599-c781a677a996" providerId="ADAL" clId="{4C89AD2D-B60A-479F-9F95-9D423A06FAEA}" dt="2024-07-25T21:46:50.020" v="27775" actId="47"/>
        <pc:sldMkLst>
          <pc:docMk/>
          <pc:sldMk cId="214840016" sldId="998"/>
        </pc:sldMkLst>
        <pc:spChg chg="del mod ord">
          <ac:chgData name="Andreas Koksrud" userId="9d9beba6-c052-407a-8599-c781a677a996" providerId="ADAL" clId="{4C89AD2D-B60A-479F-9F95-9D423A06FAEA}" dt="2024-07-25T21:45:34.805" v="27735" actId="700"/>
          <ac:spMkLst>
            <pc:docMk/>
            <pc:sldMk cId="214840016" sldId="998"/>
            <ac:spMk id="2" creationId="{BD8915C2-29E5-D081-40D3-09B0E7DF226A}"/>
          </ac:spMkLst>
        </pc:spChg>
        <pc:spChg chg="mod ord">
          <ac:chgData name="Andreas Koksrud" userId="9d9beba6-c052-407a-8599-c781a677a996" providerId="ADAL" clId="{4C89AD2D-B60A-479F-9F95-9D423A06FAEA}" dt="2024-07-25T21:45:34.805" v="27735" actId="700"/>
          <ac:spMkLst>
            <pc:docMk/>
            <pc:sldMk cId="214840016" sldId="998"/>
            <ac:spMk id="3" creationId="{EE8691D8-091A-DC32-FB10-27DA55C7833A}"/>
          </ac:spMkLst>
        </pc:spChg>
        <pc:spChg chg="mod ord">
          <ac:chgData name="Andreas Koksrud" userId="9d9beba6-c052-407a-8599-c781a677a996" providerId="ADAL" clId="{4C89AD2D-B60A-479F-9F95-9D423A06FAEA}" dt="2024-07-25T21:45:34.805" v="27735" actId="700"/>
          <ac:spMkLst>
            <pc:docMk/>
            <pc:sldMk cId="214840016" sldId="998"/>
            <ac:spMk id="4" creationId="{668F0B86-E42C-3FAF-F618-5749FA1FDDFC}"/>
          </ac:spMkLst>
        </pc:spChg>
        <pc:spChg chg="mod ord">
          <ac:chgData name="Andreas Koksrud" userId="9d9beba6-c052-407a-8599-c781a677a996" providerId="ADAL" clId="{4C89AD2D-B60A-479F-9F95-9D423A06FAEA}" dt="2024-07-25T21:45:51.927" v="27737" actId="14100"/>
          <ac:spMkLst>
            <pc:docMk/>
            <pc:sldMk cId="214840016" sldId="998"/>
            <ac:spMk id="5" creationId="{D73DDB94-6DB6-25AB-B44B-A30298E6F119}"/>
          </ac:spMkLst>
        </pc:spChg>
        <pc:spChg chg="add del mod ord">
          <ac:chgData name="Andreas Koksrud" userId="9d9beba6-c052-407a-8599-c781a677a996" providerId="ADAL" clId="{4C89AD2D-B60A-479F-9F95-9D423A06FAEA}" dt="2024-07-25T21:45:44.028" v="27736" actId="478"/>
          <ac:spMkLst>
            <pc:docMk/>
            <pc:sldMk cId="214840016" sldId="998"/>
            <ac:spMk id="6" creationId="{AA062A39-992E-43B8-E938-F8F127C3D5B3}"/>
          </ac:spMkLst>
        </pc:spChg>
        <pc:spChg chg="add mod">
          <ac:chgData name="Andreas Koksrud" userId="9d9beba6-c052-407a-8599-c781a677a996" providerId="ADAL" clId="{4C89AD2D-B60A-479F-9F95-9D423A06FAEA}" dt="2024-07-25T21:45:59.202" v="27740" actId="20577"/>
          <ac:spMkLst>
            <pc:docMk/>
            <pc:sldMk cId="214840016" sldId="998"/>
            <ac:spMk id="7" creationId="{298855E9-2E8E-C780-2999-15C0B3FFB06A}"/>
          </ac:spMkLst>
        </pc:spChg>
      </pc:sldChg>
      <pc:sldChg chg="new del">
        <pc:chgData name="Andreas Koksrud" userId="9d9beba6-c052-407a-8599-c781a677a996" providerId="ADAL" clId="{4C89AD2D-B60A-479F-9F95-9D423A06FAEA}" dt="2024-07-25T22:05:57.420" v="29179" actId="47"/>
        <pc:sldMkLst>
          <pc:docMk/>
          <pc:sldMk cId="891789627" sldId="999"/>
        </pc:sldMkLst>
      </pc:sldChg>
      <pc:sldChg chg="addSp delSp modSp add mod chgLayout">
        <pc:chgData name="Andreas Koksrud" userId="9d9beba6-c052-407a-8599-c781a677a996" providerId="ADAL" clId="{4C89AD2D-B60A-479F-9F95-9D423A06FAEA}" dt="2024-08-04T15:47:05.602" v="36062" actId="20577"/>
        <pc:sldMkLst>
          <pc:docMk/>
          <pc:sldMk cId="69240320" sldId="1000"/>
        </pc:sldMkLst>
        <pc:spChg chg="add mod">
          <ac:chgData name="Andreas Koksrud" userId="9d9beba6-c052-407a-8599-c781a677a996" providerId="ADAL" clId="{4C89AD2D-B60A-479F-9F95-9D423A06FAEA}" dt="2024-07-25T21:51:48.969" v="28138" actId="26606"/>
          <ac:spMkLst>
            <pc:docMk/>
            <pc:sldMk cId="69240320" sldId="1000"/>
            <ac:spMk id="2" creationId="{684305E7-7601-D631-930D-163AF31053F1}"/>
          </ac:spMkLst>
        </pc:spChg>
        <pc:spChg chg="add mod ord">
          <ac:chgData name="Andreas Koksrud" userId="9d9beba6-c052-407a-8599-c781a677a996" providerId="ADAL" clId="{4C89AD2D-B60A-479F-9F95-9D423A06FAEA}" dt="2024-07-25T21:51:48.969" v="28138" actId="26606"/>
          <ac:spMkLst>
            <pc:docMk/>
            <pc:sldMk cId="69240320" sldId="1000"/>
            <ac:spMk id="3" creationId="{D98D71AC-DD16-CF17-134E-470414B344F7}"/>
          </ac:spMkLst>
        </pc:spChg>
        <pc:spChg chg="del">
          <ac:chgData name="Andreas Koksrud" userId="9d9beba6-c052-407a-8599-c781a677a996" providerId="ADAL" clId="{4C89AD2D-B60A-479F-9F95-9D423A06FAEA}" dt="2024-07-25T21:46:44.171" v="27772" actId="478"/>
          <ac:spMkLst>
            <pc:docMk/>
            <pc:sldMk cId="69240320" sldId="1000"/>
            <ac:spMk id="4" creationId="{FAFA46FA-B501-269C-8563-699E3F5DE947}"/>
          </ac:spMkLst>
        </pc:spChg>
        <pc:spChg chg="del">
          <ac:chgData name="Andreas Koksrud" userId="9d9beba6-c052-407a-8599-c781a677a996" providerId="ADAL" clId="{4C89AD2D-B60A-479F-9F95-9D423A06FAEA}" dt="2024-07-25T21:46:44.968" v="27773" actId="478"/>
          <ac:spMkLst>
            <pc:docMk/>
            <pc:sldMk cId="69240320" sldId="1000"/>
            <ac:spMk id="6" creationId="{9594E367-A5C0-9E5F-38CE-5B5E04D992E1}"/>
          </ac:spMkLst>
        </pc:spChg>
        <pc:spChg chg="mod">
          <ac:chgData name="Andreas Koksrud" userId="9d9beba6-c052-407a-8599-c781a677a996" providerId="ADAL" clId="{4C89AD2D-B60A-479F-9F95-9D423A06FAEA}" dt="2024-07-25T21:51:48.969" v="28138" actId="26606"/>
          <ac:spMkLst>
            <pc:docMk/>
            <pc:sldMk cId="69240320" sldId="1000"/>
            <ac:spMk id="124" creationId="{84E04E4E-021A-44EA-A21F-D749783987DC}"/>
          </ac:spMkLst>
        </pc:spChg>
        <pc:spChg chg="mod ord">
          <ac:chgData name="Andreas Koksrud" userId="9d9beba6-c052-407a-8599-c781a677a996" providerId="ADAL" clId="{4C89AD2D-B60A-479F-9F95-9D423A06FAEA}" dt="2024-07-25T21:51:48.969" v="28138" actId="26606"/>
          <ac:spMkLst>
            <pc:docMk/>
            <pc:sldMk cId="69240320" sldId="1000"/>
            <ac:spMk id="180" creationId="{00000000-0000-0000-0000-000000000000}"/>
          </ac:spMkLst>
        </pc:spChg>
        <pc:graphicFrameChg chg="mod modGraphic">
          <ac:chgData name="Andreas Koksrud" userId="9d9beba6-c052-407a-8599-c781a677a996" providerId="ADAL" clId="{4C89AD2D-B60A-479F-9F95-9D423A06FAEA}" dt="2024-08-04T15:47:05.602" v="36062" actId="20577"/>
          <ac:graphicFrameMkLst>
            <pc:docMk/>
            <pc:sldMk cId="69240320" sldId="1000"/>
            <ac:graphicFrameMk id="182" creationId="{31C961BD-9981-8CD8-539D-AB011F3808BE}"/>
          </ac:graphicFrameMkLst>
        </pc:graphicFrameChg>
      </pc:sldChg>
      <pc:sldChg chg="modSp add mod ord">
        <pc:chgData name="Andreas Koksrud" userId="9d9beba6-c052-407a-8599-c781a677a996" providerId="ADAL" clId="{4C89AD2D-B60A-479F-9F95-9D423A06FAEA}" dt="2024-07-25T22:14:11.739" v="30143"/>
        <pc:sldMkLst>
          <pc:docMk/>
          <pc:sldMk cId="316841881" sldId="1001"/>
        </pc:sldMkLst>
        <pc:spChg chg="mod">
          <ac:chgData name="Andreas Koksrud" userId="9d9beba6-c052-407a-8599-c781a677a996" providerId="ADAL" clId="{4C89AD2D-B60A-479F-9F95-9D423A06FAEA}" dt="2024-07-25T22:13:51.784" v="30084" actId="20577"/>
          <ac:spMkLst>
            <pc:docMk/>
            <pc:sldMk cId="316841881" sldId="1001"/>
            <ac:spMk id="180" creationId="{00000000-0000-0000-0000-000000000000}"/>
          </ac:spMkLst>
        </pc:spChg>
        <pc:spChg chg="mod">
          <ac:chgData name="Andreas Koksrud" userId="9d9beba6-c052-407a-8599-c781a677a996" providerId="ADAL" clId="{4C89AD2D-B60A-479F-9F95-9D423A06FAEA}" dt="2024-07-25T22:14:07.544" v="30141" actId="13926"/>
          <ac:spMkLst>
            <pc:docMk/>
            <pc:sldMk cId="316841881" sldId="1001"/>
            <ac:spMk id="181" creationId="{00000000-0000-0000-0000-000000000000}"/>
          </ac:spMkLst>
        </pc:spChg>
      </pc:sldChg>
      <pc:sldChg chg="addSp delSp modSp add mod">
        <pc:chgData name="Andreas Koksrud" userId="9d9beba6-c052-407a-8599-c781a677a996" providerId="ADAL" clId="{4C89AD2D-B60A-479F-9F95-9D423A06FAEA}" dt="2024-07-26T11:22:27.132" v="30326" actId="14100"/>
        <pc:sldMkLst>
          <pc:docMk/>
          <pc:sldMk cId="3021409605" sldId="1002"/>
        </pc:sldMkLst>
        <pc:spChg chg="del">
          <ac:chgData name="Andreas Koksrud" userId="9d9beba6-c052-407a-8599-c781a677a996" providerId="ADAL" clId="{4C89AD2D-B60A-479F-9F95-9D423A06FAEA}" dt="2024-07-25T22:21:34.384" v="30247" actId="478"/>
          <ac:spMkLst>
            <pc:docMk/>
            <pc:sldMk cId="3021409605" sldId="1002"/>
            <ac:spMk id="7" creationId="{A8B7B111-653E-4B53-BBD1-A75F603564D2}"/>
          </ac:spMkLst>
        </pc:spChg>
        <pc:spChg chg="add mod">
          <ac:chgData name="Andreas Koksrud" userId="9d9beba6-c052-407a-8599-c781a677a996" providerId="ADAL" clId="{4C89AD2D-B60A-479F-9F95-9D423A06FAEA}" dt="2024-07-25T22:24:41.636" v="30276"/>
          <ac:spMkLst>
            <pc:docMk/>
            <pc:sldMk cId="3021409605" sldId="1002"/>
            <ac:spMk id="14" creationId="{18F9BF18-8BBF-BC00-762E-ED556008DFD2}"/>
          </ac:spMkLst>
        </pc:spChg>
        <pc:spChg chg="add mod">
          <ac:chgData name="Andreas Koksrud" userId="9d9beba6-c052-407a-8599-c781a677a996" providerId="ADAL" clId="{4C89AD2D-B60A-479F-9F95-9D423A06FAEA}" dt="2024-07-26T11:22:17.429" v="30322" actId="14100"/>
          <ac:spMkLst>
            <pc:docMk/>
            <pc:sldMk cId="3021409605" sldId="1002"/>
            <ac:spMk id="15" creationId="{46534806-6C1F-535A-A066-CD1EC40EBD84}"/>
          </ac:spMkLst>
        </pc:spChg>
        <pc:spChg chg="add mod">
          <ac:chgData name="Andreas Koksrud" userId="9d9beba6-c052-407a-8599-c781a677a996" providerId="ADAL" clId="{4C89AD2D-B60A-479F-9F95-9D423A06FAEA}" dt="2024-07-26T11:22:27.132" v="30326" actId="14100"/>
          <ac:spMkLst>
            <pc:docMk/>
            <pc:sldMk cId="3021409605" sldId="1002"/>
            <ac:spMk id="17" creationId="{22F5D4DF-F1A4-10EB-53AE-F982AE8A1ECC}"/>
          </ac:spMkLst>
        </pc:spChg>
        <pc:picChg chg="add del">
          <ac:chgData name="Andreas Koksrud" userId="9d9beba6-c052-407a-8599-c781a677a996" providerId="ADAL" clId="{4C89AD2D-B60A-479F-9F95-9D423A06FAEA}" dt="2024-07-25T22:21:49.307" v="30257" actId="478"/>
          <ac:picMkLst>
            <pc:docMk/>
            <pc:sldMk cId="3021409605" sldId="1002"/>
            <ac:picMk id="3" creationId="{7294C548-54FB-1EB5-6AE5-F4FEE0514EE4}"/>
          </ac:picMkLst>
        </pc:picChg>
        <pc:picChg chg="del">
          <ac:chgData name="Andreas Koksrud" userId="9d9beba6-c052-407a-8599-c781a677a996" providerId="ADAL" clId="{4C89AD2D-B60A-479F-9F95-9D423A06FAEA}" dt="2024-07-25T22:21:31.465" v="30245" actId="478"/>
          <ac:picMkLst>
            <pc:docMk/>
            <pc:sldMk cId="3021409605" sldId="1002"/>
            <ac:picMk id="6" creationId="{DB6A23B5-33C1-32FC-9D78-89EC9BDAB4D4}"/>
          </ac:picMkLst>
        </pc:picChg>
        <pc:picChg chg="add del mod">
          <ac:chgData name="Andreas Koksrud" userId="9d9beba6-c052-407a-8599-c781a677a996" providerId="ADAL" clId="{4C89AD2D-B60A-479F-9F95-9D423A06FAEA}" dt="2024-07-25T22:21:38.659" v="30252" actId="22"/>
          <ac:picMkLst>
            <pc:docMk/>
            <pc:sldMk cId="3021409605" sldId="1002"/>
            <ac:picMk id="8" creationId="{29EF8F02-2468-B88D-2DF6-E3F7F8DE0E05}"/>
          </ac:picMkLst>
        </pc:picChg>
        <pc:picChg chg="add mod">
          <ac:chgData name="Andreas Koksrud" userId="9d9beba6-c052-407a-8599-c781a677a996" providerId="ADAL" clId="{4C89AD2D-B60A-479F-9F95-9D423A06FAEA}" dt="2024-07-25T22:24:46.801" v="30277" actId="1076"/>
          <ac:picMkLst>
            <pc:docMk/>
            <pc:sldMk cId="3021409605" sldId="1002"/>
            <ac:picMk id="10" creationId="{16F5AEBF-AC76-9B93-E9DB-0E76C36B301A}"/>
          </ac:picMkLst>
        </pc:picChg>
        <pc:picChg chg="del">
          <ac:chgData name="Andreas Koksrud" userId="9d9beba6-c052-407a-8599-c781a677a996" providerId="ADAL" clId="{4C89AD2D-B60A-479F-9F95-9D423A06FAEA}" dt="2024-07-25T22:21:32.162" v="30246" actId="478"/>
          <ac:picMkLst>
            <pc:docMk/>
            <pc:sldMk cId="3021409605" sldId="1002"/>
            <ac:picMk id="11" creationId="{7788CF72-20F5-BC83-82EA-CE4A2EA5CC1F}"/>
          </ac:picMkLst>
        </pc:picChg>
        <pc:picChg chg="add mod">
          <ac:chgData name="Andreas Koksrud" userId="9d9beba6-c052-407a-8599-c781a677a996" providerId="ADAL" clId="{4C89AD2D-B60A-479F-9F95-9D423A06FAEA}" dt="2024-07-25T22:24:46.801" v="30277" actId="1076"/>
          <ac:picMkLst>
            <pc:docMk/>
            <pc:sldMk cId="3021409605" sldId="1002"/>
            <ac:picMk id="13" creationId="{43111954-0CF0-F8A4-F535-91A5AE2520ED}"/>
          </ac:picMkLst>
        </pc:picChg>
        <pc:picChg chg="add mod">
          <ac:chgData name="Andreas Koksrud" userId="9d9beba6-c052-407a-8599-c781a677a996" providerId="ADAL" clId="{4C89AD2D-B60A-479F-9F95-9D423A06FAEA}" dt="2024-07-26T11:22:19.157" v="30324" actId="571"/>
          <ac:picMkLst>
            <pc:docMk/>
            <pc:sldMk cId="3021409605" sldId="1002"/>
            <ac:picMk id="16" creationId="{395DDBEF-8F80-C328-2029-B475FC676E52}"/>
          </ac:picMkLst>
        </pc:picChg>
      </pc:sldChg>
      <pc:sldChg chg="add del">
        <pc:chgData name="Andreas Koksrud" userId="9d9beba6-c052-407a-8599-c781a677a996" providerId="ADAL" clId="{4C89AD2D-B60A-479F-9F95-9D423A06FAEA}" dt="2024-07-25T22:19:04.056" v="30161" actId="47"/>
        <pc:sldMkLst>
          <pc:docMk/>
          <pc:sldMk cId="3134251798" sldId="1002"/>
        </pc:sldMkLst>
      </pc:sldChg>
      <pc:sldChg chg="addSp delSp modSp add mod">
        <pc:chgData name="Andreas Koksrud" userId="9d9beba6-c052-407a-8599-c781a677a996" providerId="ADAL" clId="{4C89AD2D-B60A-479F-9F95-9D423A06FAEA}" dt="2024-07-28T11:14:37.326" v="30623" actId="478"/>
        <pc:sldMkLst>
          <pc:docMk/>
          <pc:sldMk cId="3489449866" sldId="1003"/>
        </pc:sldMkLst>
        <pc:spChg chg="add mod">
          <ac:chgData name="Andreas Koksrud" userId="9d9beba6-c052-407a-8599-c781a677a996" providerId="ADAL" clId="{4C89AD2D-B60A-479F-9F95-9D423A06FAEA}" dt="2024-07-25T22:25:17.071" v="30292"/>
          <ac:spMkLst>
            <pc:docMk/>
            <pc:sldMk cId="3489449866" sldId="1003"/>
            <ac:spMk id="2" creationId="{37B98EC5-A49B-7272-8ABA-985ABCDE5E26}"/>
          </ac:spMkLst>
        </pc:spChg>
        <pc:spChg chg="add mod">
          <ac:chgData name="Andreas Koksrud" userId="9d9beba6-c052-407a-8599-c781a677a996" providerId="ADAL" clId="{4C89AD2D-B60A-479F-9F95-9D423A06FAEA}" dt="2024-07-25T22:25:41.410" v="30297" actId="1076"/>
          <ac:spMkLst>
            <pc:docMk/>
            <pc:sldMk cId="3489449866" sldId="1003"/>
            <ac:spMk id="7" creationId="{43EE3EDC-EE82-2475-970E-1310FD636EC2}"/>
          </ac:spMkLst>
        </pc:spChg>
        <pc:spChg chg="mod">
          <ac:chgData name="Andreas Koksrud" userId="9d9beba6-c052-407a-8599-c781a677a996" providerId="ADAL" clId="{4C89AD2D-B60A-479F-9F95-9D423A06FAEA}" dt="2024-07-25T22:25:07.431" v="30289" actId="20577"/>
          <ac:spMkLst>
            <pc:docMk/>
            <pc:sldMk cId="3489449866" sldId="1003"/>
            <ac:spMk id="14" creationId="{18F9BF18-8BBF-BC00-762E-ED556008DFD2}"/>
          </ac:spMkLst>
        </pc:spChg>
        <pc:spChg chg="add mod">
          <ac:chgData name="Andreas Koksrud" userId="9d9beba6-c052-407a-8599-c781a677a996" providerId="ADAL" clId="{4C89AD2D-B60A-479F-9F95-9D423A06FAEA}" dt="2024-07-26T11:21:07.849" v="30309" actId="14100"/>
          <ac:spMkLst>
            <pc:docMk/>
            <pc:sldMk cId="3489449866" sldId="1003"/>
            <ac:spMk id="15" creationId="{744D8998-15F9-CAC6-3166-B722D8BFEAE5}"/>
          </ac:spMkLst>
        </pc:spChg>
        <pc:spChg chg="add del mod">
          <ac:chgData name="Andreas Koksrud" userId="9d9beba6-c052-407a-8599-c781a677a996" providerId="ADAL" clId="{4C89AD2D-B60A-479F-9F95-9D423A06FAEA}" dt="2024-07-28T11:14:37.326" v="30623" actId="478"/>
          <ac:spMkLst>
            <pc:docMk/>
            <pc:sldMk cId="3489449866" sldId="1003"/>
            <ac:spMk id="16" creationId="{2A2E5321-6561-EF6F-409A-E597BF23B122}"/>
          </ac:spMkLst>
        </pc:spChg>
        <pc:picChg chg="add mod">
          <ac:chgData name="Andreas Koksrud" userId="9d9beba6-c052-407a-8599-c781a677a996" providerId="ADAL" clId="{4C89AD2D-B60A-479F-9F95-9D423A06FAEA}" dt="2024-07-25T22:25:32.383" v="30295" actId="14100"/>
          <ac:picMkLst>
            <pc:docMk/>
            <pc:sldMk cId="3489449866" sldId="1003"/>
            <ac:picMk id="6" creationId="{6B3E8DF8-228B-A2E1-AA83-34CF183E02DD}"/>
          </ac:picMkLst>
        </pc:picChg>
        <pc:picChg chg="add mod">
          <ac:chgData name="Andreas Koksrud" userId="9d9beba6-c052-407a-8599-c781a677a996" providerId="ADAL" clId="{4C89AD2D-B60A-479F-9F95-9D423A06FAEA}" dt="2024-07-28T11:14:34.020" v="30622" actId="14826"/>
          <ac:picMkLst>
            <pc:docMk/>
            <pc:sldMk cId="3489449866" sldId="1003"/>
            <ac:picMk id="9" creationId="{167AB419-E4B0-3643-084B-36FBDDA65EDD}"/>
          </ac:picMkLst>
        </pc:picChg>
        <pc:picChg chg="del">
          <ac:chgData name="Andreas Koksrud" userId="9d9beba6-c052-407a-8599-c781a677a996" providerId="ADAL" clId="{4C89AD2D-B60A-479F-9F95-9D423A06FAEA}" dt="2024-07-25T22:25:15.385" v="30290" actId="478"/>
          <ac:picMkLst>
            <pc:docMk/>
            <pc:sldMk cId="3489449866" sldId="1003"/>
            <ac:picMk id="10" creationId="{16F5AEBF-AC76-9B93-E9DB-0E76C36B301A}"/>
          </ac:picMkLst>
        </pc:picChg>
        <pc:picChg chg="add mod">
          <ac:chgData name="Andreas Koksrud" userId="9d9beba6-c052-407a-8599-c781a677a996" providerId="ADAL" clId="{4C89AD2D-B60A-479F-9F95-9D423A06FAEA}" dt="2024-07-25T22:27:21.588" v="30306" actId="1076"/>
          <ac:picMkLst>
            <pc:docMk/>
            <pc:sldMk cId="3489449866" sldId="1003"/>
            <ac:picMk id="12" creationId="{65503121-83D8-812A-7A64-225606D6C982}"/>
          </ac:picMkLst>
        </pc:picChg>
        <pc:picChg chg="del">
          <ac:chgData name="Andreas Koksrud" userId="9d9beba6-c052-407a-8599-c781a677a996" providerId="ADAL" clId="{4C89AD2D-B60A-479F-9F95-9D423A06FAEA}" dt="2024-07-25T22:25:44.184" v="30298" actId="478"/>
          <ac:picMkLst>
            <pc:docMk/>
            <pc:sldMk cId="3489449866" sldId="1003"/>
            <ac:picMk id="13" creationId="{43111954-0CF0-F8A4-F535-91A5AE2520ED}"/>
          </ac:picMkLst>
        </pc:picChg>
      </pc:sldChg>
      <pc:sldChg chg="add del">
        <pc:chgData name="Andreas Koksrud" userId="9d9beba6-c052-407a-8599-c781a677a996" providerId="ADAL" clId="{4C89AD2D-B60A-479F-9F95-9D423A06FAEA}" dt="2024-07-25T22:24:57.466" v="30278" actId="47"/>
        <pc:sldMkLst>
          <pc:docMk/>
          <pc:sldMk cId="3680695275" sldId="1003"/>
        </pc:sldMkLst>
      </pc:sldChg>
      <pc:sldChg chg="addSp delSp modSp add mod">
        <pc:chgData name="Andreas Koksrud" userId="9d9beba6-c052-407a-8599-c781a677a996" providerId="ADAL" clId="{4C89AD2D-B60A-479F-9F95-9D423A06FAEA}" dt="2024-07-29T08:41:00.858" v="31307" actId="1076"/>
        <pc:sldMkLst>
          <pc:docMk/>
          <pc:sldMk cId="2115270536" sldId="1004"/>
        </pc:sldMkLst>
        <pc:spChg chg="add del mod">
          <ac:chgData name="Andreas Koksrud" userId="9d9beba6-c052-407a-8599-c781a677a996" providerId="ADAL" clId="{4C89AD2D-B60A-479F-9F95-9D423A06FAEA}" dt="2024-07-29T08:39:37.097" v="31276" actId="478"/>
          <ac:spMkLst>
            <pc:docMk/>
            <pc:sldMk cId="2115270536" sldId="1004"/>
            <ac:spMk id="2" creationId="{2B6A855E-B861-1398-AEF2-03493B87260A}"/>
          </ac:spMkLst>
        </pc:spChg>
        <pc:spChg chg="mod">
          <ac:chgData name="Andreas Koksrud" userId="9d9beba6-c052-407a-8599-c781a677a996" providerId="ADAL" clId="{4C89AD2D-B60A-479F-9F95-9D423A06FAEA}" dt="2024-07-28T11:28:46.430" v="30853" actId="20577"/>
          <ac:spMkLst>
            <pc:docMk/>
            <pc:sldMk cId="2115270536" sldId="1004"/>
            <ac:spMk id="6" creationId="{FF73203B-FD2F-D819-13EF-BEB0D189D1B0}"/>
          </ac:spMkLst>
        </pc:spChg>
        <pc:spChg chg="mod">
          <ac:chgData name="Andreas Koksrud" userId="9d9beba6-c052-407a-8599-c781a677a996" providerId="ADAL" clId="{4C89AD2D-B60A-479F-9F95-9D423A06FAEA}" dt="2024-07-29T08:41:00.858" v="31307" actId="1076"/>
          <ac:spMkLst>
            <pc:docMk/>
            <pc:sldMk cId="2115270536" sldId="1004"/>
            <ac:spMk id="7" creationId="{FDA66A13-139E-E345-2026-A4A7199BE78F}"/>
          </ac:spMkLst>
        </pc:spChg>
        <pc:picChg chg="del">
          <ac:chgData name="Andreas Koksrud" userId="9d9beba6-c052-407a-8599-c781a677a996" providerId="ADAL" clId="{4C89AD2D-B60A-479F-9F95-9D423A06FAEA}" dt="2024-07-28T11:28:49.404" v="30854" actId="478"/>
          <ac:picMkLst>
            <pc:docMk/>
            <pc:sldMk cId="2115270536" sldId="1004"/>
            <ac:picMk id="3" creationId="{C5665B41-37A0-461F-4FD9-2E66581AA419}"/>
          </ac:picMkLst>
        </pc:picChg>
        <pc:picChg chg="add mod modCrop">
          <ac:chgData name="Andreas Koksrud" userId="9d9beba6-c052-407a-8599-c781a677a996" providerId="ADAL" clId="{4C89AD2D-B60A-479F-9F95-9D423A06FAEA}" dt="2024-07-29T08:40:32.035" v="31293" actId="1035"/>
          <ac:picMkLst>
            <pc:docMk/>
            <pc:sldMk cId="2115270536" sldId="1004"/>
            <ac:picMk id="9" creationId="{DF163A35-F98D-5588-C544-A1FB852F531D}"/>
          </ac:picMkLst>
        </pc:picChg>
        <pc:picChg chg="del">
          <ac:chgData name="Andreas Koksrud" userId="9d9beba6-c052-407a-8599-c781a677a996" providerId="ADAL" clId="{4C89AD2D-B60A-479F-9F95-9D423A06FAEA}" dt="2024-07-28T11:28:42.343" v="30840" actId="478"/>
          <ac:picMkLst>
            <pc:docMk/>
            <pc:sldMk cId="2115270536" sldId="1004"/>
            <ac:picMk id="10" creationId="{473DAECA-52B8-8A93-1F9F-AAC4E488A061}"/>
          </ac:picMkLst>
        </pc:picChg>
        <pc:picChg chg="del">
          <ac:chgData name="Andreas Koksrud" userId="9d9beba6-c052-407a-8599-c781a677a996" providerId="ADAL" clId="{4C89AD2D-B60A-479F-9F95-9D423A06FAEA}" dt="2024-07-28T11:30:21.121" v="30884" actId="478"/>
          <ac:picMkLst>
            <pc:docMk/>
            <pc:sldMk cId="2115270536" sldId="1004"/>
            <ac:picMk id="12" creationId="{8FD9265F-6B93-F9D1-0E9B-ED00A768816B}"/>
          </ac:picMkLst>
        </pc:picChg>
        <pc:picChg chg="add mod">
          <ac:chgData name="Andreas Koksrud" userId="9d9beba6-c052-407a-8599-c781a677a996" providerId="ADAL" clId="{4C89AD2D-B60A-479F-9F95-9D423A06FAEA}" dt="2024-07-29T08:40:19.145" v="31285" actId="1076"/>
          <ac:picMkLst>
            <pc:docMk/>
            <pc:sldMk cId="2115270536" sldId="1004"/>
            <ac:picMk id="13" creationId="{74F1C444-C6E4-BFED-DFD7-28599AD03071}"/>
          </ac:picMkLst>
        </pc:picChg>
        <pc:picChg chg="add mod modCrop">
          <ac:chgData name="Andreas Koksrud" userId="9d9beba6-c052-407a-8599-c781a677a996" providerId="ADAL" clId="{4C89AD2D-B60A-479F-9F95-9D423A06FAEA}" dt="2024-07-29T08:40:29.822" v="31287" actId="1076"/>
          <ac:picMkLst>
            <pc:docMk/>
            <pc:sldMk cId="2115270536" sldId="1004"/>
            <ac:picMk id="14" creationId="{DD453BEC-F9A6-9220-E024-9D0EE346FBD1}"/>
          </ac:picMkLst>
        </pc:picChg>
      </pc:sldChg>
      <pc:sldChg chg="add">
        <pc:chgData name="Andreas Koksrud" userId="9d9beba6-c052-407a-8599-c781a677a996" providerId="ADAL" clId="{4C89AD2D-B60A-479F-9F95-9D423A06FAEA}" dt="2024-07-31T19:25:38.188" v="31665" actId="2890"/>
        <pc:sldMkLst>
          <pc:docMk/>
          <pc:sldMk cId="891349444" sldId="1005"/>
        </pc:sldMkLst>
      </pc:sldChg>
      <pc:sldChg chg="new del">
        <pc:chgData name="Andreas Koksrud" userId="9d9beba6-c052-407a-8599-c781a677a996" providerId="ADAL" clId="{4C89AD2D-B60A-479F-9F95-9D423A06FAEA}" dt="2024-07-29T08:41:54.885" v="31309" actId="680"/>
        <pc:sldMkLst>
          <pc:docMk/>
          <pc:sldMk cId="2441957211" sldId="1005"/>
        </pc:sldMkLst>
      </pc:sldChg>
      <pc:sldChg chg="addSp delSp modSp add mod">
        <pc:chgData name="Andreas Koksrud" userId="9d9beba6-c052-407a-8599-c781a677a996" providerId="ADAL" clId="{4C89AD2D-B60A-479F-9F95-9D423A06FAEA}" dt="2024-08-06T12:24:24.051" v="37551" actId="1076"/>
        <pc:sldMkLst>
          <pc:docMk/>
          <pc:sldMk cId="1973431329" sldId="1006"/>
        </pc:sldMkLst>
        <pc:spChg chg="add del mod">
          <ac:chgData name="Andreas Koksrud" userId="9d9beba6-c052-407a-8599-c781a677a996" providerId="ADAL" clId="{4C89AD2D-B60A-479F-9F95-9D423A06FAEA}" dt="2024-08-04T16:32:09.694" v="37143" actId="478"/>
          <ac:spMkLst>
            <pc:docMk/>
            <pc:sldMk cId="1973431329" sldId="1006"/>
            <ac:spMk id="5" creationId="{99F89A76-97EE-432E-2287-774D9D5D2B01}"/>
          </ac:spMkLst>
        </pc:spChg>
        <pc:spChg chg="add mod">
          <ac:chgData name="Andreas Koksrud" userId="9d9beba6-c052-407a-8599-c781a677a996" providerId="ADAL" clId="{4C89AD2D-B60A-479F-9F95-9D423A06FAEA}" dt="2024-08-06T12:11:47.922" v="37490" actId="1076"/>
          <ac:spMkLst>
            <pc:docMk/>
            <pc:sldMk cId="1973431329" sldId="1006"/>
            <ac:spMk id="5" creationId="{BF490AA0-638A-A481-74F9-137557083419}"/>
          </ac:spMkLst>
        </pc:spChg>
        <pc:spChg chg="add mod">
          <ac:chgData name="Andreas Koksrud" userId="9d9beba6-c052-407a-8599-c781a677a996" providerId="ADAL" clId="{4C89AD2D-B60A-479F-9F95-9D423A06FAEA}" dt="2024-08-04T16:39:29.936" v="37445" actId="20577"/>
          <ac:spMkLst>
            <pc:docMk/>
            <pc:sldMk cId="1973431329" sldId="1006"/>
            <ac:spMk id="6" creationId="{0D4648DA-4B5B-6E10-A6B4-1C4D081CE994}"/>
          </ac:spMkLst>
        </pc:spChg>
        <pc:spChg chg="add mod">
          <ac:chgData name="Andreas Koksrud" userId="9d9beba6-c052-407a-8599-c781a677a996" providerId="ADAL" clId="{4C89AD2D-B60A-479F-9F95-9D423A06FAEA}" dt="2024-08-06T12:16:08.746" v="37493" actId="571"/>
          <ac:spMkLst>
            <pc:docMk/>
            <pc:sldMk cId="1973431329" sldId="1006"/>
            <ac:spMk id="8" creationId="{4F5C001A-329A-5C97-3A36-A4A152C0B18D}"/>
          </ac:spMkLst>
        </pc:spChg>
        <pc:spChg chg="del">
          <ac:chgData name="Andreas Koksrud" userId="9d9beba6-c052-407a-8599-c781a677a996" providerId="ADAL" clId="{4C89AD2D-B60A-479F-9F95-9D423A06FAEA}" dt="2024-08-04T16:31:54.721" v="37138" actId="478"/>
          <ac:spMkLst>
            <pc:docMk/>
            <pc:sldMk cId="1973431329" sldId="1006"/>
            <ac:spMk id="9" creationId="{CA0B8F57-C785-7ED7-75A2-B61F4152EC1C}"/>
          </ac:spMkLst>
        </pc:spChg>
        <pc:spChg chg="del">
          <ac:chgData name="Andreas Koksrud" userId="9d9beba6-c052-407a-8599-c781a677a996" providerId="ADAL" clId="{4C89AD2D-B60A-479F-9F95-9D423A06FAEA}" dt="2024-08-04T16:31:54.721" v="37138" actId="478"/>
          <ac:spMkLst>
            <pc:docMk/>
            <pc:sldMk cId="1973431329" sldId="1006"/>
            <ac:spMk id="10" creationId="{F997FC19-E381-D98F-81A5-EB4D94CF74AB}"/>
          </ac:spMkLst>
        </pc:spChg>
        <pc:spChg chg="add mod">
          <ac:chgData name="Andreas Koksrud" userId="9d9beba6-c052-407a-8599-c781a677a996" providerId="ADAL" clId="{4C89AD2D-B60A-479F-9F95-9D423A06FAEA}" dt="2024-08-06T12:17:23.712" v="37545" actId="1076"/>
          <ac:spMkLst>
            <pc:docMk/>
            <pc:sldMk cId="1973431329" sldId="1006"/>
            <ac:spMk id="11" creationId="{52D1236E-4802-CEC2-BD4D-A6CAA7DD4F85}"/>
          </ac:spMkLst>
        </pc:spChg>
        <pc:spChg chg="del">
          <ac:chgData name="Andreas Koksrud" userId="9d9beba6-c052-407a-8599-c781a677a996" providerId="ADAL" clId="{4C89AD2D-B60A-479F-9F95-9D423A06FAEA}" dt="2024-08-04T16:31:54.721" v="37138" actId="478"/>
          <ac:spMkLst>
            <pc:docMk/>
            <pc:sldMk cId="1973431329" sldId="1006"/>
            <ac:spMk id="18" creationId="{590BE1AA-95AF-43A9-954A-A3E79A728521}"/>
          </ac:spMkLst>
        </pc:spChg>
        <pc:spChg chg="mod">
          <ac:chgData name="Andreas Koksrud" userId="9d9beba6-c052-407a-8599-c781a677a996" providerId="ADAL" clId="{4C89AD2D-B60A-479F-9F95-9D423A06FAEA}" dt="2024-08-04T16:32:46.595" v="37154" actId="20577"/>
          <ac:spMkLst>
            <pc:docMk/>
            <pc:sldMk cId="1973431329" sldId="1006"/>
            <ac:spMk id="180" creationId="{00000000-0000-0000-0000-000000000000}"/>
          </ac:spMkLst>
        </pc:spChg>
        <pc:spChg chg="del mod">
          <ac:chgData name="Andreas Koksrud" userId="9d9beba6-c052-407a-8599-c781a677a996" providerId="ADAL" clId="{4C89AD2D-B60A-479F-9F95-9D423A06FAEA}" dt="2024-08-04T16:31:59.644" v="37141" actId="478"/>
          <ac:spMkLst>
            <pc:docMk/>
            <pc:sldMk cId="1973431329" sldId="1006"/>
            <ac:spMk id="181" creationId="{00000000-0000-0000-0000-000000000000}"/>
          </ac:spMkLst>
        </pc:spChg>
        <pc:picChg chg="del">
          <ac:chgData name="Andreas Koksrud" userId="9d9beba6-c052-407a-8599-c781a677a996" providerId="ADAL" clId="{4C89AD2D-B60A-479F-9F95-9D423A06FAEA}" dt="2024-08-04T16:31:52.135" v="37136" actId="478"/>
          <ac:picMkLst>
            <pc:docMk/>
            <pc:sldMk cId="1973431329" sldId="1006"/>
            <ac:picMk id="7" creationId="{D270A669-DD81-7E28-5FED-586D5E20D301}"/>
          </ac:picMkLst>
        </pc:picChg>
        <pc:picChg chg="add del">
          <ac:chgData name="Andreas Koksrud" userId="9d9beba6-c052-407a-8599-c781a677a996" providerId="ADAL" clId="{4C89AD2D-B60A-479F-9F95-9D423A06FAEA}" dt="2024-08-04T16:36:58.202" v="37359" actId="478"/>
          <ac:picMkLst>
            <pc:docMk/>
            <pc:sldMk cId="1973431329" sldId="1006"/>
            <ac:picMk id="12" creationId="{A4ED79FB-63A1-1D31-93B7-775792EFF5CE}"/>
          </ac:picMkLst>
        </pc:picChg>
        <pc:picChg chg="del">
          <ac:chgData name="Andreas Koksrud" userId="9d9beba6-c052-407a-8599-c781a677a996" providerId="ADAL" clId="{4C89AD2D-B60A-479F-9F95-9D423A06FAEA}" dt="2024-08-04T16:31:52.960" v="37137" actId="478"/>
          <ac:picMkLst>
            <pc:docMk/>
            <pc:sldMk cId="1973431329" sldId="1006"/>
            <ac:picMk id="13" creationId="{C1E9FDD8-2702-0576-73BE-828D8198DCFB}"/>
          </ac:picMkLst>
        </pc:picChg>
        <pc:picChg chg="add mod">
          <ac:chgData name="Andreas Koksrud" userId="9d9beba6-c052-407a-8599-c781a677a996" providerId="ADAL" clId="{4C89AD2D-B60A-479F-9F95-9D423A06FAEA}" dt="2024-08-06T12:24:24.051" v="37551" actId="1076"/>
          <ac:picMkLst>
            <pc:docMk/>
            <pc:sldMk cId="1973431329" sldId="1006"/>
            <ac:picMk id="15" creationId="{8E3DB78A-889B-FE8A-A870-262BE8307440}"/>
          </ac:picMkLst>
        </pc:picChg>
        <pc:picChg chg="add mod">
          <ac:chgData name="Andreas Koksrud" userId="9d9beba6-c052-407a-8599-c781a677a996" providerId="ADAL" clId="{4C89AD2D-B60A-479F-9F95-9D423A06FAEA}" dt="2024-08-04T16:39:46.972" v="37450" actId="1076"/>
          <ac:picMkLst>
            <pc:docMk/>
            <pc:sldMk cId="1973431329" sldId="1006"/>
            <ac:picMk id="16" creationId="{9EC9C4B6-6713-57DC-CDF7-4AB82213FA0E}"/>
          </ac:picMkLst>
        </pc:picChg>
        <pc:picChg chg="del">
          <ac:chgData name="Andreas Koksrud" userId="9d9beba6-c052-407a-8599-c781a677a996" providerId="ADAL" clId="{4C89AD2D-B60A-479F-9F95-9D423A06FAEA}" dt="2024-08-04T16:31:51.295" v="37135" actId="478"/>
          <ac:picMkLst>
            <pc:docMk/>
            <pc:sldMk cId="1973431329" sldId="1006"/>
            <ac:picMk id="17" creationId="{A5E4FFA0-B255-C8A8-4BB6-FF985E86FD5E}"/>
          </ac:picMkLst>
        </pc:picChg>
        <pc:picChg chg="add mod">
          <ac:chgData name="Andreas Koksrud" userId="9d9beba6-c052-407a-8599-c781a677a996" providerId="ADAL" clId="{4C89AD2D-B60A-479F-9F95-9D423A06FAEA}" dt="2024-08-04T16:42:37.590" v="37456" actId="14100"/>
          <ac:picMkLst>
            <pc:docMk/>
            <pc:sldMk cId="1973431329" sldId="1006"/>
            <ac:picMk id="20" creationId="{8A5E579A-7D44-0A7C-58BD-5B6F159E42F0}"/>
          </ac:picMkLst>
        </pc:picChg>
        <pc:picChg chg="add del mod">
          <ac:chgData name="Andreas Koksrud" userId="9d9beba6-c052-407a-8599-c781a677a996" providerId="ADAL" clId="{4C89AD2D-B60A-479F-9F95-9D423A06FAEA}" dt="2024-08-04T16:46:17.921" v="37485" actId="478"/>
          <ac:picMkLst>
            <pc:docMk/>
            <pc:sldMk cId="1973431329" sldId="1006"/>
            <ac:picMk id="22" creationId="{ED81073F-75B4-3093-ED48-8D3442D424F7}"/>
          </ac:picMkLst>
        </pc:picChg>
        <pc:picChg chg="add mod">
          <ac:chgData name="Andreas Koksrud" userId="9d9beba6-c052-407a-8599-c781a677a996" providerId="ADAL" clId="{4C89AD2D-B60A-479F-9F95-9D423A06FAEA}" dt="2024-08-04T16:46:24.599" v="37488" actId="14100"/>
          <ac:picMkLst>
            <pc:docMk/>
            <pc:sldMk cId="1973431329" sldId="1006"/>
            <ac:picMk id="24" creationId="{6FE53B6D-961A-2176-C25C-3CDF0070DE87}"/>
          </ac:picMkLst>
        </pc:picChg>
        <pc:cxnChg chg="add mod">
          <ac:chgData name="Andreas Koksrud" userId="9d9beba6-c052-407a-8599-c781a677a996" providerId="ADAL" clId="{4C89AD2D-B60A-479F-9F95-9D423A06FAEA}" dt="2024-08-06T12:16:01.106" v="37492" actId="14100"/>
          <ac:cxnSpMkLst>
            <pc:docMk/>
            <pc:sldMk cId="1973431329" sldId="1006"/>
            <ac:cxnSpMk id="2" creationId="{F3838632-C318-389B-A421-99F75FBD93F5}"/>
          </ac:cxnSpMkLst>
        </pc:cxnChg>
        <pc:cxnChg chg="del">
          <ac:chgData name="Andreas Koksrud" userId="9d9beba6-c052-407a-8599-c781a677a996" providerId="ADAL" clId="{4C89AD2D-B60A-479F-9F95-9D423A06FAEA}" dt="2024-08-04T16:31:54.721" v="37138" actId="478"/>
          <ac:cxnSpMkLst>
            <pc:docMk/>
            <pc:sldMk cId="1973431329" sldId="1006"/>
            <ac:cxnSpMk id="8" creationId="{E82D89F0-8631-AF82-B3B7-0F64B54EE1B5}"/>
          </ac:cxnSpMkLst>
        </pc:cxnChg>
        <pc:cxnChg chg="add mod">
          <ac:chgData name="Andreas Koksrud" userId="9d9beba6-c052-407a-8599-c781a677a996" providerId="ADAL" clId="{4C89AD2D-B60A-479F-9F95-9D423A06FAEA}" dt="2024-08-06T12:16:16.086" v="37495" actId="14100"/>
          <ac:cxnSpMkLst>
            <pc:docMk/>
            <pc:sldMk cId="1973431329" sldId="1006"/>
            <ac:cxnSpMk id="9" creationId="{A0C3E323-BE57-68A1-017B-F0AE6914118C}"/>
          </ac:cxnSpMkLst>
        </pc:cxnChg>
        <pc:cxnChg chg="add mod">
          <ac:chgData name="Andreas Koksrud" userId="9d9beba6-c052-407a-8599-c781a677a996" providerId="ADAL" clId="{4C89AD2D-B60A-479F-9F95-9D423A06FAEA}" dt="2024-08-06T12:17:31.098" v="37547" actId="14100"/>
          <ac:cxnSpMkLst>
            <pc:docMk/>
            <pc:sldMk cId="1973431329" sldId="1006"/>
            <ac:cxnSpMk id="12" creationId="{77C1C8D9-11E6-27F5-83C3-19339006CADF}"/>
          </ac:cxnSpMkLst>
        </pc:cxnChg>
        <pc:cxnChg chg="del">
          <ac:chgData name="Andreas Koksrud" userId="9d9beba6-c052-407a-8599-c781a677a996" providerId="ADAL" clId="{4C89AD2D-B60A-479F-9F95-9D423A06FAEA}" dt="2024-08-04T16:31:54.721" v="37138" actId="478"/>
          <ac:cxnSpMkLst>
            <pc:docMk/>
            <pc:sldMk cId="1973431329" sldId="1006"/>
            <ac:cxnSpMk id="14" creationId="{B2C9EDD1-F9A4-636D-A7D1-7E8A19E2AC32}"/>
          </ac:cxnSpMkLst>
        </pc:cxnChg>
      </pc:sldChg>
      <pc:sldChg chg="addSp delSp modSp add mod">
        <pc:chgData name="Andreas Koksrud" userId="9d9beba6-c052-407a-8599-c781a677a996" providerId="ADAL" clId="{4C89AD2D-B60A-479F-9F95-9D423A06FAEA}" dt="2024-08-06T12:45:51.596" v="37680" actId="14100"/>
        <pc:sldMkLst>
          <pc:docMk/>
          <pc:sldMk cId="393510099" sldId="1007"/>
        </pc:sldMkLst>
        <pc:spChg chg="add del mod">
          <ac:chgData name="Andreas Koksrud" userId="9d9beba6-c052-407a-8599-c781a677a996" providerId="ADAL" clId="{4C89AD2D-B60A-479F-9F95-9D423A06FAEA}" dt="2024-08-06T12:25:26.108" v="37553" actId="478"/>
          <ac:spMkLst>
            <pc:docMk/>
            <pc:sldMk cId="393510099" sldId="1007"/>
            <ac:spMk id="2" creationId="{C9AA2A52-AB22-FC6F-F11C-EDF1D8477DCD}"/>
          </ac:spMkLst>
        </pc:spChg>
        <pc:spChg chg="mod">
          <ac:chgData name="Andreas Koksrud" userId="9d9beba6-c052-407a-8599-c781a677a996" providerId="ADAL" clId="{4C89AD2D-B60A-479F-9F95-9D423A06FAEA}" dt="2024-08-06T12:40:09.720" v="37654" actId="20577"/>
          <ac:spMkLst>
            <pc:docMk/>
            <pc:sldMk cId="393510099" sldId="1007"/>
            <ac:spMk id="6" creationId="{0D4648DA-4B5B-6E10-A6B4-1C4D081CE994}"/>
          </ac:spMkLst>
        </pc:spChg>
        <pc:spChg chg="add mod">
          <ac:chgData name="Andreas Koksrud" userId="9d9beba6-c052-407a-8599-c781a677a996" providerId="ADAL" clId="{4C89AD2D-B60A-479F-9F95-9D423A06FAEA}" dt="2024-08-06T12:39:44.052" v="37574" actId="14100"/>
          <ac:spMkLst>
            <pc:docMk/>
            <pc:sldMk cId="393510099" sldId="1007"/>
            <ac:spMk id="9" creationId="{EA9522FE-046D-6C60-1C30-3D9CC75D9B9F}"/>
          </ac:spMkLst>
        </pc:spChg>
        <pc:spChg chg="add mod">
          <ac:chgData name="Andreas Koksrud" userId="9d9beba6-c052-407a-8599-c781a677a996" providerId="ADAL" clId="{4C89AD2D-B60A-479F-9F95-9D423A06FAEA}" dt="2024-08-06T12:39:40.331" v="37573" actId="14100"/>
          <ac:spMkLst>
            <pc:docMk/>
            <pc:sldMk cId="393510099" sldId="1007"/>
            <ac:spMk id="10" creationId="{5737FA8F-D1D5-BE7D-F9C3-7B6CD30F3BC9}"/>
          </ac:spMkLst>
        </pc:spChg>
        <pc:spChg chg="add del mod">
          <ac:chgData name="Andreas Koksrud" userId="9d9beba6-c052-407a-8599-c781a677a996" providerId="ADAL" clId="{4C89AD2D-B60A-479F-9F95-9D423A06FAEA}" dt="2024-08-06T12:39:34.774" v="37571" actId="478"/>
          <ac:spMkLst>
            <pc:docMk/>
            <pc:sldMk cId="393510099" sldId="1007"/>
            <ac:spMk id="13" creationId="{F561E89F-E1EE-6F5A-8997-74F66B0F4155}"/>
          </ac:spMkLst>
        </pc:spChg>
        <pc:spChg chg="mod">
          <ac:chgData name="Andreas Koksrud" userId="9d9beba6-c052-407a-8599-c781a677a996" providerId="ADAL" clId="{4C89AD2D-B60A-479F-9F95-9D423A06FAEA}" dt="2024-08-04T16:34:44.198" v="37179" actId="20577"/>
          <ac:spMkLst>
            <pc:docMk/>
            <pc:sldMk cId="393510099" sldId="1007"/>
            <ac:spMk id="180" creationId="{00000000-0000-0000-0000-000000000000}"/>
          </ac:spMkLst>
        </pc:spChg>
        <pc:picChg chg="add del mod">
          <ac:chgData name="Andreas Koksrud" userId="9d9beba6-c052-407a-8599-c781a677a996" providerId="ADAL" clId="{4C89AD2D-B60A-479F-9F95-9D423A06FAEA}" dt="2024-08-06T12:38:42.346" v="37564" actId="478"/>
          <ac:picMkLst>
            <pc:docMk/>
            <pc:sldMk cId="393510099" sldId="1007"/>
            <ac:picMk id="5" creationId="{FE307C5B-98CE-AAA9-5B44-15D2F0372C1E}"/>
          </ac:picMkLst>
        </pc:picChg>
        <pc:picChg chg="add del mod">
          <ac:chgData name="Andreas Koksrud" userId="9d9beba6-c052-407a-8599-c781a677a996" providerId="ADAL" clId="{4C89AD2D-B60A-479F-9F95-9D423A06FAEA}" dt="2024-08-06T12:40:38.385" v="37657" actId="478"/>
          <ac:picMkLst>
            <pc:docMk/>
            <pc:sldMk cId="393510099" sldId="1007"/>
            <ac:picMk id="7" creationId="{E00FCB49-C960-7143-5476-383FB89997BB}"/>
          </ac:picMkLst>
        </pc:picChg>
        <pc:picChg chg="add mod ord modCrop">
          <ac:chgData name="Andreas Koksrud" userId="9d9beba6-c052-407a-8599-c781a677a996" providerId="ADAL" clId="{4C89AD2D-B60A-479F-9F95-9D423A06FAEA}" dt="2024-08-06T12:39:26.488" v="37570" actId="732"/>
          <ac:picMkLst>
            <pc:docMk/>
            <pc:sldMk cId="393510099" sldId="1007"/>
            <ac:picMk id="14" creationId="{34B80D8D-28CA-A753-5C59-71D512055FD0}"/>
          </ac:picMkLst>
        </pc:picChg>
        <pc:picChg chg="add mod">
          <ac:chgData name="Andreas Koksrud" userId="9d9beba6-c052-407a-8599-c781a677a996" providerId="ADAL" clId="{4C89AD2D-B60A-479F-9F95-9D423A06FAEA}" dt="2024-08-06T12:41:07.520" v="37660" actId="14100"/>
          <ac:picMkLst>
            <pc:docMk/>
            <pc:sldMk cId="393510099" sldId="1007"/>
            <ac:picMk id="18" creationId="{A356CE13-1D38-7645-880F-A5DCBC74F3D1}"/>
          </ac:picMkLst>
        </pc:picChg>
        <pc:picChg chg="add mod">
          <ac:chgData name="Andreas Koksrud" userId="9d9beba6-c052-407a-8599-c781a677a996" providerId="ADAL" clId="{4C89AD2D-B60A-479F-9F95-9D423A06FAEA}" dt="2024-08-06T12:41:33.381" v="37663" actId="14100"/>
          <ac:picMkLst>
            <pc:docMk/>
            <pc:sldMk cId="393510099" sldId="1007"/>
            <ac:picMk id="20" creationId="{69901157-AF83-E86B-B56A-DEF711529082}"/>
          </ac:picMkLst>
        </pc:picChg>
        <pc:picChg chg="add mod">
          <ac:chgData name="Andreas Koksrud" userId="9d9beba6-c052-407a-8599-c781a677a996" providerId="ADAL" clId="{4C89AD2D-B60A-479F-9F95-9D423A06FAEA}" dt="2024-08-06T12:41:56.363" v="37666" actId="14100"/>
          <ac:picMkLst>
            <pc:docMk/>
            <pc:sldMk cId="393510099" sldId="1007"/>
            <ac:picMk id="22" creationId="{149DD14F-5045-F81E-96FA-0A9B4B309FF8}"/>
          </ac:picMkLst>
        </pc:picChg>
        <pc:picChg chg="add mod">
          <ac:chgData name="Andreas Koksrud" userId="9d9beba6-c052-407a-8599-c781a677a996" providerId="ADAL" clId="{4C89AD2D-B60A-479F-9F95-9D423A06FAEA}" dt="2024-08-06T12:45:22.769" v="37677" actId="1076"/>
          <ac:picMkLst>
            <pc:docMk/>
            <pc:sldMk cId="393510099" sldId="1007"/>
            <ac:picMk id="32" creationId="{F8DA2683-BDFE-F449-57CB-F72B8877350B}"/>
          </ac:picMkLst>
        </pc:picChg>
        <pc:picChg chg="add mod">
          <ac:chgData name="Andreas Koksrud" userId="9d9beba6-c052-407a-8599-c781a677a996" providerId="ADAL" clId="{4C89AD2D-B60A-479F-9F95-9D423A06FAEA}" dt="2024-08-06T12:45:51.596" v="37680" actId="14100"/>
          <ac:picMkLst>
            <pc:docMk/>
            <pc:sldMk cId="393510099" sldId="1007"/>
            <ac:picMk id="34" creationId="{E734843C-18F0-BB37-5A4F-3FEF0381F50C}"/>
          </ac:picMkLst>
        </pc:picChg>
        <pc:cxnChg chg="add mod">
          <ac:chgData name="Andreas Koksrud" userId="9d9beba6-c052-407a-8599-c781a677a996" providerId="ADAL" clId="{4C89AD2D-B60A-479F-9F95-9D423A06FAEA}" dt="2024-08-06T12:40:18.529" v="37656" actId="14100"/>
          <ac:cxnSpMkLst>
            <pc:docMk/>
            <pc:sldMk cId="393510099" sldId="1007"/>
            <ac:cxnSpMk id="8" creationId="{6DB23AA1-8A0B-5B86-3A9C-F1363D6B2A91}"/>
          </ac:cxnSpMkLst>
        </pc:cxnChg>
        <pc:cxnChg chg="add mod">
          <ac:chgData name="Andreas Koksrud" userId="9d9beba6-c052-407a-8599-c781a677a996" providerId="ADAL" clId="{4C89AD2D-B60A-479F-9F95-9D423A06FAEA}" dt="2024-08-06T12:40:14.966" v="37655" actId="14100"/>
          <ac:cxnSpMkLst>
            <pc:docMk/>
            <pc:sldMk cId="393510099" sldId="1007"/>
            <ac:cxnSpMk id="11" creationId="{48D8B29F-B432-E37A-0E38-022A27E4C0AB}"/>
          </ac:cxnSpMkLst>
        </pc:cxnChg>
        <pc:cxnChg chg="add del mod">
          <ac:chgData name="Andreas Koksrud" userId="9d9beba6-c052-407a-8599-c781a677a996" providerId="ADAL" clId="{4C89AD2D-B60A-479F-9F95-9D423A06FAEA}" dt="2024-08-06T12:39:36.454" v="37572" actId="478"/>
          <ac:cxnSpMkLst>
            <pc:docMk/>
            <pc:sldMk cId="393510099" sldId="1007"/>
            <ac:cxnSpMk id="12" creationId="{0AAACBDE-4559-DE16-4A89-770607D8C8CE}"/>
          </ac:cxnSpMkLst>
        </pc:cxnChg>
        <pc:cxnChg chg="add mod">
          <ac:chgData name="Andreas Koksrud" userId="9d9beba6-c052-407a-8599-c781a677a996" providerId="ADAL" clId="{4C89AD2D-B60A-479F-9F95-9D423A06FAEA}" dt="2024-08-06T12:42:11.084" v="37669" actId="14100"/>
          <ac:cxnSpMkLst>
            <pc:docMk/>
            <pc:sldMk cId="393510099" sldId="1007"/>
            <ac:cxnSpMk id="23" creationId="{E688358A-2472-8643-1ECF-1FAB3B17AEA4}"/>
          </ac:cxnSpMkLst>
        </pc:cxnChg>
        <pc:cxnChg chg="add mod">
          <ac:chgData name="Andreas Koksrud" userId="9d9beba6-c052-407a-8599-c781a677a996" providerId="ADAL" clId="{4C89AD2D-B60A-479F-9F95-9D423A06FAEA}" dt="2024-08-06T12:42:17.887" v="37672" actId="14100"/>
          <ac:cxnSpMkLst>
            <pc:docMk/>
            <pc:sldMk cId="393510099" sldId="1007"/>
            <ac:cxnSpMk id="26" creationId="{34096284-9148-45DA-E801-137CB0846677}"/>
          </ac:cxnSpMkLst>
        </pc:cxnChg>
        <pc:cxnChg chg="add mod">
          <ac:chgData name="Andreas Koksrud" userId="9d9beba6-c052-407a-8599-c781a677a996" providerId="ADAL" clId="{4C89AD2D-B60A-479F-9F95-9D423A06FAEA}" dt="2024-08-06T12:42:25.933" v="37674" actId="14100"/>
          <ac:cxnSpMkLst>
            <pc:docMk/>
            <pc:sldMk cId="393510099" sldId="1007"/>
            <ac:cxnSpMk id="29" creationId="{39D92218-74E7-6BA5-D3CE-E67955A4490A}"/>
          </ac:cxnSpMkLst>
        </pc:cxnChg>
      </pc:sldChg>
      <pc:sldChg chg="modSp add del mod">
        <pc:chgData name="Andreas Koksrud" userId="9d9beba6-c052-407a-8599-c781a677a996" providerId="ADAL" clId="{4C89AD2D-B60A-479F-9F95-9D423A06FAEA}" dt="2024-08-06T12:46:21.028" v="37681" actId="47"/>
        <pc:sldMkLst>
          <pc:docMk/>
          <pc:sldMk cId="628658036" sldId="1008"/>
        </pc:sldMkLst>
        <pc:spChg chg="mod">
          <ac:chgData name="Andreas Koksrud" userId="9d9beba6-c052-407a-8599-c781a677a996" providerId="ADAL" clId="{4C89AD2D-B60A-479F-9F95-9D423A06FAEA}" dt="2024-08-04T16:34:50.152" v="37194" actId="20577"/>
          <ac:spMkLst>
            <pc:docMk/>
            <pc:sldMk cId="628658036" sldId="1008"/>
            <ac:spMk id="180" creationId="{00000000-0000-0000-0000-000000000000}"/>
          </ac:spMkLst>
        </pc:spChg>
      </pc:sldChg>
      <pc:sldChg chg="addSp modSp add mod">
        <pc:chgData name="Andreas Koksrud" userId="9d9beba6-c052-407a-8599-c781a677a996" providerId="ADAL" clId="{4C89AD2D-B60A-479F-9F95-9D423A06FAEA}" dt="2024-08-06T13:13:17.154" v="38404" actId="14826"/>
        <pc:sldMkLst>
          <pc:docMk/>
          <pc:sldMk cId="204293732" sldId="1009"/>
        </pc:sldMkLst>
        <pc:spChg chg="mod">
          <ac:chgData name="Andreas Koksrud" userId="9d9beba6-c052-407a-8599-c781a677a996" providerId="ADAL" clId="{4C89AD2D-B60A-479F-9F95-9D423A06FAEA}" dt="2024-08-06T13:09:14.558" v="38236" actId="403"/>
          <ac:spMkLst>
            <pc:docMk/>
            <pc:sldMk cId="204293732" sldId="1009"/>
            <ac:spMk id="6" creationId="{0D4648DA-4B5B-6E10-A6B4-1C4D081CE994}"/>
          </ac:spMkLst>
        </pc:spChg>
        <pc:spChg chg="add mod">
          <ac:chgData name="Andreas Koksrud" userId="9d9beba6-c052-407a-8599-c781a677a996" providerId="ADAL" clId="{4C89AD2D-B60A-479F-9F95-9D423A06FAEA}" dt="2024-08-06T12:57:53.063" v="38066" actId="1037"/>
          <ac:spMkLst>
            <pc:docMk/>
            <pc:sldMk cId="204293732" sldId="1009"/>
            <ac:spMk id="7" creationId="{B250CD7F-4F1F-032D-232F-76216BBC57FA}"/>
          </ac:spMkLst>
        </pc:spChg>
        <pc:spChg chg="add mod">
          <ac:chgData name="Andreas Koksrud" userId="9d9beba6-c052-407a-8599-c781a677a996" providerId="ADAL" clId="{4C89AD2D-B60A-479F-9F95-9D423A06FAEA}" dt="2024-08-06T13:11:07.477" v="38333" actId="27636"/>
          <ac:spMkLst>
            <pc:docMk/>
            <pc:sldMk cId="204293732" sldId="1009"/>
            <ac:spMk id="27" creationId="{9F9FC0F1-3DB9-11A0-0582-2A41985BC798}"/>
          </ac:spMkLst>
        </pc:spChg>
        <pc:spChg chg="add mod">
          <ac:chgData name="Andreas Koksrud" userId="9d9beba6-c052-407a-8599-c781a677a996" providerId="ADAL" clId="{4C89AD2D-B60A-479F-9F95-9D423A06FAEA}" dt="2024-08-06T13:11:45.427" v="38402" actId="27636"/>
          <ac:spMkLst>
            <pc:docMk/>
            <pc:sldMk cId="204293732" sldId="1009"/>
            <ac:spMk id="32" creationId="{7441BED7-411B-F94C-B861-6678777A050F}"/>
          </ac:spMkLst>
        </pc:spChg>
        <pc:spChg chg="mod">
          <ac:chgData name="Andreas Koksrud" userId="9d9beba6-c052-407a-8599-c781a677a996" providerId="ADAL" clId="{4C89AD2D-B60A-479F-9F95-9D423A06FAEA}" dt="2024-08-04T16:35:03.835" v="37234" actId="20577"/>
          <ac:spMkLst>
            <pc:docMk/>
            <pc:sldMk cId="204293732" sldId="1009"/>
            <ac:spMk id="180" creationId="{00000000-0000-0000-0000-000000000000}"/>
          </ac:spMkLst>
        </pc:spChg>
        <pc:picChg chg="add mod">
          <ac:chgData name="Andreas Koksrud" userId="9d9beba6-c052-407a-8599-c781a677a996" providerId="ADAL" clId="{4C89AD2D-B60A-479F-9F95-9D423A06FAEA}" dt="2024-08-06T12:57:32.718" v="38060" actId="14100"/>
          <ac:picMkLst>
            <pc:docMk/>
            <pc:sldMk cId="204293732" sldId="1009"/>
            <ac:picMk id="5" creationId="{7D6069A2-9501-2300-BD28-8209D040D610}"/>
          </ac:picMkLst>
        </pc:picChg>
        <pc:picChg chg="add mod ord">
          <ac:chgData name="Andreas Koksrud" userId="9d9beba6-c052-407a-8599-c781a677a996" providerId="ADAL" clId="{4C89AD2D-B60A-479F-9F95-9D423A06FAEA}" dt="2024-08-06T13:00:14.291" v="38073" actId="167"/>
          <ac:picMkLst>
            <pc:docMk/>
            <pc:sldMk cId="204293732" sldId="1009"/>
            <ac:picMk id="12" creationId="{CA5A0F25-9526-EBB3-A04F-5EB28C9A446E}"/>
          </ac:picMkLst>
        </pc:picChg>
        <pc:picChg chg="add mod">
          <ac:chgData name="Andreas Koksrud" userId="9d9beba6-c052-407a-8599-c781a677a996" providerId="ADAL" clId="{4C89AD2D-B60A-479F-9F95-9D423A06FAEA}" dt="2024-08-06T13:08:32.916" v="38181" actId="1076"/>
          <ac:picMkLst>
            <pc:docMk/>
            <pc:sldMk cId="204293732" sldId="1009"/>
            <ac:picMk id="15" creationId="{127C00FE-471B-0958-D5D3-5F812F0489F6}"/>
          </ac:picMkLst>
        </pc:picChg>
        <pc:picChg chg="add mod">
          <ac:chgData name="Andreas Koksrud" userId="9d9beba6-c052-407a-8599-c781a677a996" providerId="ADAL" clId="{4C89AD2D-B60A-479F-9F95-9D423A06FAEA}" dt="2024-08-06T13:13:17.154" v="38404" actId="14826"/>
          <ac:picMkLst>
            <pc:docMk/>
            <pc:sldMk cId="204293732" sldId="1009"/>
            <ac:picMk id="19" creationId="{359151E5-029A-999E-26AE-1377CE51CE76}"/>
          </ac:picMkLst>
        </pc:picChg>
        <pc:picChg chg="add mod">
          <ac:chgData name="Andreas Koksrud" userId="9d9beba6-c052-407a-8599-c781a677a996" providerId="ADAL" clId="{4C89AD2D-B60A-479F-9F95-9D423A06FAEA}" dt="2024-08-06T13:10:59.204" v="38330" actId="1076"/>
          <ac:picMkLst>
            <pc:docMk/>
            <pc:sldMk cId="204293732" sldId="1009"/>
            <ac:picMk id="30" creationId="{9DCA5A58-5D56-1568-3249-932C89E09859}"/>
          </ac:picMkLst>
        </pc:picChg>
        <pc:cxnChg chg="add mod">
          <ac:chgData name="Andreas Koksrud" userId="9d9beba6-c052-407a-8599-c781a677a996" providerId="ADAL" clId="{4C89AD2D-B60A-479F-9F95-9D423A06FAEA}" dt="2024-08-06T13:00:11.520" v="38072" actId="14100"/>
          <ac:cxnSpMkLst>
            <pc:docMk/>
            <pc:sldMk cId="204293732" sldId="1009"/>
            <ac:cxnSpMk id="8" creationId="{B1874FD3-F563-97BC-FDE6-AC4BDAED6CF9}"/>
          </ac:cxnSpMkLst>
        </pc:cxnChg>
        <pc:cxnChg chg="add mod">
          <ac:chgData name="Andreas Koksrud" userId="9d9beba6-c052-407a-8599-c781a677a996" providerId="ADAL" clId="{4C89AD2D-B60A-479F-9F95-9D423A06FAEA}" dt="2024-08-06T13:06:18.665" v="38171" actId="14100"/>
          <ac:cxnSpMkLst>
            <pc:docMk/>
            <pc:sldMk cId="204293732" sldId="1009"/>
            <ac:cxnSpMk id="16" creationId="{AC1557EC-4A73-6D5E-CC6D-62931451DEA2}"/>
          </ac:cxnSpMkLst>
        </pc:cxnChg>
        <pc:cxnChg chg="add mod">
          <ac:chgData name="Andreas Koksrud" userId="9d9beba6-c052-407a-8599-c781a677a996" providerId="ADAL" clId="{4C89AD2D-B60A-479F-9F95-9D423A06FAEA}" dt="2024-08-06T13:11:52.421" v="38403" actId="14100"/>
          <ac:cxnSpMkLst>
            <pc:docMk/>
            <pc:sldMk cId="204293732" sldId="1009"/>
            <ac:cxnSpMk id="21" creationId="{F2921D8A-B823-857B-75BD-14275745C8CB}"/>
          </ac:cxnSpMkLst>
        </pc:cxnChg>
        <pc:cxnChg chg="add mod">
          <ac:chgData name="Andreas Koksrud" userId="9d9beba6-c052-407a-8599-c781a677a996" providerId="ADAL" clId="{4C89AD2D-B60A-479F-9F95-9D423A06FAEA}" dt="2024-08-06T13:09:59.339" v="38244" actId="14100"/>
          <ac:cxnSpMkLst>
            <pc:docMk/>
            <pc:sldMk cId="204293732" sldId="1009"/>
            <ac:cxnSpMk id="25" creationId="{267E66C1-AFF1-F625-4563-8C222B7AF09A}"/>
          </ac:cxnSpMkLst>
        </pc:cxnChg>
      </pc:sldChg>
      <pc:sldChg chg="addSp delSp modSp add mod">
        <pc:chgData name="Andreas Koksrud" userId="9d9beba6-c052-407a-8599-c781a677a996" providerId="ADAL" clId="{4C89AD2D-B60A-479F-9F95-9D423A06FAEA}" dt="2024-08-06T12:54:17.888" v="37944" actId="1076"/>
        <pc:sldMkLst>
          <pc:docMk/>
          <pc:sldMk cId="1721478970" sldId="1010"/>
        </pc:sldMkLst>
        <pc:spChg chg="mod">
          <ac:chgData name="Andreas Koksrud" userId="9d9beba6-c052-407a-8599-c781a677a996" providerId="ADAL" clId="{4C89AD2D-B60A-479F-9F95-9D423A06FAEA}" dt="2024-08-06T12:48:06.631" v="37749" actId="6549"/>
          <ac:spMkLst>
            <pc:docMk/>
            <pc:sldMk cId="1721478970" sldId="1010"/>
            <ac:spMk id="6" creationId="{0D4648DA-4B5B-6E10-A6B4-1C4D081CE994}"/>
          </ac:spMkLst>
        </pc:spChg>
        <pc:spChg chg="mod">
          <ac:chgData name="Andreas Koksrud" userId="9d9beba6-c052-407a-8599-c781a677a996" providerId="ADAL" clId="{4C89AD2D-B60A-479F-9F95-9D423A06FAEA}" dt="2024-08-06T12:47:34.456" v="37706" actId="14100"/>
          <ac:spMkLst>
            <pc:docMk/>
            <pc:sldMk cId="1721478970" sldId="1010"/>
            <ac:spMk id="9" creationId="{EA9522FE-046D-6C60-1C30-3D9CC75D9B9F}"/>
          </ac:spMkLst>
        </pc:spChg>
        <pc:spChg chg="mod">
          <ac:chgData name="Andreas Koksrud" userId="9d9beba6-c052-407a-8599-c781a677a996" providerId="ADAL" clId="{4C89AD2D-B60A-479F-9F95-9D423A06FAEA}" dt="2024-08-06T12:47:43.342" v="37707" actId="14100"/>
          <ac:spMkLst>
            <pc:docMk/>
            <pc:sldMk cId="1721478970" sldId="1010"/>
            <ac:spMk id="10" creationId="{5737FA8F-D1D5-BE7D-F9C3-7B6CD30F3BC9}"/>
          </ac:spMkLst>
        </pc:spChg>
        <pc:spChg chg="add mod">
          <ac:chgData name="Andreas Koksrud" userId="9d9beba6-c052-407a-8599-c781a677a996" providerId="ADAL" clId="{4C89AD2D-B60A-479F-9F95-9D423A06FAEA}" dt="2024-08-06T12:50:10.460" v="37761"/>
          <ac:spMkLst>
            <pc:docMk/>
            <pc:sldMk cId="1721478970" sldId="1010"/>
            <ac:spMk id="13" creationId="{5009A4B6-5845-F246-3B85-058382DA43CC}"/>
          </ac:spMkLst>
        </pc:spChg>
        <pc:spChg chg="add mod">
          <ac:chgData name="Andreas Koksrud" userId="9d9beba6-c052-407a-8599-c781a677a996" providerId="ADAL" clId="{4C89AD2D-B60A-479F-9F95-9D423A06FAEA}" dt="2024-08-06T12:50:10.460" v="37761"/>
          <ac:spMkLst>
            <pc:docMk/>
            <pc:sldMk cId="1721478970" sldId="1010"/>
            <ac:spMk id="15" creationId="{2B4512CC-043C-8815-A8CA-BF12F414CD89}"/>
          </ac:spMkLst>
        </pc:spChg>
        <pc:spChg chg="add mod">
          <ac:chgData name="Andreas Koksrud" userId="9d9beba6-c052-407a-8599-c781a677a996" providerId="ADAL" clId="{4C89AD2D-B60A-479F-9F95-9D423A06FAEA}" dt="2024-08-06T12:50:10.460" v="37761"/>
          <ac:spMkLst>
            <pc:docMk/>
            <pc:sldMk cId="1721478970" sldId="1010"/>
            <ac:spMk id="16" creationId="{03F084D7-BCF8-298C-81A4-164B79657963}"/>
          </ac:spMkLst>
        </pc:spChg>
        <pc:spChg chg="add mod">
          <ac:chgData name="Andreas Koksrud" userId="9d9beba6-c052-407a-8599-c781a677a996" providerId="ADAL" clId="{4C89AD2D-B60A-479F-9F95-9D423A06FAEA}" dt="2024-08-06T12:50:10.460" v="37761"/>
          <ac:spMkLst>
            <pc:docMk/>
            <pc:sldMk cId="1721478970" sldId="1010"/>
            <ac:spMk id="17" creationId="{83249ECC-52F2-A82D-0EDA-AE73A36A3ADC}"/>
          </ac:spMkLst>
        </pc:spChg>
        <pc:spChg chg="add mod">
          <ac:chgData name="Andreas Koksrud" userId="9d9beba6-c052-407a-8599-c781a677a996" providerId="ADAL" clId="{4C89AD2D-B60A-479F-9F95-9D423A06FAEA}" dt="2024-08-06T12:50:10.460" v="37761"/>
          <ac:spMkLst>
            <pc:docMk/>
            <pc:sldMk cId="1721478970" sldId="1010"/>
            <ac:spMk id="19" creationId="{D061BFDF-D940-5741-27AB-E0574D99F604}"/>
          </ac:spMkLst>
        </pc:spChg>
        <pc:spChg chg="add mod">
          <ac:chgData name="Andreas Koksrud" userId="9d9beba6-c052-407a-8599-c781a677a996" providerId="ADAL" clId="{4C89AD2D-B60A-479F-9F95-9D423A06FAEA}" dt="2024-08-06T12:50:10.460" v="37761"/>
          <ac:spMkLst>
            <pc:docMk/>
            <pc:sldMk cId="1721478970" sldId="1010"/>
            <ac:spMk id="21" creationId="{DAEC36BE-70B3-A8BC-9233-95562E815701}"/>
          </ac:spMkLst>
        </pc:spChg>
        <pc:spChg chg="add mod">
          <ac:chgData name="Andreas Koksrud" userId="9d9beba6-c052-407a-8599-c781a677a996" providerId="ADAL" clId="{4C89AD2D-B60A-479F-9F95-9D423A06FAEA}" dt="2024-08-06T12:51:34.679" v="37779" actId="14100"/>
          <ac:spMkLst>
            <pc:docMk/>
            <pc:sldMk cId="1721478970" sldId="1010"/>
            <ac:spMk id="24" creationId="{54106520-7F2D-C319-1F88-9EA7642B935A}"/>
          </ac:spMkLst>
        </pc:spChg>
        <pc:spChg chg="add mod">
          <ac:chgData name="Andreas Koksrud" userId="9d9beba6-c052-407a-8599-c781a677a996" providerId="ADAL" clId="{4C89AD2D-B60A-479F-9F95-9D423A06FAEA}" dt="2024-08-06T12:51:34.679" v="37779" actId="14100"/>
          <ac:spMkLst>
            <pc:docMk/>
            <pc:sldMk cId="1721478970" sldId="1010"/>
            <ac:spMk id="25" creationId="{64682E0C-7F56-1050-7FC1-CE0C576E093D}"/>
          </ac:spMkLst>
        </pc:spChg>
        <pc:spChg chg="add mod">
          <ac:chgData name="Andreas Koksrud" userId="9d9beba6-c052-407a-8599-c781a677a996" providerId="ADAL" clId="{4C89AD2D-B60A-479F-9F95-9D423A06FAEA}" dt="2024-08-06T12:51:34.679" v="37779" actId="14100"/>
          <ac:spMkLst>
            <pc:docMk/>
            <pc:sldMk cId="1721478970" sldId="1010"/>
            <ac:spMk id="27" creationId="{A102DBCC-132A-48BD-5804-1EF6F75E96E2}"/>
          </ac:spMkLst>
        </pc:spChg>
        <pc:spChg chg="add mod">
          <ac:chgData name="Andreas Koksrud" userId="9d9beba6-c052-407a-8599-c781a677a996" providerId="ADAL" clId="{4C89AD2D-B60A-479F-9F95-9D423A06FAEA}" dt="2024-08-06T12:52:18.655" v="37813" actId="1076"/>
          <ac:spMkLst>
            <pc:docMk/>
            <pc:sldMk cId="1721478970" sldId="1010"/>
            <ac:spMk id="28" creationId="{3F8B869B-8A47-76AC-CE67-9FFEB127D972}"/>
          </ac:spMkLst>
        </pc:spChg>
        <pc:spChg chg="add del mod">
          <ac:chgData name="Andreas Koksrud" userId="9d9beba6-c052-407a-8599-c781a677a996" providerId="ADAL" clId="{4C89AD2D-B60A-479F-9F95-9D423A06FAEA}" dt="2024-08-06T12:51:59.184" v="37800" actId="478"/>
          <ac:spMkLst>
            <pc:docMk/>
            <pc:sldMk cId="1721478970" sldId="1010"/>
            <ac:spMk id="30" creationId="{2B93B8ED-6830-B5D1-2AA9-C868B98951F7}"/>
          </ac:spMkLst>
        </pc:spChg>
        <pc:spChg chg="add del mod">
          <ac:chgData name="Andreas Koksrud" userId="9d9beba6-c052-407a-8599-c781a677a996" providerId="ADAL" clId="{4C89AD2D-B60A-479F-9F95-9D423A06FAEA}" dt="2024-08-06T12:52:01.925" v="37801" actId="478"/>
          <ac:spMkLst>
            <pc:docMk/>
            <pc:sldMk cId="1721478970" sldId="1010"/>
            <ac:spMk id="31" creationId="{B777939B-065B-7311-5854-84D33DC9D28F}"/>
          </ac:spMkLst>
        </pc:spChg>
        <pc:spChg chg="add mod">
          <ac:chgData name="Andreas Koksrud" userId="9d9beba6-c052-407a-8599-c781a677a996" providerId="ADAL" clId="{4C89AD2D-B60A-479F-9F95-9D423A06FAEA}" dt="2024-08-06T12:52:37.908" v="37840" actId="20577"/>
          <ac:spMkLst>
            <pc:docMk/>
            <pc:sldMk cId="1721478970" sldId="1010"/>
            <ac:spMk id="33" creationId="{57157685-BEA4-F630-D38E-D16BBD7E9ED5}"/>
          </ac:spMkLst>
        </pc:spChg>
        <pc:spChg chg="add mod">
          <ac:chgData name="Andreas Koksrud" userId="9d9beba6-c052-407a-8599-c781a677a996" providerId="ADAL" clId="{4C89AD2D-B60A-479F-9F95-9D423A06FAEA}" dt="2024-08-06T12:52:45.384" v="37846" actId="14100"/>
          <ac:spMkLst>
            <pc:docMk/>
            <pc:sldMk cId="1721478970" sldId="1010"/>
            <ac:spMk id="35" creationId="{E33A3144-AB76-D665-5D7F-A55982D79C24}"/>
          </ac:spMkLst>
        </pc:spChg>
        <pc:spChg chg="add mod">
          <ac:chgData name="Andreas Koksrud" userId="9d9beba6-c052-407a-8599-c781a677a996" providerId="ADAL" clId="{4C89AD2D-B60A-479F-9F95-9D423A06FAEA}" dt="2024-08-06T12:52:56.233" v="37847"/>
          <ac:spMkLst>
            <pc:docMk/>
            <pc:sldMk cId="1721478970" sldId="1010"/>
            <ac:spMk id="36" creationId="{8C0EB85A-16C0-5ECE-678C-03D4A18B86C2}"/>
          </ac:spMkLst>
        </pc:spChg>
        <pc:spChg chg="add mod">
          <ac:chgData name="Andreas Koksrud" userId="9d9beba6-c052-407a-8599-c781a677a996" providerId="ADAL" clId="{4C89AD2D-B60A-479F-9F95-9D423A06FAEA}" dt="2024-08-06T12:53:46.256" v="37940" actId="14100"/>
          <ac:spMkLst>
            <pc:docMk/>
            <pc:sldMk cId="1721478970" sldId="1010"/>
            <ac:spMk id="37" creationId="{1005F7BD-A479-5551-3A94-06DB67A1E752}"/>
          </ac:spMkLst>
        </pc:spChg>
        <pc:spChg chg="mod">
          <ac:chgData name="Andreas Koksrud" userId="9d9beba6-c052-407a-8599-c781a677a996" providerId="ADAL" clId="{4C89AD2D-B60A-479F-9F95-9D423A06FAEA}" dt="2024-08-06T12:46:31.170" v="37690" actId="20577"/>
          <ac:spMkLst>
            <pc:docMk/>
            <pc:sldMk cId="1721478970" sldId="1010"/>
            <ac:spMk id="180" creationId="{00000000-0000-0000-0000-000000000000}"/>
          </ac:spMkLst>
        </pc:spChg>
        <pc:picChg chg="add mod ord modCrop">
          <ac:chgData name="Andreas Koksrud" userId="9d9beba6-c052-407a-8599-c781a677a996" providerId="ADAL" clId="{4C89AD2D-B60A-479F-9F95-9D423A06FAEA}" dt="2024-08-06T12:50:14.520" v="37763" actId="1076"/>
          <ac:picMkLst>
            <pc:docMk/>
            <pc:sldMk cId="1721478970" sldId="1010"/>
            <ac:picMk id="2" creationId="{D8CDA3AC-6649-E659-7206-5824A1C01BD1}"/>
          </ac:picMkLst>
        </pc:picChg>
        <pc:picChg chg="add mod ord">
          <ac:chgData name="Andreas Koksrud" userId="9d9beba6-c052-407a-8599-c781a677a996" providerId="ADAL" clId="{4C89AD2D-B60A-479F-9F95-9D423A06FAEA}" dt="2024-08-06T12:50:53.724" v="37772" actId="34135"/>
          <ac:picMkLst>
            <pc:docMk/>
            <pc:sldMk cId="1721478970" sldId="1010"/>
            <ac:picMk id="12" creationId="{D712A047-6D55-93B2-8073-B289E19D75BD}"/>
          </ac:picMkLst>
        </pc:picChg>
        <pc:picChg chg="del">
          <ac:chgData name="Andreas Koksrud" userId="9d9beba6-c052-407a-8599-c781a677a996" providerId="ADAL" clId="{4C89AD2D-B60A-479F-9F95-9D423A06FAEA}" dt="2024-08-06T12:46:40.337" v="37691" actId="478"/>
          <ac:picMkLst>
            <pc:docMk/>
            <pc:sldMk cId="1721478970" sldId="1010"/>
            <ac:picMk id="14" creationId="{34B80D8D-28CA-A753-5C59-71D512055FD0}"/>
          </ac:picMkLst>
        </pc:picChg>
        <pc:picChg chg="del">
          <ac:chgData name="Andreas Koksrud" userId="9d9beba6-c052-407a-8599-c781a677a996" providerId="ADAL" clId="{4C89AD2D-B60A-479F-9F95-9D423A06FAEA}" dt="2024-08-06T12:49:08.569" v="37751" actId="478"/>
          <ac:picMkLst>
            <pc:docMk/>
            <pc:sldMk cId="1721478970" sldId="1010"/>
            <ac:picMk id="18" creationId="{A356CE13-1D38-7645-880F-A5DCBC74F3D1}"/>
          </ac:picMkLst>
        </pc:picChg>
        <pc:picChg chg="del">
          <ac:chgData name="Andreas Koksrud" userId="9d9beba6-c052-407a-8599-c781a677a996" providerId="ADAL" clId="{4C89AD2D-B60A-479F-9F95-9D423A06FAEA}" dt="2024-08-06T12:49:11.145" v="37754" actId="478"/>
          <ac:picMkLst>
            <pc:docMk/>
            <pc:sldMk cId="1721478970" sldId="1010"/>
            <ac:picMk id="20" creationId="{69901157-AF83-E86B-B56A-DEF711529082}"/>
          </ac:picMkLst>
        </pc:picChg>
        <pc:picChg chg="del">
          <ac:chgData name="Andreas Koksrud" userId="9d9beba6-c052-407a-8599-c781a677a996" providerId="ADAL" clId="{4C89AD2D-B60A-479F-9F95-9D423A06FAEA}" dt="2024-08-06T12:49:12.027" v="37755" actId="478"/>
          <ac:picMkLst>
            <pc:docMk/>
            <pc:sldMk cId="1721478970" sldId="1010"/>
            <ac:picMk id="22" creationId="{149DD14F-5045-F81E-96FA-0A9B4B309FF8}"/>
          </ac:picMkLst>
        </pc:picChg>
        <pc:picChg chg="del">
          <ac:chgData name="Andreas Koksrud" userId="9d9beba6-c052-407a-8599-c781a677a996" providerId="ADAL" clId="{4C89AD2D-B60A-479F-9F95-9D423A06FAEA}" dt="2024-08-06T12:49:19.236" v="37757" actId="478"/>
          <ac:picMkLst>
            <pc:docMk/>
            <pc:sldMk cId="1721478970" sldId="1010"/>
            <ac:picMk id="32" creationId="{F8DA2683-BDFE-F449-57CB-F72B8877350B}"/>
          </ac:picMkLst>
        </pc:picChg>
        <pc:picChg chg="del">
          <ac:chgData name="Andreas Koksrud" userId="9d9beba6-c052-407a-8599-c781a677a996" providerId="ADAL" clId="{4C89AD2D-B60A-479F-9F95-9D423A06FAEA}" dt="2024-08-06T12:49:03.393" v="37750" actId="478"/>
          <ac:picMkLst>
            <pc:docMk/>
            <pc:sldMk cId="1721478970" sldId="1010"/>
            <ac:picMk id="34" creationId="{E734843C-18F0-BB37-5A4F-3FEF0381F50C}"/>
          </ac:picMkLst>
        </pc:picChg>
        <pc:picChg chg="add mod">
          <ac:chgData name="Andreas Koksrud" userId="9d9beba6-c052-407a-8599-c781a677a996" providerId="ADAL" clId="{4C89AD2D-B60A-479F-9F95-9D423A06FAEA}" dt="2024-08-06T12:54:17.888" v="37944" actId="1076"/>
          <ac:picMkLst>
            <pc:docMk/>
            <pc:sldMk cId="1721478970" sldId="1010"/>
            <ac:picMk id="39" creationId="{1FFC585D-72E7-C0AA-12D8-79321C7135B1}"/>
          </ac:picMkLst>
        </pc:picChg>
        <pc:cxnChg chg="mod">
          <ac:chgData name="Andreas Koksrud" userId="9d9beba6-c052-407a-8599-c781a677a996" providerId="ADAL" clId="{4C89AD2D-B60A-479F-9F95-9D423A06FAEA}" dt="2024-08-06T12:47:53.766" v="37726" actId="14100"/>
          <ac:cxnSpMkLst>
            <pc:docMk/>
            <pc:sldMk cId="1721478970" sldId="1010"/>
            <ac:cxnSpMk id="8" creationId="{6DB23AA1-8A0B-5B86-3A9C-F1363D6B2A91}"/>
          </ac:cxnSpMkLst>
        </pc:cxnChg>
        <pc:cxnChg chg="del">
          <ac:chgData name="Andreas Koksrud" userId="9d9beba6-c052-407a-8599-c781a677a996" providerId="ADAL" clId="{4C89AD2D-B60A-479F-9F95-9D423A06FAEA}" dt="2024-08-06T12:49:09.696" v="37752" actId="478"/>
          <ac:cxnSpMkLst>
            <pc:docMk/>
            <pc:sldMk cId="1721478970" sldId="1010"/>
            <ac:cxnSpMk id="23" creationId="{E688358A-2472-8643-1ECF-1FAB3B17AEA4}"/>
          </ac:cxnSpMkLst>
        </pc:cxnChg>
        <pc:cxnChg chg="del">
          <ac:chgData name="Andreas Koksrud" userId="9d9beba6-c052-407a-8599-c781a677a996" providerId="ADAL" clId="{4C89AD2D-B60A-479F-9F95-9D423A06FAEA}" dt="2024-08-06T12:49:10.411" v="37753" actId="478"/>
          <ac:cxnSpMkLst>
            <pc:docMk/>
            <pc:sldMk cId="1721478970" sldId="1010"/>
            <ac:cxnSpMk id="26" creationId="{34096284-9148-45DA-E801-137CB0846677}"/>
          </ac:cxnSpMkLst>
        </pc:cxnChg>
        <pc:cxnChg chg="del mod">
          <ac:chgData name="Andreas Koksrud" userId="9d9beba6-c052-407a-8599-c781a677a996" providerId="ADAL" clId="{4C89AD2D-B60A-479F-9F95-9D423A06FAEA}" dt="2024-08-06T12:49:14.768" v="37756" actId="478"/>
          <ac:cxnSpMkLst>
            <pc:docMk/>
            <pc:sldMk cId="1721478970" sldId="1010"/>
            <ac:cxnSpMk id="29" creationId="{39D92218-74E7-6BA5-D3CE-E67955A4490A}"/>
          </ac:cxnSpMkLst>
        </pc:cxnChg>
      </pc:sldChg>
      <pc:sldChg chg="addSp modSp add mod">
        <pc:chgData name="Andreas Koksrud" userId="9d9beba6-c052-407a-8599-c781a677a996" providerId="ADAL" clId="{4C89AD2D-B60A-479F-9F95-9D423A06FAEA}" dt="2024-08-06T18:20:11.363" v="40097" actId="14100"/>
        <pc:sldMkLst>
          <pc:docMk/>
          <pc:sldMk cId="653559357" sldId="1011"/>
        </pc:sldMkLst>
        <pc:spChg chg="mod">
          <ac:chgData name="Andreas Koksrud" userId="9d9beba6-c052-407a-8599-c781a677a996" providerId="ADAL" clId="{4C89AD2D-B60A-479F-9F95-9D423A06FAEA}" dt="2024-08-06T18:06:55.213" v="39813" actId="20577"/>
          <ac:spMkLst>
            <pc:docMk/>
            <pc:sldMk cId="653559357" sldId="1011"/>
            <ac:spMk id="180" creationId="{00000000-0000-0000-0000-000000000000}"/>
          </ac:spMkLst>
        </pc:spChg>
        <pc:spChg chg="mod">
          <ac:chgData name="Andreas Koksrud" userId="9d9beba6-c052-407a-8599-c781a677a996" providerId="ADAL" clId="{4C89AD2D-B60A-479F-9F95-9D423A06FAEA}" dt="2024-08-06T18:18:50.645" v="40086" actId="20577"/>
          <ac:spMkLst>
            <pc:docMk/>
            <pc:sldMk cId="653559357" sldId="1011"/>
            <ac:spMk id="181" creationId="{00000000-0000-0000-0000-000000000000}"/>
          </ac:spMkLst>
        </pc:spChg>
        <pc:picChg chg="add mod">
          <ac:chgData name="Andreas Koksrud" userId="9d9beba6-c052-407a-8599-c781a677a996" providerId="ADAL" clId="{4C89AD2D-B60A-479F-9F95-9D423A06FAEA}" dt="2024-08-06T18:19:46.462" v="40092" actId="14100"/>
          <ac:picMkLst>
            <pc:docMk/>
            <pc:sldMk cId="653559357" sldId="1011"/>
            <ac:picMk id="5" creationId="{C049DB05-19C9-75CF-1716-033099892C22}"/>
          </ac:picMkLst>
        </pc:picChg>
        <pc:picChg chg="add mod">
          <ac:chgData name="Andreas Koksrud" userId="9d9beba6-c052-407a-8599-c781a677a996" providerId="ADAL" clId="{4C89AD2D-B60A-479F-9F95-9D423A06FAEA}" dt="2024-08-06T18:19:41.252" v="40090" actId="1076"/>
          <ac:picMkLst>
            <pc:docMk/>
            <pc:sldMk cId="653559357" sldId="1011"/>
            <ac:picMk id="7" creationId="{570286E5-094F-0920-9DAE-C4D4F72E6333}"/>
          </ac:picMkLst>
        </pc:picChg>
        <pc:cxnChg chg="add mod">
          <ac:chgData name="Andreas Koksrud" userId="9d9beba6-c052-407a-8599-c781a677a996" providerId="ADAL" clId="{4C89AD2D-B60A-479F-9F95-9D423A06FAEA}" dt="2024-08-06T18:20:00.956" v="40095" actId="14100"/>
          <ac:cxnSpMkLst>
            <pc:docMk/>
            <pc:sldMk cId="653559357" sldId="1011"/>
            <ac:cxnSpMk id="8" creationId="{1FE24919-990F-8045-C81C-E62A932DC4D9}"/>
          </ac:cxnSpMkLst>
        </pc:cxnChg>
        <pc:cxnChg chg="add mod">
          <ac:chgData name="Andreas Koksrud" userId="9d9beba6-c052-407a-8599-c781a677a996" providerId="ADAL" clId="{4C89AD2D-B60A-479F-9F95-9D423A06FAEA}" dt="2024-08-06T18:20:11.363" v="40097" actId="14100"/>
          <ac:cxnSpMkLst>
            <pc:docMk/>
            <pc:sldMk cId="653559357" sldId="1011"/>
            <ac:cxnSpMk id="10" creationId="{1B710D42-F9CC-B8D3-F2EB-19D5514CCDBE}"/>
          </ac:cxnSpMkLst>
        </pc:cxnChg>
      </pc:sldChg>
    </pc:docChg>
  </pc:docChgLst>
  <pc:docChgLst>
    <pc:chgData name="Andreas" userId="9d9beba6-c052-407a-8599-c781a677a996" providerId="ADAL" clId="{1B7CF67B-5515-4C9F-825D-072B1C4F5900}"/>
    <pc:docChg chg="undo custSel addSld delSld modSld modMainMaster delSection modSection">
      <pc:chgData name="Andreas" userId="9d9beba6-c052-407a-8599-c781a677a996" providerId="ADAL" clId="{1B7CF67B-5515-4C9F-825D-072B1C4F5900}" dt="2021-11-18T09:03:01.550" v="871" actId="14100"/>
      <pc:docMkLst>
        <pc:docMk/>
      </pc:docMkLst>
      <pc:sldChg chg="addSp modSp add mod modTransition modClrScheme chgLayout">
        <pc:chgData name="Andreas" userId="9d9beba6-c052-407a-8599-c781a677a996" providerId="ADAL" clId="{1B7CF67B-5515-4C9F-825D-072B1C4F5900}" dt="2021-11-18T08:56:24.045" v="817" actId="26606"/>
        <pc:sldMkLst>
          <pc:docMk/>
          <pc:sldMk cId="0" sldId="269"/>
        </pc:sldMkLst>
        <pc:spChg chg="add mod">
          <ac:chgData name="Andreas" userId="9d9beba6-c052-407a-8599-c781a677a996" providerId="ADAL" clId="{1B7CF67B-5515-4C9F-825D-072B1C4F5900}" dt="2021-11-18T08:56:24.045" v="817" actId="26606"/>
          <ac:spMkLst>
            <pc:docMk/>
            <pc:sldMk cId="0" sldId="269"/>
            <ac:spMk id="107" creationId="{CC3A3BAC-B7F7-48CD-ADC9-D0EA5526CFAB}"/>
          </ac:spMkLst>
        </pc:spChg>
        <pc:spChg chg="add mod">
          <ac:chgData name="Andreas" userId="9d9beba6-c052-407a-8599-c781a677a996" providerId="ADAL" clId="{1B7CF67B-5515-4C9F-825D-072B1C4F5900}" dt="2021-11-18T08:56:24.045" v="817" actId="26606"/>
          <ac:spMkLst>
            <pc:docMk/>
            <pc:sldMk cId="0" sldId="269"/>
            <ac:spMk id="109" creationId="{3174B999-8A09-4A03-94BB-C790E5DA4ED1}"/>
          </ac:spMkLst>
        </pc:spChg>
        <pc:spChg chg="add mod">
          <ac:chgData name="Andreas" userId="9d9beba6-c052-407a-8599-c781a677a996" providerId="ADAL" clId="{1B7CF67B-5515-4C9F-825D-072B1C4F5900}" dt="2021-11-18T08:56:24.045" v="817" actId="26606"/>
          <ac:spMkLst>
            <pc:docMk/>
            <pc:sldMk cId="0" sldId="269"/>
            <ac:spMk id="111" creationId="{AB36D0B0-DE7A-4321-9831-C15D075CDD40}"/>
          </ac:spMkLst>
        </pc:spChg>
        <pc:spChg chg="mod">
          <ac:chgData name="Andreas" userId="9d9beba6-c052-407a-8599-c781a677a996" providerId="ADAL" clId="{1B7CF67B-5515-4C9F-825D-072B1C4F5900}" dt="2021-11-18T08:56:24.045" v="817" actId="26606"/>
          <ac:spMkLst>
            <pc:docMk/>
            <pc:sldMk cId="0" sldId="269"/>
            <ac:spMk id="230" creationId="{00000000-0000-0000-0000-000000000000}"/>
          </ac:spMkLst>
        </pc:spChg>
      </pc:sldChg>
      <pc:sldChg chg="addSp delSp modSp add del mod modTransition setBg modClrScheme setClrOvrMap chgLayout">
        <pc:chgData name="Andreas" userId="9d9beba6-c052-407a-8599-c781a677a996" providerId="ADAL" clId="{1B7CF67B-5515-4C9F-825D-072B1C4F5900}" dt="2021-11-18T08:25:44.757" v="310" actId="20577"/>
        <pc:sldMkLst>
          <pc:docMk/>
          <pc:sldMk cId="3737422792" sldId="276"/>
        </pc:sldMkLst>
        <pc:spChg chg="add del mod">
          <ac:chgData name="Andreas" userId="9d9beba6-c052-407a-8599-c781a677a996" providerId="ADAL" clId="{1B7CF67B-5515-4C9F-825D-072B1C4F5900}" dt="2021-11-18T08:21:47.187" v="291" actId="6264"/>
          <ac:spMkLst>
            <pc:docMk/>
            <pc:sldMk cId="3737422792" sldId="276"/>
            <ac:spMk id="2" creationId="{E8B6FD00-5D34-4B3F-948D-6ABA0FFDF702}"/>
          </ac:spMkLst>
        </pc:spChg>
        <pc:spChg chg="add del mod">
          <ac:chgData name="Andreas" userId="9d9beba6-c052-407a-8599-c781a677a996" providerId="ADAL" clId="{1B7CF67B-5515-4C9F-825D-072B1C4F5900}" dt="2021-11-18T08:21:47.187" v="291" actId="6264"/>
          <ac:spMkLst>
            <pc:docMk/>
            <pc:sldMk cId="3737422792" sldId="276"/>
            <ac:spMk id="3" creationId="{3E39B068-DF6B-4683-8D04-19F7F72DFDBC}"/>
          </ac:spMkLst>
        </pc:spChg>
        <pc:spChg chg="add del mod ord">
          <ac:chgData name="Andreas" userId="9d9beba6-c052-407a-8599-c781a677a996" providerId="ADAL" clId="{1B7CF67B-5515-4C9F-825D-072B1C4F5900}" dt="2021-11-18T08:22:05.585" v="293" actId="700"/>
          <ac:spMkLst>
            <pc:docMk/>
            <pc:sldMk cId="3737422792" sldId="276"/>
            <ac:spMk id="4" creationId="{E41F8D6F-820F-4B61-9B67-A8A99C657E20}"/>
          </ac:spMkLst>
        </pc:spChg>
        <pc:spChg chg="add del mod">
          <ac:chgData name="Andreas" userId="9d9beba6-c052-407a-8599-c781a677a996" providerId="ADAL" clId="{1B7CF67B-5515-4C9F-825D-072B1C4F5900}" dt="2021-11-18T08:22:46.031" v="295" actId="26606"/>
          <ac:spMkLst>
            <pc:docMk/>
            <pc:sldMk cId="3737422792" sldId="276"/>
            <ac:spMk id="108" creationId="{5DB91C34-B2ED-47CE-B432-AAC6553E4972}"/>
          </ac:spMkLst>
        </pc:spChg>
        <pc:spChg chg="add del mod">
          <ac:chgData name="Andreas" userId="9d9beba6-c052-407a-8599-c781a677a996" providerId="ADAL" clId="{1B7CF67B-5515-4C9F-825D-072B1C4F5900}" dt="2021-11-18T08:22:46.031" v="295" actId="26606"/>
          <ac:spMkLst>
            <pc:docMk/>
            <pc:sldMk cId="3737422792" sldId="276"/>
            <ac:spMk id="110" creationId="{B63D8C7C-40C1-4C51-872B-E995B515AB5F}"/>
          </ac:spMkLst>
        </pc:spChg>
        <pc:spChg chg="add del mod">
          <ac:chgData name="Andreas" userId="9d9beba6-c052-407a-8599-c781a677a996" providerId="ADAL" clId="{1B7CF67B-5515-4C9F-825D-072B1C4F5900}" dt="2021-11-18T08:22:46.031" v="295" actId="26606"/>
          <ac:spMkLst>
            <pc:docMk/>
            <pc:sldMk cId="3737422792" sldId="276"/>
            <ac:spMk id="112" creationId="{51B489ED-16D0-43A0-ABDE-4352D312221D}"/>
          </ac:spMkLst>
        </pc:spChg>
        <pc:spChg chg="mod ord">
          <ac:chgData name="Andreas" userId="9d9beba6-c052-407a-8599-c781a677a996" providerId="ADAL" clId="{1B7CF67B-5515-4C9F-825D-072B1C4F5900}" dt="2021-11-18T08:24:59.983" v="296" actId="26606"/>
          <ac:spMkLst>
            <pc:docMk/>
            <pc:sldMk cId="3737422792" sldId="276"/>
            <ac:spMk id="165" creationId="{00000000-0000-0000-0000-000000000000}"/>
          </ac:spMkLst>
        </pc:spChg>
        <pc:spChg chg="add del mod ord">
          <ac:chgData name="Andreas" userId="9d9beba6-c052-407a-8599-c781a677a996" providerId="ADAL" clId="{1B7CF67B-5515-4C9F-825D-072B1C4F5900}" dt="2021-11-18T08:24:59.983" v="296" actId="26606"/>
          <ac:spMkLst>
            <pc:docMk/>
            <pc:sldMk cId="3737422792" sldId="276"/>
            <ac:spMk id="166" creationId="{00000000-0000-0000-0000-000000000000}"/>
          </ac:spMkLst>
        </pc:spChg>
        <pc:spChg chg="add mod">
          <ac:chgData name="Andreas" userId="9d9beba6-c052-407a-8599-c781a677a996" providerId="ADAL" clId="{1B7CF67B-5515-4C9F-825D-072B1C4F5900}" dt="2021-11-18T08:24:59.983" v="296" actId="26606"/>
          <ac:spMkLst>
            <pc:docMk/>
            <pc:sldMk cId="3737422792" sldId="276"/>
            <ac:spMk id="169" creationId="{FCD9E641-BDBD-4471-8B10-66B173D6D76F}"/>
          </ac:spMkLst>
        </pc:spChg>
        <pc:spChg chg="add mod">
          <ac:chgData name="Andreas" userId="9d9beba6-c052-407a-8599-c781a677a996" providerId="ADAL" clId="{1B7CF67B-5515-4C9F-825D-072B1C4F5900}" dt="2021-11-18T08:24:59.983" v="296" actId="26606"/>
          <ac:spMkLst>
            <pc:docMk/>
            <pc:sldMk cId="3737422792" sldId="276"/>
            <ac:spMk id="170" creationId="{A9265E83-A198-4EF6-B643-CF734811EC4E}"/>
          </ac:spMkLst>
        </pc:spChg>
        <pc:spChg chg="add del mod">
          <ac:chgData name="Andreas" userId="9d9beba6-c052-407a-8599-c781a677a996" providerId="ADAL" clId="{1B7CF67B-5515-4C9F-825D-072B1C4F5900}" dt="2021-11-18T08:25:04.517" v="297" actId="478"/>
          <ac:spMkLst>
            <pc:docMk/>
            <pc:sldMk cId="3737422792" sldId="276"/>
            <ac:spMk id="171" creationId="{6EE05730-144D-47E3-A1A2-49699684E5BD}"/>
          </ac:spMkLst>
        </pc:spChg>
        <pc:graphicFrameChg chg="add del mod">
          <ac:chgData name="Andreas" userId="9d9beba6-c052-407a-8599-c781a677a996" providerId="ADAL" clId="{1B7CF67B-5515-4C9F-825D-072B1C4F5900}" dt="2021-11-18T08:22:46.031" v="295" actId="26606"/>
          <ac:graphicFrameMkLst>
            <pc:docMk/>
            <pc:sldMk cId="3737422792" sldId="276"/>
            <ac:graphicFrameMk id="168" creationId="{0D6BDFE0-C86E-42FE-B472-D041276B0667}"/>
          </ac:graphicFrameMkLst>
        </pc:graphicFrameChg>
        <pc:graphicFrameChg chg="add mod">
          <ac:chgData name="Andreas" userId="9d9beba6-c052-407a-8599-c781a677a996" providerId="ADAL" clId="{1B7CF67B-5515-4C9F-825D-072B1C4F5900}" dt="2021-11-18T08:25:44.757" v="310" actId="20577"/>
          <ac:graphicFrameMkLst>
            <pc:docMk/>
            <pc:sldMk cId="3737422792" sldId="276"/>
            <ac:graphicFrameMk id="172" creationId="{848AB4C9-36A6-4A0C-9CEF-9EFC72D94CAE}"/>
          </ac:graphicFrameMkLst>
        </pc:graphicFrameChg>
      </pc:sldChg>
      <pc:sldChg chg="addSp modSp add mod modTransition modClrScheme chgLayout">
        <pc:chgData name="Andreas" userId="9d9beba6-c052-407a-8599-c781a677a996" providerId="ADAL" clId="{1B7CF67B-5515-4C9F-825D-072B1C4F5900}" dt="2021-11-18T08:25:53.591" v="311" actId="26606"/>
        <pc:sldMkLst>
          <pc:docMk/>
          <pc:sldMk cId="129742149" sldId="277"/>
        </pc:sldMkLst>
        <pc:spChg chg="add mod">
          <ac:chgData name="Andreas" userId="9d9beba6-c052-407a-8599-c781a677a996" providerId="ADAL" clId="{1B7CF67B-5515-4C9F-825D-072B1C4F5900}" dt="2021-11-18T08:25:53.591" v="311" actId="26606"/>
          <ac:spMkLst>
            <pc:docMk/>
            <pc:sldMk cId="129742149" sldId="277"/>
            <ac:spMk id="107" creationId="{41270C2F-D8CA-40C7-BBF0-C98B705838F6}"/>
          </ac:spMkLst>
        </pc:spChg>
        <pc:spChg chg="add mod">
          <ac:chgData name="Andreas" userId="9d9beba6-c052-407a-8599-c781a677a996" providerId="ADAL" clId="{1B7CF67B-5515-4C9F-825D-072B1C4F5900}" dt="2021-11-18T08:25:53.591" v="311" actId="26606"/>
          <ac:spMkLst>
            <pc:docMk/>
            <pc:sldMk cId="129742149" sldId="277"/>
            <ac:spMk id="109" creationId="{C005E2CF-FBB8-4455-8DBB-0E61E2B646D3}"/>
          </ac:spMkLst>
        </pc:spChg>
        <pc:spChg chg="add mod">
          <ac:chgData name="Andreas" userId="9d9beba6-c052-407a-8599-c781a677a996" providerId="ADAL" clId="{1B7CF67B-5515-4C9F-825D-072B1C4F5900}" dt="2021-11-18T08:25:53.591" v="311" actId="26606"/>
          <ac:spMkLst>
            <pc:docMk/>
            <pc:sldMk cId="129742149" sldId="277"/>
            <ac:spMk id="111" creationId="{22305A95-B8EA-4033-92D4-603DD01EA09F}"/>
          </ac:spMkLst>
        </pc:spChg>
        <pc:spChg chg="mod ord">
          <ac:chgData name="Andreas" userId="9d9beba6-c052-407a-8599-c781a677a996" providerId="ADAL" clId="{1B7CF67B-5515-4C9F-825D-072B1C4F5900}" dt="2021-11-18T08:25:53.591" v="311" actId="26606"/>
          <ac:spMkLst>
            <pc:docMk/>
            <pc:sldMk cId="129742149" sldId="277"/>
            <ac:spMk id="165" creationId="{00000000-0000-0000-0000-000000000000}"/>
          </ac:spMkLst>
        </pc:spChg>
        <pc:spChg chg="mod">
          <ac:chgData name="Andreas" userId="9d9beba6-c052-407a-8599-c781a677a996" providerId="ADAL" clId="{1B7CF67B-5515-4C9F-825D-072B1C4F5900}" dt="2021-11-18T08:25:53.591" v="311" actId="26606"/>
          <ac:spMkLst>
            <pc:docMk/>
            <pc:sldMk cId="129742149" sldId="277"/>
            <ac:spMk id="166" creationId="{00000000-0000-0000-0000-000000000000}"/>
          </ac:spMkLst>
        </pc:spChg>
      </pc:sldChg>
      <pc:sldChg chg="addSp modSp add mod modTransition modClrScheme chgLayout">
        <pc:chgData name="Andreas" userId="9d9beba6-c052-407a-8599-c781a677a996" providerId="ADAL" clId="{1B7CF67B-5515-4C9F-825D-072B1C4F5900}" dt="2021-11-18T08:27:00.356" v="330" actId="20577"/>
        <pc:sldMkLst>
          <pc:docMk/>
          <pc:sldMk cId="3062551098" sldId="278"/>
        </pc:sldMkLst>
        <pc:spChg chg="add mod">
          <ac:chgData name="Andreas" userId="9d9beba6-c052-407a-8599-c781a677a996" providerId="ADAL" clId="{1B7CF67B-5515-4C9F-825D-072B1C4F5900}" dt="2021-11-18T08:26:04.185" v="312" actId="26606"/>
          <ac:spMkLst>
            <pc:docMk/>
            <pc:sldMk cId="3062551098" sldId="278"/>
            <ac:spMk id="106" creationId="{72097BCE-4295-4A85-9AA3-1226424A4DB7}"/>
          </ac:spMkLst>
        </pc:spChg>
        <pc:spChg chg="add mod">
          <ac:chgData name="Andreas" userId="9d9beba6-c052-407a-8599-c781a677a996" providerId="ADAL" clId="{1B7CF67B-5515-4C9F-825D-072B1C4F5900}" dt="2021-11-18T08:26:04.185" v="312" actId="26606"/>
          <ac:spMkLst>
            <pc:docMk/>
            <pc:sldMk cId="3062551098" sldId="278"/>
            <ac:spMk id="108" creationId="{50E006F3-2805-4D79-BC15-E19203E52053}"/>
          </ac:spMkLst>
        </pc:spChg>
        <pc:spChg chg="add mod">
          <ac:chgData name="Andreas" userId="9d9beba6-c052-407a-8599-c781a677a996" providerId="ADAL" clId="{1B7CF67B-5515-4C9F-825D-072B1C4F5900}" dt="2021-11-18T08:26:04.185" v="312" actId="26606"/>
          <ac:spMkLst>
            <pc:docMk/>
            <pc:sldMk cId="3062551098" sldId="278"/>
            <ac:spMk id="110" creationId="{EB8FAF6E-CB9E-4456-93EE-4F6B6579FD2A}"/>
          </ac:spMkLst>
        </pc:spChg>
        <pc:spChg chg="mod">
          <ac:chgData name="Andreas" userId="9d9beba6-c052-407a-8599-c781a677a996" providerId="ADAL" clId="{1B7CF67B-5515-4C9F-825D-072B1C4F5900}" dt="2021-11-18T08:27:00.356" v="330" actId="20577"/>
          <ac:spMkLst>
            <pc:docMk/>
            <pc:sldMk cId="3062551098" sldId="278"/>
            <ac:spMk id="165" creationId="{00000000-0000-0000-0000-000000000000}"/>
          </ac:spMkLst>
        </pc:spChg>
        <pc:picChg chg="mod">
          <ac:chgData name="Andreas" userId="9d9beba6-c052-407a-8599-c781a677a996" providerId="ADAL" clId="{1B7CF67B-5515-4C9F-825D-072B1C4F5900}" dt="2021-11-18T08:26:04.185" v="312" actId="26606"/>
          <ac:picMkLst>
            <pc:docMk/>
            <pc:sldMk cId="3062551098" sldId="278"/>
            <ac:picMk id="6" creationId="{4D677013-A4B2-4837-8BAC-1213E9BD830A}"/>
          </ac:picMkLst>
        </pc:picChg>
      </pc:sldChg>
      <pc:sldChg chg="addSp delSp modSp add mod modTransition modClrScheme chgLayout">
        <pc:chgData name="Andreas" userId="9d9beba6-c052-407a-8599-c781a677a996" providerId="ADAL" clId="{1B7CF67B-5515-4C9F-825D-072B1C4F5900}" dt="2021-11-18T08:26:55.433" v="327" actId="20577"/>
        <pc:sldMkLst>
          <pc:docMk/>
          <pc:sldMk cId="595294778" sldId="279"/>
        </pc:sldMkLst>
        <pc:spChg chg="add del mod">
          <ac:chgData name="Andreas" userId="9d9beba6-c052-407a-8599-c781a677a996" providerId="ADAL" clId="{1B7CF67B-5515-4C9F-825D-072B1C4F5900}" dt="2021-11-18T08:26:13.683" v="314" actId="26606"/>
          <ac:spMkLst>
            <pc:docMk/>
            <pc:sldMk cId="595294778" sldId="279"/>
            <ac:spMk id="106" creationId="{A3AA610C-7335-431C-9A03-7CC551F12140}"/>
          </ac:spMkLst>
        </pc:spChg>
        <pc:spChg chg="add del mod">
          <ac:chgData name="Andreas" userId="9d9beba6-c052-407a-8599-c781a677a996" providerId="ADAL" clId="{1B7CF67B-5515-4C9F-825D-072B1C4F5900}" dt="2021-11-18T08:26:13.683" v="314" actId="26606"/>
          <ac:spMkLst>
            <pc:docMk/>
            <pc:sldMk cId="595294778" sldId="279"/>
            <ac:spMk id="108" creationId="{C5A4DD74-B093-41BC-8EB6-7BEC8B3FA9B7}"/>
          </ac:spMkLst>
        </pc:spChg>
        <pc:spChg chg="add del mod">
          <ac:chgData name="Andreas" userId="9d9beba6-c052-407a-8599-c781a677a996" providerId="ADAL" clId="{1B7CF67B-5515-4C9F-825D-072B1C4F5900}" dt="2021-11-18T08:26:13.683" v="314" actId="26606"/>
          <ac:spMkLst>
            <pc:docMk/>
            <pc:sldMk cId="595294778" sldId="279"/>
            <ac:spMk id="110" creationId="{487314D2-805B-41B3-AA7C-5F67D917AAB5}"/>
          </ac:spMkLst>
        </pc:spChg>
        <pc:spChg chg="mod">
          <ac:chgData name="Andreas" userId="9d9beba6-c052-407a-8599-c781a677a996" providerId="ADAL" clId="{1B7CF67B-5515-4C9F-825D-072B1C4F5900}" dt="2021-11-18T08:26:55.433" v="327" actId="20577"/>
          <ac:spMkLst>
            <pc:docMk/>
            <pc:sldMk cId="595294778" sldId="279"/>
            <ac:spMk id="165" creationId="{00000000-0000-0000-0000-000000000000}"/>
          </ac:spMkLst>
        </pc:spChg>
        <pc:spChg chg="add del mod">
          <ac:chgData name="Andreas" userId="9d9beba6-c052-407a-8599-c781a677a996" providerId="ADAL" clId="{1B7CF67B-5515-4C9F-825D-072B1C4F5900}" dt="2021-11-18T08:26:15.703" v="316" actId="26606"/>
          <ac:spMkLst>
            <pc:docMk/>
            <pc:sldMk cId="595294778" sldId="279"/>
            <ac:spMk id="167" creationId="{A3AA610C-7335-431C-9A03-7CC551F12140}"/>
          </ac:spMkLst>
        </pc:spChg>
        <pc:spChg chg="add del mod">
          <ac:chgData name="Andreas" userId="9d9beba6-c052-407a-8599-c781a677a996" providerId="ADAL" clId="{1B7CF67B-5515-4C9F-825D-072B1C4F5900}" dt="2021-11-18T08:26:15.703" v="316" actId="26606"/>
          <ac:spMkLst>
            <pc:docMk/>
            <pc:sldMk cId="595294778" sldId="279"/>
            <ac:spMk id="168" creationId="{C5A4DD74-B093-41BC-8EB6-7BEC8B3FA9B7}"/>
          </ac:spMkLst>
        </pc:spChg>
        <pc:spChg chg="add del mod">
          <ac:chgData name="Andreas" userId="9d9beba6-c052-407a-8599-c781a677a996" providerId="ADAL" clId="{1B7CF67B-5515-4C9F-825D-072B1C4F5900}" dt="2021-11-18T08:26:15.703" v="316" actId="26606"/>
          <ac:spMkLst>
            <pc:docMk/>
            <pc:sldMk cId="595294778" sldId="279"/>
            <ac:spMk id="169" creationId="{487314D2-805B-41B3-AA7C-5F67D917AAB5}"/>
          </ac:spMkLst>
        </pc:spChg>
        <pc:spChg chg="add del mod">
          <ac:chgData name="Andreas" userId="9d9beba6-c052-407a-8599-c781a677a996" providerId="ADAL" clId="{1B7CF67B-5515-4C9F-825D-072B1C4F5900}" dt="2021-11-18T08:26:28.128" v="320" actId="26606"/>
          <ac:spMkLst>
            <pc:docMk/>
            <pc:sldMk cId="595294778" sldId="279"/>
            <ac:spMk id="170" creationId="{5A6202EB-6C84-424B-A9E4-A08DF860A6A6}"/>
          </ac:spMkLst>
        </pc:spChg>
        <pc:spChg chg="add mod">
          <ac:chgData name="Andreas" userId="9d9beba6-c052-407a-8599-c781a677a996" providerId="ADAL" clId="{1B7CF67B-5515-4C9F-825D-072B1C4F5900}" dt="2021-11-18T08:26:28.210" v="321" actId="26606"/>
          <ac:spMkLst>
            <pc:docMk/>
            <pc:sldMk cId="595294778" sldId="279"/>
            <ac:spMk id="172" creationId="{A3AA610C-7335-431C-9A03-7CC551F12140}"/>
          </ac:spMkLst>
        </pc:spChg>
        <pc:spChg chg="add mod">
          <ac:chgData name="Andreas" userId="9d9beba6-c052-407a-8599-c781a677a996" providerId="ADAL" clId="{1B7CF67B-5515-4C9F-825D-072B1C4F5900}" dt="2021-11-18T08:26:28.210" v="321" actId="26606"/>
          <ac:spMkLst>
            <pc:docMk/>
            <pc:sldMk cId="595294778" sldId="279"/>
            <ac:spMk id="173" creationId="{C5A4DD74-B093-41BC-8EB6-7BEC8B3FA9B7}"/>
          </ac:spMkLst>
        </pc:spChg>
        <pc:spChg chg="add mod">
          <ac:chgData name="Andreas" userId="9d9beba6-c052-407a-8599-c781a677a996" providerId="ADAL" clId="{1B7CF67B-5515-4C9F-825D-072B1C4F5900}" dt="2021-11-18T08:26:28.210" v="321" actId="26606"/>
          <ac:spMkLst>
            <pc:docMk/>
            <pc:sldMk cId="595294778" sldId="279"/>
            <ac:spMk id="174" creationId="{487314D2-805B-41B3-AA7C-5F67D917AAB5}"/>
          </ac:spMkLst>
        </pc:spChg>
        <pc:graphicFrameChg chg="add mod modGraphic">
          <ac:chgData name="Andreas" userId="9d9beba6-c052-407a-8599-c781a677a996" providerId="ADAL" clId="{1B7CF67B-5515-4C9F-825D-072B1C4F5900}" dt="2021-11-18T08:26:43.921" v="324" actId="404"/>
          <ac:graphicFrameMkLst>
            <pc:docMk/>
            <pc:sldMk cId="595294778" sldId="279"/>
            <ac:graphicFrameMk id="2" creationId="{907D814A-8CAC-4003-BF9B-B5BFF2A83070}"/>
          </ac:graphicFrameMkLst>
        </pc:graphicFrameChg>
      </pc:sldChg>
      <pc:sldChg chg="addSp delSp modSp add mod modTransition modClrScheme chgLayout">
        <pc:chgData name="Andreas" userId="9d9beba6-c052-407a-8599-c781a677a996" providerId="ADAL" clId="{1B7CF67B-5515-4C9F-825D-072B1C4F5900}" dt="2021-11-18T08:30:50.038" v="362" actId="20577"/>
        <pc:sldMkLst>
          <pc:docMk/>
          <pc:sldMk cId="3494317797" sldId="280"/>
        </pc:sldMkLst>
        <pc:spChg chg="add mod">
          <ac:chgData name="Andreas" userId="9d9beba6-c052-407a-8599-c781a677a996" providerId="ADAL" clId="{1B7CF67B-5515-4C9F-825D-072B1C4F5900}" dt="2021-11-18T08:27:36.518" v="331" actId="26606"/>
          <ac:spMkLst>
            <pc:docMk/>
            <pc:sldMk cId="3494317797" sldId="280"/>
            <ac:spMk id="108" creationId="{38D37FE2-1B7D-48D3-95FB-C32D70635375}"/>
          </ac:spMkLst>
        </pc:spChg>
        <pc:spChg chg="add mod">
          <ac:chgData name="Andreas" userId="9d9beba6-c052-407a-8599-c781a677a996" providerId="ADAL" clId="{1B7CF67B-5515-4C9F-825D-072B1C4F5900}" dt="2021-11-18T08:27:36.518" v="331" actId="26606"/>
          <ac:spMkLst>
            <pc:docMk/>
            <pc:sldMk cId="3494317797" sldId="280"/>
            <ac:spMk id="110" creationId="{C3AC8E14-67B3-4BB6-9816-C661A8EB6180}"/>
          </ac:spMkLst>
        </pc:spChg>
        <pc:spChg chg="add mod">
          <ac:chgData name="Andreas" userId="9d9beba6-c052-407a-8599-c781a677a996" providerId="ADAL" clId="{1B7CF67B-5515-4C9F-825D-072B1C4F5900}" dt="2021-11-18T08:27:36.518" v="331" actId="26606"/>
          <ac:spMkLst>
            <pc:docMk/>
            <pc:sldMk cId="3494317797" sldId="280"/>
            <ac:spMk id="112" creationId="{44222881-ECF6-486E-BF6C-061E03628FEC}"/>
          </ac:spMkLst>
        </pc:spChg>
        <pc:spChg chg="mod">
          <ac:chgData name="Andreas" userId="9d9beba6-c052-407a-8599-c781a677a996" providerId="ADAL" clId="{1B7CF67B-5515-4C9F-825D-072B1C4F5900}" dt="2021-11-18T08:27:36.518" v="331" actId="26606"/>
          <ac:spMkLst>
            <pc:docMk/>
            <pc:sldMk cId="3494317797" sldId="280"/>
            <ac:spMk id="165" creationId="{00000000-0000-0000-0000-000000000000}"/>
          </ac:spMkLst>
        </pc:spChg>
        <pc:spChg chg="del">
          <ac:chgData name="Andreas" userId="9d9beba6-c052-407a-8599-c781a677a996" providerId="ADAL" clId="{1B7CF67B-5515-4C9F-825D-072B1C4F5900}" dt="2021-11-18T08:27:36.518" v="331" actId="26606"/>
          <ac:spMkLst>
            <pc:docMk/>
            <pc:sldMk cId="3494317797" sldId="280"/>
            <ac:spMk id="166" creationId="{00000000-0000-0000-0000-000000000000}"/>
          </ac:spMkLst>
        </pc:spChg>
        <pc:graphicFrameChg chg="add mod">
          <ac:chgData name="Andreas" userId="9d9beba6-c052-407a-8599-c781a677a996" providerId="ADAL" clId="{1B7CF67B-5515-4C9F-825D-072B1C4F5900}" dt="2021-11-18T08:30:50.038" v="362" actId="20577"/>
          <ac:graphicFrameMkLst>
            <pc:docMk/>
            <pc:sldMk cId="3494317797" sldId="280"/>
            <ac:graphicFrameMk id="168" creationId="{714074E8-7E65-4C8B-B79C-AEF7E52AA35E}"/>
          </ac:graphicFrameMkLst>
        </pc:graphicFrameChg>
        <pc:picChg chg="add del mod">
          <ac:chgData name="Andreas" userId="9d9beba6-c052-407a-8599-c781a677a996" providerId="ADAL" clId="{1B7CF67B-5515-4C9F-825D-072B1C4F5900}" dt="2021-11-18T08:30:11.809" v="347" actId="21"/>
          <ac:picMkLst>
            <pc:docMk/>
            <pc:sldMk cId="3494317797" sldId="280"/>
            <ac:picMk id="3" creationId="{216798DF-7A12-4CEC-A6BC-C7E8AC156B1B}"/>
          </ac:picMkLst>
        </pc:picChg>
        <pc:picChg chg="add del mod">
          <ac:chgData name="Andreas" userId="9d9beba6-c052-407a-8599-c781a677a996" providerId="ADAL" clId="{1B7CF67B-5515-4C9F-825D-072B1C4F5900}" dt="2021-11-18T08:30:45.169" v="354" actId="21"/>
          <ac:picMkLst>
            <pc:docMk/>
            <pc:sldMk cId="3494317797" sldId="280"/>
            <ac:picMk id="5" creationId="{0F3593DD-7655-4ABD-B0BA-A370524B2D2B}"/>
          </ac:picMkLst>
        </pc:picChg>
      </pc:sldChg>
      <pc:sldChg chg="addSp modSp add mod modTransition modClrScheme chgLayout">
        <pc:chgData name="Andreas" userId="9d9beba6-c052-407a-8599-c781a677a996" providerId="ADAL" clId="{1B7CF67B-5515-4C9F-825D-072B1C4F5900}" dt="2021-11-18T08:31:10.429" v="365" actId="26606"/>
        <pc:sldMkLst>
          <pc:docMk/>
          <pc:sldMk cId="1895067963" sldId="281"/>
        </pc:sldMkLst>
        <pc:spChg chg="add mod">
          <ac:chgData name="Andreas" userId="9d9beba6-c052-407a-8599-c781a677a996" providerId="ADAL" clId="{1B7CF67B-5515-4C9F-825D-072B1C4F5900}" dt="2021-11-18T08:31:10.429" v="365" actId="26606"/>
          <ac:spMkLst>
            <pc:docMk/>
            <pc:sldMk cId="1895067963" sldId="281"/>
            <ac:spMk id="106" creationId="{3383245B-6244-4704-8E88-B448384A2AEC}"/>
          </ac:spMkLst>
        </pc:spChg>
        <pc:spChg chg="add mod">
          <ac:chgData name="Andreas" userId="9d9beba6-c052-407a-8599-c781a677a996" providerId="ADAL" clId="{1B7CF67B-5515-4C9F-825D-072B1C4F5900}" dt="2021-11-18T08:31:10.429" v="365" actId="26606"/>
          <ac:spMkLst>
            <pc:docMk/>
            <pc:sldMk cId="1895067963" sldId="281"/>
            <ac:spMk id="108" creationId="{A32B1623-3E93-40BF-81B1-95EC539B8755}"/>
          </ac:spMkLst>
        </pc:spChg>
        <pc:spChg chg="add mod">
          <ac:chgData name="Andreas" userId="9d9beba6-c052-407a-8599-c781a677a996" providerId="ADAL" clId="{1B7CF67B-5515-4C9F-825D-072B1C4F5900}" dt="2021-11-18T08:31:10.429" v="365" actId="26606"/>
          <ac:spMkLst>
            <pc:docMk/>
            <pc:sldMk cId="1895067963" sldId="281"/>
            <ac:spMk id="110" creationId="{8D5F214F-8BFE-4221-8AB4-780656D860CB}"/>
          </ac:spMkLst>
        </pc:spChg>
        <pc:spChg chg="mod ord">
          <ac:chgData name="Andreas" userId="9d9beba6-c052-407a-8599-c781a677a996" providerId="ADAL" clId="{1B7CF67B-5515-4C9F-825D-072B1C4F5900}" dt="2021-11-18T08:31:10.429" v="365" actId="26606"/>
          <ac:spMkLst>
            <pc:docMk/>
            <pc:sldMk cId="1895067963" sldId="281"/>
            <ac:spMk id="165" creationId="{00000000-0000-0000-0000-000000000000}"/>
          </ac:spMkLst>
        </pc:spChg>
        <pc:picChg chg="mod">
          <ac:chgData name="Andreas" userId="9d9beba6-c052-407a-8599-c781a677a996" providerId="ADAL" clId="{1B7CF67B-5515-4C9F-825D-072B1C4F5900}" dt="2021-11-18T08:31:10.429" v="365" actId="26606"/>
          <ac:picMkLst>
            <pc:docMk/>
            <pc:sldMk cId="1895067963" sldId="281"/>
            <ac:picMk id="5" creationId="{CA88655F-0FB7-47AB-A632-67B960CE25E9}"/>
          </ac:picMkLst>
        </pc:picChg>
      </pc:sldChg>
      <pc:sldChg chg="addSp delSp modSp add mod modTransition modClrScheme chgLayout">
        <pc:chgData name="Andreas" userId="9d9beba6-c052-407a-8599-c781a677a996" providerId="ADAL" clId="{1B7CF67B-5515-4C9F-825D-072B1C4F5900}" dt="2021-11-18T08:31:23.035" v="368" actId="26606"/>
        <pc:sldMkLst>
          <pc:docMk/>
          <pc:sldMk cId="3454780860" sldId="282"/>
        </pc:sldMkLst>
        <pc:spChg chg="add del mod">
          <ac:chgData name="Andreas" userId="9d9beba6-c052-407a-8599-c781a677a996" providerId="ADAL" clId="{1B7CF67B-5515-4C9F-825D-072B1C4F5900}" dt="2021-11-18T08:31:23.031" v="367" actId="26606"/>
          <ac:spMkLst>
            <pc:docMk/>
            <pc:sldMk cId="3454780860" sldId="282"/>
            <ac:spMk id="106" creationId="{F936BDA3-A020-45E3-A204-89F8D0649827}"/>
          </ac:spMkLst>
        </pc:spChg>
        <pc:spChg chg="add del mod">
          <ac:chgData name="Andreas" userId="9d9beba6-c052-407a-8599-c781a677a996" providerId="ADAL" clId="{1B7CF67B-5515-4C9F-825D-072B1C4F5900}" dt="2021-11-18T08:31:23.031" v="367" actId="26606"/>
          <ac:spMkLst>
            <pc:docMk/>
            <pc:sldMk cId="3454780860" sldId="282"/>
            <ac:spMk id="108" creationId="{B2B88D68-1357-43D8-9189-06F5A38C715E}"/>
          </ac:spMkLst>
        </pc:spChg>
        <pc:spChg chg="add del mod">
          <ac:chgData name="Andreas" userId="9d9beba6-c052-407a-8599-c781a677a996" providerId="ADAL" clId="{1B7CF67B-5515-4C9F-825D-072B1C4F5900}" dt="2021-11-18T08:31:23.031" v="367" actId="26606"/>
          <ac:spMkLst>
            <pc:docMk/>
            <pc:sldMk cId="3454780860" sldId="282"/>
            <ac:spMk id="110" creationId="{B2791A5D-F31C-4EB6-9EBC-75677E3587F5}"/>
          </ac:spMkLst>
        </pc:spChg>
        <pc:spChg chg="mod ord">
          <ac:chgData name="Andreas" userId="9d9beba6-c052-407a-8599-c781a677a996" providerId="ADAL" clId="{1B7CF67B-5515-4C9F-825D-072B1C4F5900}" dt="2021-11-18T08:31:23.035" v="368" actId="26606"/>
          <ac:spMkLst>
            <pc:docMk/>
            <pc:sldMk cId="3454780860" sldId="282"/>
            <ac:spMk id="165" creationId="{00000000-0000-0000-0000-000000000000}"/>
          </ac:spMkLst>
        </pc:spChg>
        <pc:spChg chg="add mod">
          <ac:chgData name="Andreas" userId="9d9beba6-c052-407a-8599-c781a677a996" providerId="ADAL" clId="{1B7CF67B-5515-4C9F-825D-072B1C4F5900}" dt="2021-11-18T08:31:23.035" v="368" actId="26606"/>
          <ac:spMkLst>
            <pc:docMk/>
            <pc:sldMk cId="3454780860" sldId="282"/>
            <ac:spMk id="167" creationId="{5E50C650-BA47-48DA-90D1-9B4F6C4C1446}"/>
          </ac:spMkLst>
        </pc:spChg>
        <pc:spChg chg="add mod">
          <ac:chgData name="Andreas" userId="9d9beba6-c052-407a-8599-c781a677a996" providerId="ADAL" clId="{1B7CF67B-5515-4C9F-825D-072B1C4F5900}" dt="2021-11-18T08:31:23.035" v="368" actId="26606"/>
          <ac:spMkLst>
            <pc:docMk/>
            <pc:sldMk cId="3454780860" sldId="282"/>
            <ac:spMk id="168" creationId="{1F337A98-97F1-4013-9B75-DE9480C76A69}"/>
          </ac:spMkLst>
        </pc:spChg>
        <pc:spChg chg="add mod">
          <ac:chgData name="Andreas" userId="9d9beba6-c052-407a-8599-c781a677a996" providerId="ADAL" clId="{1B7CF67B-5515-4C9F-825D-072B1C4F5900}" dt="2021-11-18T08:31:23.035" v="368" actId="26606"/>
          <ac:spMkLst>
            <pc:docMk/>
            <pc:sldMk cId="3454780860" sldId="282"/>
            <ac:spMk id="169" creationId="{63A15C0C-A0F3-4053-BFBA-5D7CB5D0DA04}"/>
          </ac:spMkLst>
        </pc:spChg>
        <pc:picChg chg="mod">
          <ac:chgData name="Andreas" userId="9d9beba6-c052-407a-8599-c781a677a996" providerId="ADAL" clId="{1B7CF67B-5515-4C9F-825D-072B1C4F5900}" dt="2021-11-18T08:31:23.035" v="368" actId="26606"/>
          <ac:picMkLst>
            <pc:docMk/>
            <pc:sldMk cId="3454780860" sldId="282"/>
            <ac:picMk id="5" creationId="{CA88655F-0FB7-47AB-A632-67B960CE25E9}"/>
          </ac:picMkLst>
        </pc:picChg>
      </pc:sldChg>
      <pc:sldChg chg="addSp modSp add mod modTransition modClrScheme chgLayout">
        <pc:chgData name="Andreas" userId="9d9beba6-c052-407a-8599-c781a677a996" providerId="ADAL" clId="{1B7CF67B-5515-4C9F-825D-072B1C4F5900}" dt="2021-11-18T08:31:33.609" v="369" actId="26606"/>
        <pc:sldMkLst>
          <pc:docMk/>
          <pc:sldMk cId="1108960129" sldId="283"/>
        </pc:sldMkLst>
        <pc:spChg chg="add mod">
          <ac:chgData name="Andreas" userId="9d9beba6-c052-407a-8599-c781a677a996" providerId="ADAL" clId="{1B7CF67B-5515-4C9F-825D-072B1C4F5900}" dt="2021-11-18T08:31:33.609" v="369" actId="26606"/>
          <ac:spMkLst>
            <pc:docMk/>
            <pc:sldMk cId="1108960129" sldId="283"/>
            <ac:spMk id="106" creationId="{349AD540-7AC8-4675-BA66-501916D98FD9}"/>
          </ac:spMkLst>
        </pc:spChg>
        <pc:spChg chg="add mod">
          <ac:chgData name="Andreas" userId="9d9beba6-c052-407a-8599-c781a677a996" providerId="ADAL" clId="{1B7CF67B-5515-4C9F-825D-072B1C4F5900}" dt="2021-11-18T08:31:33.609" v="369" actId="26606"/>
          <ac:spMkLst>
            <pc:docMk/>
            <pc:sldMk cId="1108960129" sldId="283"/>
            <ac:spMk id="108" creationId="{58E64FF7-3208-4ADF-AE71-8961C20482CD}"/>
          </ac:spMkLst>
        </pc:spChg>
        <pc:spChg chg="add mod">
          <ac:chgData name="Andreas" userId="9d9beba6-c052-407a-8599-c781a677a996" providerId="ADAL" clId="{1B7CF67B-5515-4C9F-825D-072B1C4F5900}" dt="2021-11-18T08:31:33.609" v="369" actId="26606"/>
          <ac:spMkLst>
            <pc:docMk/>
            <pc:sldMk cId="1108960129" sldId="283"/>
            <ac:spMk id="110" creationId="{06A7A0C7-564F-4B0D-B3F4-2A5F8D707FB7}"/>
          </ac:spMkLst>
        </pc:spChg>
        <pc:spChg chg="mod ord">
          <ac:chgData name="Andreas" userId="9d9beba6-c052-407a-8599-c781a677a996" providerId="ADAL" clId="{1B7CF67B-5515-4C9F-825D-072B1C4F5900}" dt="2021-11-18T08:31:33.609" v="369" actId="26606"/>
          <ac:spMkLst>
            <pc:docMk/>
            <pc:sldMk cId="1108960129" sldId="283"/>
            <ac:spMk id="165" creationId="{00000000-0000-0000-0000-000000000000}"/>
          </ac:spMkLst>
        </pc:spChg>
        <pc:picChg chg="mod">
          <ac:chgData name="Andreas" userId="9d9beba6-c052-407a-8599-c781a677a996" providerId="ADAL" clId="{1B7CF67B-5515-4C9F-825D-072B1C4F5900}" dt="2021-11-18T08:31:33.609" v="369" actId="26606"/>
          <ac:picMkLst>
            <pc:docMk/>
            <pc:sldMk cId="1108960129" sldId="283"/>
            <ac:picMk id="5" creationId="{CA88655F-0FB7-47AB-A632-67B960CE25E9}"/>
          </ac:picMkLst>
        </pc:picChg>
      </pc:sldChg>
      <pc:sldChg chg="addSp modSp add del mod modTransition modClrScheme chgLayout">
        <pc:chgData name="Andreas" userId="9d9beba6-c052-407a-8599-c781a677a996" providerId="ADAL" clId="{1B7CF67B-5515-4C9F-825D-072B1C4F5900}" dt="2021-11-18T08:58:07.551" v="818" actId="47"/>
        <pc:sldMkLst>
          <pc:docMk/>
          <pc:sldMk cId="896433632" sldId="284"/>
        </pc:sldMkLst>
        <pc:spChg chg="add mod">
          <ac:chgData name="Andreas" userId="9d9beba6-c052-407a-8599-c781a677a996" providerId="ADAL" clId="{1B7CF67B-5515-4C9F-825D-072B1C4F5900}" dt="2021-11-18T08:31:36.775" v="370" actId="26606"/>
          <ac:spMkLst>
            <pc:docMk/>
            <pc:sldMk cId="896433632" sldId="284"/>
            <ac:spMk id="106" creationId="{C420C165-6159-4729-9B8D-94BB168D6863}"/>
          </ac:spMkLst>
        </pc:spChg>
        <pc:spChg chg="add mod">
          <ac:chgData name="Andreas" userId="9d9beba6-c052-407a-8599-c781a677a996" providerId="ADAL" clId="{1B7CF67B-5515-4C9F-825D-072B1C4F5900}" dt="2021-11-18T08:31:36.775" v="370" actId="26606"/>
          <ac:spMkLst>
            <pc:docMk/>
            <pc:sldMk cId="896433632" sldId="284"/>
            <ac:spMk id="108" creationId="{155C1921-39F4-4AC0-AEB8-55551DDA1A93}"/>
          </ac:spMkLst>
        </pc:spChg>
        <pc:spChg chg="add mod">
          <ac:chgData name="Andreas" userId="9d9beba6-c052-407a-8599-c781a677a996" providerId="ADAL" clId="{1B7CF67B-5515-4C9F-825D-072B1C4F5900}" dt="2021-11-18T08:31:36.775" v="370" actId="26606"/>
          <ac:spMkLst>
            <pc:docMk/>
            <pc:sldMk cId="896433632" sldId="284"/>
            <ac:spMk id="110" creationId="{C88AAC40-C6A2-4E1B-AD36-A0137E6ABF84}"/>
          </ac:spMkLst>
        </pc:spChg>
        <pc:spChg chg="mod ord">
          <ac:chgData name="Andreas" userId="9d9beba6-c052-407a-8599-c781a677a996" providerId="ADAL" clId="{1B7CF67B-5515-4C9F-825D-072B1C4F5900}" dt="2021-11-18T08:31:36.775" v="370" actId="26606"/>
          <ac:spMkLst>
            <pc:docMk/>
            <pc:sldMk cId="896433632" sldId="284"/>
            <ac:spMk id="165" creationId="{00000000-0000-0000-0000-000000000000}"/>
          </ac:spMkLst>
        </pc:spChg>
        <pc:picChg chg="mod">
          <ac:chgData name="Andreas" userId="9d9beba6-c052-407a-8599-c781a677a996" providerId="ADAL" clId="{1B7CF67B-5515-4C9F-825D-072B1C4F5900}" dt="2021-11-18T08:31:36.775" v="370" actId="26606"/>
          <ac:picMkLst>
            <pc:docMk/>
            <pc:sldMk cId="896433632" sldId="284"/>
            <ac:picMk id="5" creationId="{CA88655F-0FB7-47AB-A632-67B960CE25E9}"/>
          </ac:picMkLst>
        </pc:picChg>
      </pc:sldChg>
      <pc:sldChg chg="addSp modSp add mod modTransition modClrScheme chgLayout">
        <pc:chgData name="Andreas" userId="9d9beba6-c052-407a-8599-c781a677a996" providerId="ADAL" clId="{1B7CF67B-5515-4C9F-825D-072B1C4F5900}" dt="2021-11-18T08:31:40.542" v="371" actId="26606"/>
        <pc:sldMkLst>
          <pc:docMk/>
          <pc:sldMk cId="1607459823" sldId="285"/>
        </pc:sldMkLst>
        <pc:spChg chg="add mod">
          <ac:chgData name="Andreas" userId="9d9beba6-c052-407a-8599-c781a677a996" providerId="ADAL" clId="{1B7CF67B-5515-4C9F-825D-072B1C4F5900}" dt="2021-11-18T08:31:40.542" v="371" actId="26606"/>
          <ac:spMkLst>
            <pc:docMk/>
            <pc:sldMk cId="1607459823" sldId="285"/>
            <ac:spMk id="106" creationId="{DEF1E210-F870-4F91-A701-5A600304748E}"/>
          </ac:spMkLst>
        </pc:spChg>
        <pc:spChg chg="add mod">
          <ac:chgData name="Andreas" userId="9d9beba6-c052-407a-8599-c781a677a996" providerId="ADAL" clId="{1B7CF67B-5515-4C9F-825D-072B1C4F5900}" dt="2021-11-18T08:31:40.542" v="371" actId="26606"/>
          <ac:spMkLst>
            <pc:docMk/>
            <pc:sldMk cId="1607459823" sldId="285"/>
            <ac:spMk id="108" creationId="{3BDA7D6B-5807-4BC3-AE00-E308D7B7690B}"/>
          </ac:spMkLst>
        </pc:spChg>
        <pc:spChg chg="add mod">
          <ac:chgData name="Andreas" userId="9d9beba6-c052-407a-8599-c781a677a996" providerId="ADAL" clId="{1B7CF67B-5515-4C9F-825D-072B1C4F5900}" dt="2021-11-18T08:31:40.542" v="371" actId="26606"/>
          <ac:spMkLst>
            <pc:docMk/>
            <pc:sldMk cId="1607459823" sldId="285"/>
            <ac:spMk id="110" creationId="{2268EDD2-280A-4E6D-84D1-DE712E4314D6}"/>
          </ac:spMkLst>
        </pc:spChg>
        <pc:spChg chg="mod ord">
          <ac:chgData name="Andreas" userId="9d9beba6-c052-407a-8599-c781a677a996" providerId="ADAL" clId="{1B7CF67B-5515-4C9F-825D-072B1C4F5900}" dt="2021-11-18T08:31:40.542" v="371" actId="26606"/>
          <ac:spMkLst>
            <pc:docMk/>
            <pc:sldMk cId="1607459823" sldId="285"/>
            <ac:spMk id="165" creationId="{00000000-0000-0000-0000-000000000000}"/>
          </ac:spMkLst>
        </pc:spChg>
        <pc:picChg chg="mod">
          <ac:chgData name="Andreas" userId="9d9beba6-c052-407a-8599-c781a677a996" providerId="ADAL" clId="{1B7CF67B-5515-4C9F-825D-072B1C4F5900}" dt="2021-11-18T08:31:40.542" v="371" actId="26606"/>
          <ac:picMkLst>
            <pc:docMk/>
            <pc:sldMk cId="1607459823" sldId="285"/>
            <ac:picMk id="7" creationId="{9FB72563-26B4-410D-9B6F-E72C62AE2F35}"/>
          </ac:picMkLst>
        </pc:picChg>
      </pc:sldChg>
      <pc:sldChg chg="addSp modSp add mod modTransition modClrScheme chgLayout">
        <pc:chgData name="Andreas" userId="9d9beba6-c052-407a-8599-c781a677a996" providerId="ADAL" clId="{1B7CF67B-5515-4C9F-825D-072B1C4F5900}" dt="2021-11-18T08:31:47.011" v="372" actId="26606"/>
        <pc:sldMkLst>
          <pc:docMk/>
          <pc:sldMk cId="1459155293" sldId="286"/>
        </pc:sldMkLst>
        <pc:spChg chg="add mod">
          <ac:chgData name="Andreas" userId="9d9beba6-c052-407a-8599-c781a677a996" providerId="ADAL" clId="{1B7CF67B-5515-4C9F-825D-072B1C4F5900}" dt="2021-11-18T08:31:47.011" v="372" actId="26606"/>
          <ac:spMkLst>
            <pc:docMk/>
            <pc:sldMk cId="1459155293" sldId="286"/>
            <ac:spMk id="106" creationId="{3FAAFB75-0FCA-465F-8BDA-98E2B90CE716}"/>
          </ac:spMkLst>
        </pc:spChg>
        <pc:spChg chg="add mod">
          <ac:chgData name="Andreas" userId="9d9beba6-c052-407a-8599-c781a677a996" providerId="ADAL" clId="{1B7CF67B-5515-4C9F-825D-072B1C4F5900}" dt="2021-11-18T08:31:47.011" v="372" actId="26606"/>
          <ac:spMkLst>
            <pc:docMk/>
            <pc:sldMk cId="1459155293" sldId="286"/>
            <ac:spMk id="108" creationId="{794C7D41-C168-4B77-8548-CCAD9CAC0870}"/>
          </ac:spMkLst>
        </pc:spChg>
        <pc:spChg chg="add mod">
          <ac:chgData name="Andreas" userId="9d9beba6-c052-407a-8599-c781a677a996" providerId="ADAL" clId="{1B7CF67B-5515-4C9F-825D-072B1C4F5900}" dt="2021-11-18T08:31:47.011" v="372" actId="26606"/>
          <ac:spMkLst>
            <pc:docMk/>
            <pc:sldMk cId="1459155293" sldId="286"/>
            <ac:spMk id="110" creationId="{FBFF720C-D455-45F3-92DF-89F6F22AC55F}"/>
          </ac:spMkLst>
        </pc:spChg>
        <pc:spChg chg="mod ord">
          <ac:chgData name="Andreas" userId="9d9beba6-c052-407a-8599-c781a677a996" providerId="ADAL" clId="{1B7CF67B-5515-4C9F-825D-072B1C4F5900}" dt="2021-11-18T08:31:47.011" v="372" actId="26606"/>
          <ac:spMkLst>
            <pc:docMk/>
            <pc:sldMk cId="1459155293" sldId="286"/>
            <ac:spMk id="165" creationId="{00000000-0000-0000-0000-000000000000}"/>
          </ac:spMkLst>
        </pc:spChg>
        <pc:picChg chg="mod">
          <ac:chgData name="Andreas" userId="9d9beba6-c052-407a-8599-c781a677a996" providerId="ADAL" clId="{1B7CF67B-5515-4C9F-825D-072B1C4F5900}" dt="2021-11-18T08:31:47.011" v="372" actId="26606"/>
          <ac:picMkLst>
            <pc:docMk/>
            <pc:sldMk cId="1459155293" sldId="286"/>
            <ac:picMk id="6" creationId="{66DB7394-62F0-4BDC-BB81-193BFDF2BBB1}"/>
          </ac:picMkLst>
        </pc:picChg>
      </pc:sldChg>
      <pc:sldChg chg="addSp modSp add mod modTransition modClrScheme chgLayout">
        <pc:chgData name="Andreas" userId="9d9beba6-c052-407a-8599-c781a677a996" providerId="ADAL" clId="{1B7CF67B-5515-4C9F-825D-072B1C4F5900}" dt="2021-11-18T08:31:56.601" v="373" actId="26606"/>
        <pc:sldMkLst>
          <pc:docMk/>
          <pc:sldMk cId="1405705192" sldId="287"/>
        </pc:sldMkLst>
        <pc:spChg chg="add mod">
          <ac:chgData name="Andreas" userId="9d9beba6-c052-407a-8599-c781a677a996" providerId="ADAL" clId="{1B7CF67B-5515-4C9F-825D-072B1C4F5900}" dt="2021-11-18T08:31:56.601" v="373" actId="26606"/>
          <ac:spMkLst>
            <pc:docMk/>
            <pc:sldMk cId="1405705192" sldId="287"/>
            <ac:spMk id="106" creationId="{7955B587-8AE0-4A27-8011-76FC5F8213FA}"/>
          </ac:spMkLst>
        </pc:spChg>
        <pc:spChg chg="add mod">
          <ac:chgData name="Andreas" userId="9d9beba6-c052-407a-8599-c781a677a996" providerId="ADAL" clId="{1B7CF67B-5515-4C9F-825D-072B1C4F5900}" dt="2021-11-18T08:31:56.601" v="373" actId="26606"/>
          <ac:spMkLst>
            <pc:docMk/>
            <pc:sldMk cId="1405705192" sldId="287"/>
            <ac:spMk id="108" creationId="{5662D70A-2DEE-426E-9A67-35C07DA6D55A}"/>
          </ac:spMkLst>
        </pc:spChg>
        <pc:spChg chg="add mod">
          <ac:chgData name="Andreas" userId="9d9beba6-c052-407a-8599-c781a677a996" providerId="ADAL" clId="{1B7CF67B-5515-4C9F-825D-072B1C4F5900}" dt="2021-11-18T08:31:56.601" v="373" actId="26606"/>
          <ac:spMkLst>
            <pc:docMk/>
            <pc:sldMk cId="1405705192" sldId="287"/>
            <ac:spMk id="110" creationId="{D97086E6-E7DC-4072-BFB3-BC102925F370}"/>
          </ac:spMkLst>
        </pc:spChg>
        <pc:spChg chg="mod ord">
          <ac:chgData name="Andreas" userId="9d9beba6-c052-407a-8599-c781a677a996" providerId="ADAL" clId="{1B7CF67B-5515-4C9F-825D-072B1C4F5900}" dt="2021-11-18T08:31:56.601" v="373" actId="26606"/>
          <ac:spMkLst>
            <pc:docMk/>
            <pc:sldMk cId="1405705192" sldId="287"/>
            <ac:spMk id="165" creationId="{00000000-0000-0000-0000-000000000000}"/>
          </ac:spMkLst>
        </pc:spChg>
        <pc:picChg chg="mod">
          <ac:chgData name="Andreas" userId="9d9beba6-c052-407a-8599-c781a677a996" providerId="ADAL" clId="{1B7CF67B-5515-4C9F-825D-072B1C4F5900}" dt="2021-11-18T08:31:56.601" v="373" actId="26606"/>
          <ac:picMkLst>
            <pc:docMk/>
            <pc:sldMk cId="1405705192" sldId="287"/>
            <ac:picMk id="4" creationId="{E7B8E4C1-A665-4522-9F80-531A7896C7B1}"/>
          </ac:picMkLst>
        </pc:picChg>
      </pc:sldChg>
      <pc:sldChg chg="addSp modSp add mod modTransition modClrScheme chgLayout">
        <pc:chgData name="Andreas" userId="9d9beba6-c052-407a-8599-c781a677a996" providerId="ADAL" clId="{1B7CF67B-5515-4C9F-825D-072B1C4F5900}" dt="2021-11-18T08:32:01.419" v="374" actId="26606"/>
        <pc:sldMkLst>
          <pc:docMk/>
          <pc:sldMk cId="2770564330" sldId="288"/>
        </pc:sldMkLst>
        <pc:spChg chg="add mod">
          <ac:chgData name="Andreas" userId="9d9beba6-c052-407a-8599-c781a677a996" providerId="ADAL" clId="{1B7CF67B-5515-4C9F-825D-072B1C4F5900}" dt="2021-11-18T08:32:01.419" v="374" actId="26606"/>
          <ac:spMkLst>
            <pc:docMk/>
            <pc:sldMk cId="2770564330" sldId="288"/>
            <ac:spMk id="106" creationId="{AB6529FE-3A89-4712-BF09-AD6AFC4AD10C}"/>
          </ac:spMkLst>
        </pc:spChg>
        <pc:spChg chg="add mod">
          <ac:chgData name="Andreas" userId="9d9beba6-c052-407a-8599-c781a677a996" providerId="ADAL" clId="{1B7CF67B-5515-4C9F-825D-072B1C4F5900}" dt="2021-11-18T08:32:01.419" v="374" actId="26606"/>
          <ac:spMkLst>
            <pc:docMk/>
            <pc:sldMk cId="2770564330" sldId="288"/>
            <ac:spMk id="108" creationId="{C20A0742-C986-4767-82FD-3DD29AFC61FF}"/>
          </ac:spMkLst>
        </pc:spChg>
        <pc:spChg chg="add mod">
          <ac:chgData name="Andreas" userId="9d9beba6-c052-407a-8599-c781a677a996" providerId="ADAL" clId="{1B7CF67B-5515-4C9F-825D-072B1C4F5900}" dt="2021-11-18T08:32:01.419" v="374" actId="26606"/>
          <ac:spMkLst>
            <pc:docMk/>
            <pc:sldMk cId="2770564330" sldId="288"/>
            <ac:spMk id="110" creationId="{3D25C987-47AA-4E38-B8C4-93FBD10DC0D6}"/>
          </ac:spMkLst>
        </pc:spChg>
        <pc:spChg chg="mod ord">
          <ac:chgData name="Andreas" userId="9d9beba6-c052-407a-8599-c781a677a996" providerId="ADAL" clId="{1B7CF67B-5515-4C9F-825D-072B1C4F5900}" dt="2021-11-18T08:32:01.419" v="374" actId="26606"/>
          <ac:spMkLst>
            <pc:docMk/>
            <pc:sldMk cId="2770564330" sldId="288"/>
            <ac:spMk id="165" creationId="{00000000-0000-0000-0000-000000000000}"/>
          </ac:spMkLst>
        </pc:spChg>
        <pc:picChg chg="mod">
          <ac:chgData name="Andreas" userId="9d9beba6-c052-407a-8599-c781a677a996" providerId="ADAL" clId="{1B7CF67B-5515-4C9F-825D-072B1C4F5900}" dt="2021-11-18T08:32:01.419" v="374" actId="26606"/>
          <ac:picMkLst>
            <pc:docMk/>
            <pc:sldMk cId="2770564330" sldId="288"/>
            <ac:picMk id="5" creationId="{68EB1A5F-DD1D-4BB3-A186-EDDD6F5D82C3}"/>
          </ac:picMkLst>
        </pc:picChg>
      </pc:sldChg>
      <pc:sldChg chg="addSp modSp add mod modTransition modClrScheme chgLayout">
        <pc:chgData name="Andreas" userId="9d9beba6-c052-407a-8599-c781a677a996" providerId="ADAL" clId="{1B7CF67B-5515-4C9F-825D-072B1C4F5900}" dt="2021-11-18T08:32:06.789" v="375" actId="26606"/>
        <pc:sldMkLst>
          <pc:docMk/>
          <pc:sldMk cId="708408685" sldId="289"/>
        </pc:sldMkLst>
        <pc:spChg chg="add mod">
          <ac:chgData name="Andreas" userId="9d9beba6-c052-407a-8599-c781a677a996" providerId="ADAL" clId="{1B7CF67B-5515-4C9F-825D-072B1C4F5900}" dt="2021-11-18T08:32:06.789" v="375" actId="26606"/>
          <ac:spMkLst>
            <pc:docMk/>
            <pc:sldMk cId="708408685" sldId="289"/>
            <ac:spMk id="106" creationId="{77CB8F6A-461C-4575-8619-1B2A4028921F}"/>
          </ac:spMkLst>
        </pc:spChg>
        <pc:spChg chg="add mod">
          <ac:chgData name="Andreas" userId="9d9beba6-c052-407a-8599-c781a677a996" providerId="ADAL" clId="{1B7CF67B-5515-4C9F-825D-072B1C4F5900}" dt="2021-11-18T08:32:06.789" v="375" actId="26606"/>
          <ac:spMkLst>
            <pc:docMk/>
            <pc:sldMk cId="708408685" sldId="289"/>
            <ac:spMk id="108" creationId="{08885697-BE4B-4EB9-85D6-A9DCECCD4CBA}"/>
          </ac:spMkLst>
        </pc:spChg>
        <pc:spChg chg="add mod">
          <ac:chgData name="Andreas" userId="9d9beba6-c052-407a-8599-c781a677a996" providerId="ADAL" clId="{1B7CF67B-5515-4C9F-825D-072B1C4F5900}" dt="2021-11-18T08:32:06.789" v="375" actId="26606"/>
          <ac:spMkLst>
            <pc:docMk/>
            <pc:sldMk cId="708408685" sldId="289"/>
            <ac:spMk id="110" creationId="{2C9314E9-5EEA-4EF4-ADA2-7EE23C2BA48B}"/>
          </ac:spMkLst>
        </pc:spChg>
        <pc:spChg chg="mod ord">
          <ac:chgData name="Andreas" userId="9d9beba6-c052-407a-8599-c781a677a996" providerId="ADAL" clId="{1B7CF67B-5515-4C9F-825D-072B1C4F5900}" dt="2021-11-18T08:32:06.789" v="375" actId="26606"/>
          <ac:spMkLst>
            <pc:docMk/>
            <pc:sldMk cId="708408685" sldId="289"/>
            <ac:spMk id="165" creationId="{00000000-0000-0000-0000-000000000000}"/>
          </ac:spMkLst>
        </pc:spChg>
        <pc:picChg chg="mod">
          <ac:chgData name="Andreas" userId="9d9beba6-c052-407a-8599-c781a677a996" providerId="ADAL" clId="{1B7CF67B-5515-4C9F-825D-072B1C4F5900}" dt="2021-11-18T08:32:06.789" v="375" actId="26606"/>
          <ac:picMkLst>
            <pc:docMk/>
            <pc:sldMk cId="708408685" sldId="289"/>
            <ac:picMk id="4" creationId="{611F4CFF-9E83-42BB-94CC-CEC856D566FC}"/>
          </ac:picMkLst>
        </pc:picChg>
      </pc:sldChg>
      <pc:sldChg chg="addSp modSp add mod modTransition modClrScheme chgLayout">
        <pc:chgData name="Andreas" userId="9d9beba6-c052-407a-8599-c781a677a996" providerId="ADAL" clId="{1B7CF67B-5515-4C9F-825D-072B1C4F5900}" dt="2021-11-18T08:32:10.345" v="376" actId="26606"/>
        <pc:sldMkLst>
          <pc:docMk/>
          <pc:sldMk cId="2509195288" sldId="290"/>
        </pc:sldMkLst>
        <pc:spChg chg="add mod">
          <ac:chgData name="Andreas" userId="9d9beba6-c052-407a-8599-c781a677a996" providerId="ADAL" clId="{1B7CF67B-5515-4C9F-825D-072B1C4F5900}" dt="2021-11-18T08:32:10.345" v="376" actId="26606"/>
          <ac:spMkLst>
            <pc:docMk/>
            <pc:sldMk cId="2509195288" sldId="290"/>
            <ac:spMk id="106" creationId="{D27B6BD9-0ADE-466A-9244-F828F5165E94}"/>
          </ac:spMkLst>
        </pc:spChg>
        <pc:spChg chg="add mod">
          <ac:chgData name="Andreas" userId="9d9beba6-c052-407a-8599-c781a677a996" providerId="ADAL" clId="{1B7CF67B-5515-4C9F-825D-072B1C4F5900}" dt="2021-11-18T08:32:10.345" v="376" actId="26606"/>
          <ac:spMkLst>
            <pc:docMk/>
            <pc:sldMk cId="2509195288" sldId="290"/>
            <ac:spMk id="108" creationId="{19C6E535-6128-45C2-B813-30069E4FB6EC}"/>
          </ac:spMkLst>
        </pc:spChg>
        <pc:spChg chg="add mod">
          <ac:chgData name="Andreas" userId="9d9beba6-c052-407a-8599-c781a677a996" providerId="ADAL" clId="{1B7CF67B-5515-4C9F-825D-072B1C4F5900}" dt="2021-11-18T08:32:10.345" v="376" actId="26606"/>
          <ac:spMkLst>
            <pc:docMk/>
            <pc:sldMk cId="2509195288" sldId="290"/>
            <ac:spMk id="110" creationId="{7C682849-5A21-4A7F-806F-48746A215786}"/>
          </ac:spMkLst>
        </pc:spChg>
        <pc:spChg chg="mod ord">
          <ac:chgData name="Andreas" userId="9d9beba6-c052-407a-8599-c781a677a996" providerId="ADAL" clId="{1B7CF67B-5515-4C9F-825D-072B1C4F5900}" dt="2021-11-18T08:32:10.345" v="376" actId="26606"/>
          <ac:spMkLst>
            <pc:docMk/>
            <pc:sldMk cId="2509195288" sldId="290"/>
            <ac:spMk id="165" creationId="{00000000-0000-0000-0000-000000000000}"/>
          </ac:spMkLst>
        </pc:spChg>
        <pc:picChg chg="mod">
          <ac:chgData name="Andreas" userId="9d9beba6-c052-407a-8599-c781a677a996" providerId="ADAL" clId="{1B7CF67B-5515-4C9F-825D-072B1C4F5900}" dt="2021-11-18T08:32:10.345" v="376" actId="26606"/>
          <ac:picMkLst>
            <pc:docMk/>
            <pc:sldMk cId="2509195288" sldId="290"/>
            <ac:picMk id="5" creationId="{93A150F0-6265-42DA-BF21-B1A744D05AF6}"/>
          </ac:picMkLst>
        </pc:picChg>
      </pc:sldChg>
      <pc:sldChg chg="addSp delSp modSp add mod modTransition modClrScheme chgLayout">
        <pc:chgData name="Andreas" userId="9d9beba6-c052-407a-8599-c781a677a996" providerId="ADAL" clId="{1B7CF67B-5515-4C9F-825D-072B1C4F5900}" dt="2021-11-18T08:59:14.851" v="828" actId="1076"/>
        <pc:sldMkLst>
          <pc:docMk/>
          <pc:sldMk cId="1911017754" sldId="291"/>
        </pc:sldMkLst>
        <pc:spChg chg="add del mod">
          <ac:chgData name="Andreas" userId="9d9beba6-c052-407a-8599-c781a677a996" providerId="ADAL" clId="{1B7CF67B-5515-4C9F-825D-072B1C4F5900}" dt="2021-11-18T08:34:55.747" v="479" actId="26606"/>
          <ac:spMkLst>
            <pc:docMk/>
            <pc:sldMk cId="1911017754" sldId="291"/>
            <ac:spMk id="106" creationId="{B100CE4E-F50C-404E-9635-CFF7F5CD1629}"/>
          </ac:spMkLst>
        </pc:spChg>
        <pc:spChg chg="add del mod">
          <ac:chgData name="Andreas" userId="9d9beba6-c052-407a-8599-c781a677a996" providerId="ADAL" clId="{1B7CF67B-5515-4C9F-825D-072B1C4F5900}" dt="2021-11-18T08:34:55.747" v="479" actId="26606"/>
          <ac:spMkLst>
            <pc:docMk/>
            <pc:sldMk cId="1911017754" sldId="291"/>
            <ac:spMk id="108" creationId="{D1BA1E79-8FAE-40A7-B87D-AD667318F740}"/>
          </ac:spMkLst>
        </pc:spChg>
        <pc:spChg chg="add del mod">
          <ac:chgData name="Andreas" userId="9d9beba6-c052-407a-8599-c781a677a996" providerId="ADAL" clId="{1B7CF67B-5515-4C9F-825D-072B1C4F5900}" dt="2021-11-18T08:34:55.747" v="479" actId="26606"/>
          <ac:spMkLst>
            <pc:docMk/>
            <pc:sldMk cId="1911017754" sldId="291"/>
            <ac:spMk id="110" creationId="{D1272256-33AC-4B7F-9087-ADC291D637D4}"/>
          </ac:spMkLst>
        </pc:spChg>
        <pc:spChg chg="add del mod">
          <ac:chgData name="Andreas" userId="9d9beba6-c052-407a-8599-c781a677a996" providerId="ADAL" clId="{1B7CF67B-5515-4C9F-825D-072B1C4F5900}" dt="2021-11-18T08:58:59.156" v="820" actId="26606"/>
          <ac:spMkLst>
            <pc:docMk/>
            <pc:sldMk cId="1911017754" sldId="291"/>
            <ac:spMk id="114" creationId="{AE1562A0-AB99-4525-8285-E45E8B769A54}"/>
          </ac:spMkLst>
        </pc:spChg>
        <pc:spChg chg="mod ord">
          <ac:chgData name="Andreas" userId="9d9beba6-c052-407a-8599-c781a677a996" providerId="ADAL" clId="{1B7CF67B-5515-4C9F-825D-072B1C4F5900}" dt="2021-11-18T08:59:06.262" v="825" actId="14100"/>
          <ac:spMkLst>
            <pc:docMk/>
            <pc:sldMk cId="1911017754" sldId="291"/>
            <ac:spMk id="165" creationId="{00000000-0000-0000-0000-000000000000}"/>
          </ac:spMkLst>
        </pc:spChg>
        <pc:spChg chg="add del mod">
          <ac:chgData name="Andreas" userId="9d9beba6-c052-407a-8599-c781a677a996" providerId="ADAL" clId="{1B7CF67B-5515-4C9F-825D-072B1C4F5900}" dt="2021-11-18T08:35:19.472" v="481" actId="26606"/>
          <ac:spMkLst>
            <pc:docMk/>
            <pc:sldMk cId="1911017754" sldId="291"/>
            <ac:spMk id="167" creationId="{826444C7-7CE9-422B-8F71-B57DEAA30296}"/>
          </ac:spMkLst>
        </pc:spChg>
        <pc:spChg chg="add del mod">
          <ac:chgData name="Andreas" userId="9d9beba6-c052-407a-8599-c781a677a996" providerId="ADAL" clId="{1B7CF67B-5515-4C9F-825D-072B1C4F5900}" dt="2021-11-18T08:35:19.472" v="481" actId="26606"/>
          <ac:spMkLst>
            <pc:docMk/>
            <pc:sldMk cId="1911017754" sldId="291"/>
            <ac:spMk id="168" creationId="{908A3A20-812A-4ECF-8CC9-ADC2AFCAFA00}"/>
          </ac:spMkLst>
        </pc:spChg>
        <pc:spChg chg="add del mod">
          <ac:chgData name="Andreas" userId="9d9beba6-c052-407a-8599-c781a677a996" providerId="ADAL" clId="{1B7CF67B-5515-4C9F-825D-072B1C4F5900}" dt="2021-11-18T08:35:19.472" v="481" actId="26606"/>
          <ac:spMkLst>
            <pc:docMk/>
            <pc:sldMk cId="1911017754" sldId="291"/>
            <ac:spMk id="169" creationId="{96FD526C-8A5C-4B87-914A-77C1ABB05917}"/>
          </ac:spMkLst>
        </pc:spChg>
        <pc:spChg chg="add del mod">
          <ac:chgData name="Andreas" userId="9d9beba6-c052-407a-8599-c781a677a996" providerId="ADAL" clId="{1B7CF67B-5515-4C9F-825D-072B1C4F5900}" dt="2021-11-18T08:36:04.793" v="491" actId="478"/>
          <ac:spMkLst>
            <pc:docMk/>
            <pc:sldMk cId="1911017754" sldId="291"/>
            <ac:spMk id="170" creationId="{5E706C7E-0FF2-4B6B-87EE-F1B28528C940}"/>
          </ac:spMkLst>
        </pc:spChg>
        <pc:spChg chg="add del mod">
          <ac:chgData name="Andreas" userId="9d9beba6-c052-407a-8599-c781a677a996" providerId="ADAL" clId="{1B7CF67B-5515-4C9F-825D-072B1C4F5900}" dt="2021-11-18T08:35:22.980" v="483" actId="478"/>
          <ac:spMkLst>
            <pc:docMk/>
            <pc:sldMk cId="1911017754" sldId="291"/>
            <ac:spMk id="171" creationId="{E1125E04-33C8-4FC1-8FA1-DE98E774AD50}"/>
          </ac:spMkLst>
        </pc:spChg>
        <pc:spChg chg="add mod">
          <ac:chgData name="Andreas" userId="9d9beba6-c052-407a-8599-c781a677a996" providerId="ADAL" clId="{1B7CF67B-5515-4C9F-825D-072B1C4F5900}" dt="2021-11-18T08:59:01.159" v="823" actId="26606"/>
          <ac:spMkLst>
            <pc:docMk/>
            <pc:sldMk cId="1911017754" sldId="291"/>
            <ac:spMk id="172" creationId="{97B207BF-17F4-43B4-B315-27DF0FF0A752}"/>
          </ac:spMkLst>
        </pc:spChg>
        <pc:spChg chg="add mod">
          <ac:chgData name="Andreas" userId="9d9beba6-c052-407a-8599-c781a677a996" providerId="ADAL" clId="{1B7CF67B-5515-4C9F-825D-072B1C4F5900}" dt="2021-11-18T08:59:01.159" v="823" actId="26606"/>
          <ac:spMkLst>
            <pc:docMk/>
            <pc:sldMk cId="1911017754" sldId="291"/>
            <ac:spMk id="173" creationId="{B481E49B-3DE4-49DB-874C-30B99A34DBF5}"/>
          </ac:spMkLst>
        </pc:spChg>
        <pc:spChg chg="add del mod">
          <ac:chgData name="Andreas" userId="9d9beba6-c052-407a-8599-c781a677a996" providerId="ADAL" clId="{1B7CF67B-5515-4C9F-825D-072B1C4F5900}" dt="2021-11-18T08:59:01.156" v="822" actId="26606"/>
          <ac:spMkLst>
            <pc:docMk/>
            <pc:sldMk cId="1911017754" sldId="291"/>
            <ac:spMk id="175" creationId="{1F098EB8-D202-48B2-86CA-1D3FE493650D}"/>
          </ac:spMkLst>
        </pc:spChg>
        <pc:spChg chg="add del mod">
          <ac:chgData name="Andreas" userId="9d9beba6-c052-407a-8599-c781a677a996" providerId="ADAL" clId="{1B7CF67B-5515-4C9F-825D-072B1C4F5900}" dt="2021-11-18T08:59:08.338" v="826" actId="478"/>
          <ac:spMkLst>
            <pc:docMk/>
            <pc:sldMk cId="1911017754" sldId="291"/>
            <ac:spMk id="177" creationId="{AE1562A0-AB99-4525-8285-E45E8B769A54}"/>
          </ac:spMkLst>
        </pc:spChg>
        <pc:picChg chg="mod ord">
          <ac:chgData name="Andreas" userId="9d9beba6-c052-407a-8599-c781a677a996" providerId="ADAL" clId="{1B7CF67B-5515-4C9F-825D-072B1C4F5900}" dt="2021-11-18T08:59:14.851" v="828" actId="1076"/>
          <ac:picMkLst>
            <pc:docMk/>
            <pc:sldMk cId="1911017754" sldId="291"/>
            <ac:picMk id="4" creationId="{2C66C096-2CBC-41F2-ADCB-EEE41444E70F}"/>
          </ac:picMkLst>
        </pc:picChg>
      </pc:sldChg>
      <pc:sldChg chg="addSp delSp modSp add mod modTransition modClrScheme chgLayout">
        <pc:chgData name="Andreas" userId="9d9beba6-c052-407a-8599-c781a677a996" providerId="ADAL" clId="{1B7CF67B-5515-4C9F-825D-072B1C4F5900}" dt="2021-11-18T08:35:45.558" v="489" actId="26606"/>
        <pc:sldMkLst>
          <pc:docMk/>
          <pc:sldMk cId="905136967" sldId="292"/>
        </pc:sldMkLst>
        <pc:spChg chg="add del mod">
          <ac:chgData name="Andreas" userId="9d9beba6-c052-407a-8599-c781a677a996" providerId="ADAL" clId="{1B7CF67B-5515-4C9F-825D-072B1C4F5900}" dt="2021-11-18T08:35:45.558" v="489" actId="26606"/>
          <ac:spMkLst>
            <pc:docMk/>
            <pc:sldMk cId="905136967" sldId="292"/>
            <ac:spMk id="5" creationId="{A43D9CEC-C14D-4EF7-9CB6-03B835202AD7}"/>
          </ac:spMkLst>
        </pc:spChg>
        <pc:spChg chg="add del mod">
          <ac:chgData name="Andreas" userId="9d9beba6-c052-407a-8599-c781a677a996" providerId="ADAL" clId="{1B7CF67B-5515-4C9F-825D-072B1C4F5900}" dt="2021-11-18T08:32:50.492" v="379" actId="26606"/>
          <ac:spMkLst>
            <pc:docMk/>
            <pc:sldMk cId="905136967" sldId="292"/>
            <ac:spMk id="106" creationId="{8E070634-4EEE-4BAF-B600-5A8F3620333A}"/>
          </ac:spMkLst>
        </pc:spChg>
        <pc:spChg chg="add del mod">
          <ac:chgData name="Andreas" userId="9d9beba6-c052-407a-8599-c781a677a996" providerId="ADAL" clId="{1B7CF67B-5515-4C9F-825D-072B1C4F5900}" dt="2021-11-18T08:32:57.479" v="381" actId="26606"/>
          <ac:spMkLst>
            <pc:docMk/>
            <pc:sldMk cId="905136967" sldId="292"/>
            <ac:spMk id="107" creationId="{6A4F24C6-BAE2-4288-803F-25888FD7F982}"/>
          </ac:spMkLst>
        </pc:spChg>
        <pc:spChg chg="add del mod">
          <ac:chgData name="Andreas" userId="9d9beba6-c052-407a-8599-c781a677a996" providerId="ADAL" clId="{1B7CF67B-5515-4C9F-825D-072B1C4F5900}" dt="2021-11-18T08:32:50.492" v="379" actId="26606"/>
          <ac:spMkLst>
            <pc:docMk/>
            <pc:sldMk cId="905136967" sldId="292"/>
            <ac:spMk id="108" creationId="{781E2672-BFAD-4B63-AA49-D282A8B6DCD0}"/>
          </ac:spMkLst>
        </pc:spChg>
        <pc:spChg chg="add del mod">
          <ac:chgData name="Andreas" userId="9d9beba6-c052-407a-8599-c781a677a996" providerId="ADAL" clId="{1B7CF67B-5515-4C9F-825D-072B1C4F5900}" dt="2021-11-18T08:32:57.479" v="381" actId="26606"/>
          <ac:spMkLst>
            <pc:docMk/>
            <pc:sldMk cId="905136967" sldId="292"/>
            <ac:spMk id="109" creationId="{AF896F86-7EFB-4569-B02C-653C60BA99EF}"/>
          </ac:spMkLst>
        </pc:spChg>
        <pc:spChg chg="add del mod">
          <ac:chgData name="Andreas" userId="9d9beba6-c052-407a-8599-c781a677a996" providerId="ADAL" clId="{1B7CF67B-5515-4C9F-825D-072B1C4F5900}" dt="2021-11-18T08:32:50.492" v="379" actId="26606"/>
          <ac:spMkLst>
            <pc:docMk/>
            <pc:sldMk cId="905136967" sldId="292"/>
            <ac:spMk id="110" creationId="{5450D74E-E80A-4F7B-AC4C-9B98A916D6E9}"/>
          </ac:spMkLst>
        </pc:spChg>
        <pc:spChg chg="add del mod">
          <ac:chgData name="Andreas" userId="9d9beba6-c052-407a-8599-c781a677a996" providerId="ADAL" clId="{1B7CF67B-5515-4C9F-825D-072B1C4F5900}" dt="2021-11-18T08:32:57.479" v="381" actId="26606"/>
          <ac:spMkLst>
            <pc:docMk/>
            <pc:sldMk cId="905136967" sldId="292"/>
            <ac:spMk id="111" creationId="{15E57F40-8CEC-486E-B530-241D865F3404}"/>
          </ac:spMkLst>
        </pc:spChg>
        <pc:spChg chg="mod ord">
          <ac:chgData name="Andreas" userId="9d9beba6-c052-407a-8599-c781a677a996" providerId="ADAL" clId="{1B7CF67B-5515-4C9F-825D-072B1C4F5900}" dt="2021-11-18T08:35:45.558" v="489" actId="26606"/>
          <ac:spMkLst>
            <pc:docMk/>
            <pc:sldMk cId="905136967" sldId="292"/>
            <ac:spMk id="165" creationId="{00000000-0000-0000-0000-000000000000}"/>
          </ac:spMkLst>
        </pc:spChg>
        <pc:spChg chg="add mod">
          <ac:chgData name="Andreas" userId="9d9beba6-c052-407a-8599-c781a677a996" providerId="ADAL" clId="{1B7CF67B-5515-4C9F-825D-072B1C4F5900}" dt="2021-11-18T08:35:45.558" v="489" actId="26606"/>
          <ac:spMkLst>
            <pc:docMk/>
            <pc:sldMk cId="905136967" sldId="292"/>
            <ac:spMk id="168" creationId="{E0467924-BAD1-4752-BBFD-79A697EE1779}"/>
          </ac:spMkLst>
        </pc:spChg>
        <pc:spChg chg="add mod">
          <ac:chgData name="Andreas" userId="9d9beba6-c052-407a-8599-c781a677a996" providerId="ADAL" clId="{1B7CF67B-5515-4C9F-825D-072B1C4F5900}" dt="2021-11-18T08:35:45.558" v="489" actId="26606"/>
          <ac:spMkLst>
            <pc:docMk/>
            <pc:sldMk cId="905136967" sldId="292"/>
            <ac:spMk id="170" creationId="{8FBDA13C-D1C5-4BD6-B695-0A275D4A2F9E}"/>
          </ac:spMkLst>
        </pc:spChg>
        <pc:spChg chg="add mod">
          <ac:chgData name="Andreas" userId="9d9beba6-c052-407a-8599-c781a677a996" providerId="ADAL" clId="{1B7CF67B-5515-4C9F-825D-072B1C4F5900}" dt="2021-11-18T08:35:45.558" v="489" actId="26606"/>
          <ac:spMkLst>
            <pc:docMk/>
            <pc:sldMk cId="905136967" sldId="292"/>
            <ac:spMk id="172" creationId="{191CCFB4-E42E-4C19-AC19-DF44DE507EF6}"/>
          </ac:spMkLst>
        </pc:spChg>
        <pc:spChg chg="add del mod">
          <ac:chgData name="Andreas" userId="9d9beba6-c052-407a-8599-c781a677a996" providerId="ADAL" clId="{1B7CF67B-5515-4C9F-825D-072B1C4F5900}" dt="2021-11-18T08:33:14.575" v="387" actId="26606"/>
          <ac:spMkLst>
            <pc:docMk/>
            <pc:sldMk cId="905136967" sldId="292"/>
            <ac:spMk id="173" creationId="{A0478CBC-8074-4CEC-AE8B-DCA5CE8A6480}"/>
          </ac:spMkLst>
        </pc:spChg>
        <pc:spChg chg="add del mod">
          <ac:chgData name="Andreas" userId="9d9beba6-c052-407a-8599-c781a677a996" providerId="ADAL" clId="{1B7CF67B-5515-4C9F-825D-072B1C4F5900}" dt="2021-11-18T08:33:14.575" v="387" actId="26606"/>
          <ac:spMkLst>
            <pc:docMk/>
            <pc:sldMk cId="905136967" sldId="292"/>
            <ac:spMk id="174" creationId="{DCC06A51-8CB1-4DA2-AAE3-3D435102EF7E}"/>
          </ac:spMkLst>
        </pc:spChg>
        <pc:spChg chg="add del mod">
          <ac:chgData name="Andreas" userId="9d9beba6-c052-407a-8599-c781a677a996" providerId="ADAL" clId="{1B7CF67B-5515-4C9F-825D-072B1C4F5900}" dt="2021-11-18T08:33:14.575" v="387" actId="26606"/>
          <ac:spMkLst>
            <pc:docMk/>
            <pc:sldMk cId="905136967" sldId="292"/>
            <ac:spMk id="175" creationId="{A9F8B84D-8D01-498A-96BC-188C91767DA8}"/>
          </ac:spMkLst>
        </pc:spChg>
        <pc:spChg chg="add del mod">
          <ac:chgData name="Andreas" userId="9d9beba6-c052-407a-8599-c781a677a996" providerId="ADAL" clId="{1B7CF67B-5515-4C9F-825D-072B1C4F5900}" dt="2021-11-18T08:33:17.304" v="389" actId="26606"/>
          <ac:spMkLst>
            <pc:docMk/>
            <pc:sldMk cId="905136967" sldId="292"/>
            <ac:spMk id="178" creationId="{6A4F24C6-BAE2-4288-803F-25888FD7F982}"/>
          </ac:spMkLst>
        </pc:spChg>
        <pc:spChg chg="add del mod">
          <ac:chgData name="Andreas" userId="9d9beba6-c052-407a-8599-c781a677a996" providerId="ADAL" clId="{1B7CF67B-5515-4C9F-825D-072B1C4F5900}" dt="2021-11-18T08:33:17.304" v="389" actId="26606"/>
          <ac:spMkLst>
            <pc:docMk/>
            <pc:sldMk cId="905136967" sldId="292"/>
            <ac:spMk id="179" creationId="{AF896F86-7EFB-4569-B02C-653C60BA99EF}"/>
          </ac:spMkLst>
        </pc:spChg>
        <pc:spChg chg="add del mod">
          <ac:chgData name="Andreas" userId="9d9beba6-c052-407a-8599-c781a677a996" providerId="ADAL" clId="{1B7CF67B-5515-4C9F-825D-072B1C4F5900}" dt="2021-11-18T08:33:17.304" v="389" actId="26606"/>
          <ac:spMkLst>
            <pc:docMk/>
            <pc:sldMk cId="905136967" sldId="292"/>
            <ac:spMk id="180" creationId="{15E57F40-8CEC-486E-B530-241D865F3404}"/>
          </ac:spMkLst>
        </pc:spChg>
        <pc:spChg chg="add del mod">
          <ac:chgData name="Andreas" userId="9d9beba6-c052-407a-8599-c781a677a996" providerId="ADAL" clId="{1B7CF67B-5515-4C9F-825D-072B1C4F5900}" dt="2021-11-18T08:34:53.102" v="478" actId="26606"/>
          <ac:spMkLst>
            <pc:docMk/>
            <pc:sldMk cId="905136967" sldId="292"/>
            <ac:spMk id="183" creationId="{A43D9CEC-C14D-4EF7-9CB6-03B835202AD7}"/>
          </ac:spMkLst>
        </pc:spChg>
        <pc:spChg chg="add del mod">
          <ac:chgData name="Andreas" userId="9d9beba6-c052-407a-8599-c781a677a996" providerId="ADAL" clId="{1B7CF67B-5515-4C9F-825D-072B1C4F5900}" dt="2021-11-18T08:34:53.102" v="478" actId="26606"/>
          <ac:spMkLst>
            <pc:docMk/>
            <pc:sldMk cId="905136967" sldId="292"/>
            <ac:spMk id="184" creationId="{8E070634-4EEE-4BAF-B600-5A8F3620333A}"/>
          </ac:spMkLst>
        </pc:spChg>
        <pc:spChg chg="add del mod">
          <ac:chgData name="Andreas" userId="9d9beba6-c052-407a-8599-c781a677a996" providerId="ADAL" clId="{1B7CF67B-5515-4C9F-825D-072B1C4F5900}" dt="2021-11-18T08:34:53.102" v="478" actId="26606"/>
          <ac:spMkLst>
            <pc:docMk/>
            <pc:sldMk cId="905136967" sldId="292"/>
            <ac:spMk id="185" creationId="{781E2672-BFAD-4B63-AA49-D282A8B6DCD0}"/>
          </ac:spMkLst>
        </pc:spChg>
        <pc:spChg chg="add del mod">
          <ac:chgData name="Andreas" userId="9d9beba6-c052-407a-8599-c781a677a996" providerId="ADAL" clId="{1B7CF67B-5515-4C9F-825D-072B1C4F5900}" dt="2021-11-18T08:34:53.102" v="478" actId="26606"/>
          <ac:spMkLst>
            <pc:docMk/>
            <pc:sldMk cId="905136967" sldId="292"/>
            <ac:spMk id="186" creationId="{5450D74E-E80A-4F7B-AC4C-9B98A916D6E9}"/>
          </ac:spMkLst>
        </pc:spChg>
        <pc:graphicFrameChg chg="add del mod">
          <ac:chgData name="Andreas" userId="9d9beba6-c052-407a-8599-c781a677a996" providerId="ADAL" clId="{1B7CF67B-5515-4C9F-825D-072B1C4F5900}" dt="2021-11-18T08:32:57.479" v="381" actId="26606"/>
          <ac:graphicFrameMkLst>
            <pc:docMk/>
            <pc:sldMk cId="905136967" sldId="292"/>
            <ac:graphicFrameMk id="167" creationId="{B3AE239B-C6C1-40B1-8478-4674E1DE26D5}"/>
          </ac:graphicFrameMkLst>
        </pc:graphicFrameChg>
        <pc:graphicFrameChg chg="add del">
          <ac:chgData name="Andreas" userId="9d9beba6-c052-407a-8599-c781a677a996" providerId="ADAL" clId="{1B7CF67B-5515-4C9F-825D-072B1C4F5900}" dt="2021-11-18T08:33:01.796" v="383" actId="26606"/>
          <ac:graphicFrameMkLst>
            <pc:docMk/>
            <pc:sldMk cId="905136967" sldId="292"/>
            <ac:graphicFrameMk id="169" creationId="{15AEBC35-0CB8-480F-A98C-7B292F527E41}"/>
          </ac:graphicFrameMkLst>
        </pc:graphicFrameChg>
        <pc:graphicFrameChg chg="add del">
          <ac:chgData name="Andreas" userId="9d9beba6-c052-407a-8599-c781a677a996" providerId="ADAL" clId="{1B7CF67B-5515-4C9F-825D-072B1C4F5900}" dt="2021-11-18T08:33:04.566" v="385" actId="26606"/>
          <ac:graphicFrameMkLst>
            <pc:docMk/>
            <pc:sldMk cId="905136967" sldId="292"/>
            <ac:graphicFrameMk id="171" creationId="{60915549-52E7-4A74-862F-19129A8F83A0}"/>
          </ac:graphicFrameMkLst>
        </pc:graphicFrameChg>
        <pc:graphicFrameChg chg="add del mod">
          <ac:chgData name="Andreas" userId="9d9beba6-c052-407a-8599-c781a677a996" providerId="ADAL" clId="{1B7CF67B-5515-4C9F-825D-072B1C4F5900}" dt="2021-11-18T08:33:14.575" v="387" actId="26606"/>
          <ac:graphicFrameMkLst>
            <pc:docMk/>
            <pc:sldMk cId="905136967" sldId="292"/>
            <ac:graphicFrameMk id="176" creationId="{DA779C08-5EE1-405C-86FB-444E37E0B3D2}"/>
          </ac:graphicFrameMkLst>
        </pc:graphicFrameChg>
        <pc:graphicFrameChg chg="add del mod">
          <ac:chgData name="Andreas" userId="9d9beba6-c052-407a-8599-c781a677a996" providerId="ADAL" clId="{1B7CF67B-5515-4C9F-825D-072B1C4F5900}" dt="2021-11-18T08:33:17.304" v="389" actId="26606"/>
          <ac:graphicFrameMkLst>
            <pc:docMk/>
            <pc:sldMk cId="905136967" sldId="292"/>
            <ac:graphicFrameMk id="181" creationId="{B3AE239B-C6C1-40B1-8478-4674E1DE26D5}"/>
          </ac:graphicFrameMkLst>
        </pc:graphicFrameChg>
      </pc:sldChg>
      <pc:sldChg chg="addSp delSp modSp add mod modTransition modClrScheme chgLayout">
        <pc:chgData name="Andreas" userId="9d9beba6-c052-407a-8599-c781a677a996" providerId="ADAL" clId="{1B7CF67B-5515-4C9F-825D-072B1C4F5900}" dt="2021-11-18T08:37:31.525" v="506" actId="14100"/>
        <pc:sldMkLst>
          <pc:docMk/>
          <pc:sldMk cId="2719012752" sldId="293"/>
        </pc:sldMkLst>
        <pc:spChg chg="add del mod">
          <ac:chgData name="Andreas" userId="9d9beba6-c052-407a-8599-c781a677a996" providerId="ADAL" clId="{1B7CF67B-5515-4C9F-825D-072B1C4F5900}" dt="2021-11-18T08:34:16.699" v="468" actId="26606"/>
          <ac:spMkLst>
            <pc:docMk/>
            <pc:sldMk cId="2719012752" sldId="293"/>
            <ac:spMk id="106" creationId="{9E186379-F3B1-462E-B88F-EB9196947BDF}"/>
          </ac:spMkLst>
        </pc:spChg>
        <pc:spChg chg="add del mod">
          <ac:chgData name="Andreas" userId="9d9beba6-c052-407a-8599-c781a677a996" providerId="ADAL" clId="{1B7CF67B-5515-4C9F-825D-072B1C4F5900}" dt="2021-11-18T08:34:16.699" v="468" actId="26606"/>
          <ac:spMkLst>
            <pc:docMk/>
            <pc:sldMk cId="2719012752" sldId="293"/>
            <ac:spMk id="108" creationId="{620632E1-BF6E-4F71-8D32-CCCC5906C289}"/>
          </ac:spMkLst>
        </pc:spChg>
        <pc:spChg chg="add del mod">
          <ac:chgData name="Andreas" userId="9d9beba6-c052-407a-8599-c781a677a996" providerId="ADAL" clId="{1B7CF67B-5515-4C9F-825D-072B1C4F5900}" dt="2021-11-18T08:34:16.699" v="468" actId="26606"/>
          <ac:spMkLst>
            <pc:docMk/>
            <pc:sldMk cId="2719012752" sldId="293"/>
            <ac:spMk id="110" creationId="{348939AE-1A7C-4FFF-9D9E-C2DCED73A7EC}"/>
          </ac:spMkLst>
        </pc:spChg>
        <pc:spChg chg="mod ord">
          <ac:chgData name="Andreas" userId="9d9beba6-c052-407a-8599-c781a677a996" providerId="ADAL" clId="{1B7CF67B-5515-4C9F-825D-072B1C4F5900}" dt="2021-11-18T08:37:16.602" v="501" actId="14100"/>
          <ac:spMkLst>
            <pc:docMk/>
            <pc:sldMk cId="2719012752" sldId="293"/>
            <ac:spMk id="165" creationId="{00000000-0000-0000-0000-000000000000}"/>
          </ac:spMkLst>
        </pc:spChg>
        <pc:spChg chg="add del mod">
          <ac:chgData name="Andreas" userId="9d9beba6-c052-407a-8599-c781a677a996" providerId="ADAL" clId="{1B7CF67B-5515-4C9F-825D-072B1C4F5900}" dt="2021-11-18T08:37:19.212" v="502" actId="478"/>
          <ac:spMkLst>
            <pc:docMk/>
            <pc:sldMk cId="2719012752" sldId="293"/>
            <ac:spMk id="167" creationId="{0BEE1DF3-F311-4B2E-B0D5-FE729D742A94}"/>
          </ac:spMkLst>
        </pc:spChg>
        <pc:spChg chg="add mod">
          <ac:chgData name="Andreas" userId="9d9beba6-c052-407a-8599-c781a677a996" providerId="ADAL" clId="{1B7CF67B-5515-4C9F-825D-072B1C4F5900}" dt="2021-11-18T08:37:09.954" v="499" actId="26606"/>
          <ac:spMkLst>
            <pc:docMk/>
            <pc:sldMk cId="2719012752" sldId="293"/>
            <ac:spMk id="168" creationId="{F6E8AC54-E3D7-4B35-8A5A-204B9D5C32D8}"/>
          </ac:spMkLst>
        </pc:spChg>
        <pc:spChg chg="add mod">
          <ac:chgData name="Andreas" userId="9d9beba6-c052-407a-8599-c781a677a996" providerId="ADAL" clId="{1B7CF67B-5515-4C9F-825D-072B1C4F5900}" dt="2021-11-18T08:37:09.954" v="499" actId="26606"/>
          <ac:spMkLst>
            <pc:docMk/>
            <pc:sldMk cId="2719012752" sldId="293"/>
            <ac:spMk id="169" creationId="{81938866-F5E2-4C24-A5AC-F8CA748F0B71}"/>
          </ac:spMkLst>
        </pc:spChg>
        <pc:picChg chg="mod">
          <ac:chgData name="Andreas" userId="9d9beba6-c052-407a-8599-c781a677a996" providerId="ADAL" clId="{1B7CF67B-5515-4C9F-825D-072B1C4F5900}" dt="2021-11-18T08:37:31.525" v="506" actId="14100"/>
          <ac:picMkLst>
            <pc:docMk/>
            <pc:sldMk cId="2719012752" sldId="293"/>
            <ac:picMk id="5" creationId="{9D13362C-B3B3-4DA5-8A13-8F95EAE69A62}"/>
          </ac:picMkLst>
        </pc:picChg>
      </pc:sldChg>
      <pc:sldChg chg="addSp delSp modSp add mod modTransition chgLayout">
        <pc:chgData name="Andreas" userId="9d9beba6-c052-407a-8599-c781a677a996" providerId="ADAL" clId="{1B7CF67B-5515-4C9F-825D-072B1C4F5900}" dt="2021-11-18T08:59:40.129" v="833" actId="1076"/>
        <pc:sldMkLst>
          <pc:docMk/>
          <pc:sldMk cId="105445765" sldId="294"/>
        </pc:sldMkLst>
        <pc:spChg chg="add del mod">
          <ac:chgData name="Andreas" userId="9d9beba6-c052-407a-8599-c781a677a996" providerId="ADAL" clId="{1B7CF67B-5515-4C9F-825D-072B1C4F5900}" dt="2021-11-18T08:37:52.705" v="510" actId="478"/>
          <ac:spMkLst>
            <pc:docMk/>
            <pc:sldMk cId="105445765" sldId="294"/>
            <ac:spMk id="106" creationId="{A022BA05-562B-417E-94FB-829251F367AB}"/>
          </ac:spMkLst>
        </pc:spChg>
        <pc:spChg chg="add mod">
          <ac:chgData name="Andreas" userId="9d9beba6-c052-407a-8599-c781a677a996" providerId="ADAL" clId="{1B7CF67B-5515-4C9F-825D-072B1C4F5900}" dt="2021-11-18T08:59:24.848" v="829" actId="26606"/>
          <ac:spMkLst>
            <pc:docMk/>
            <pc:sldMk cId="105445765" sldId="294"/>
            <ac:spMk id="108" creationId="{44B446FC-53BC-44FD-AB0F-3CBEE2FB6F1D}"/>
          </ac:spMkLst>
        </pc:spChg>
        <pc:spChg chg="add mod">
          <ac:chgData name="Andreas" userId="9d9beba6-c052-407a-8599-c781a677a996" providerId="ADAL" clId="{1B7CF67B-5515-4C9F-825D-072B1C4F5900}" dt="2021-11-18T08:59:24.848" v="829" actId="26606"/>
          <ac:spMkLst>
            <pc:docMk/>
            <pc:sldMk cId="105445765" sldId="294"/>
            <ac:spMk id="110" creationId="{E7206ED1-C698-42B9-89DA-16977811CE03}"/>
          </ac:spMkLst>
        </pc:spChg>
        <pc:spChg chg="mod ord">
          <ac:chgData name="Andreas" userId="9d9beba6-c052-407a-8599-c781a677a996" providerId="ADAL" clId="{1B7CF67B-5515-4C9F-825D-072B1C4F5900}" dt="2021-11-18T08:59:24.848" v="829" actId="26606"/>
          <ac:spMkLst>
            <pc:docMk/>
            <pc:sldMk cId="105445765" sldId="294"/>
            <ac:spMk id="165" creationId="{00000000-0000-0000-0000-000000000000}"/>
          </ac:spMkLst>
        </pc:spChg>
        <pc:spChg chg="add del mod">
          <ac:chgData name="Andreas" userId="9d9beba6-c052-407a-8599-c781a677a996" providerId="ADAL" clId="{1B7CF67B-5515-4C9F-825D-072B1C4F5900}" dt="2021-11-18T08:59:27.801" v="830" actId="478"/>
          <ac:spMkLst>
            <pc:docMk/>
            <pc:sldMk cId="105445765" sldId="294"/>
            <ac:spMk id="170" creationId="{AF58C9FE-5AA5-48B3-B284-5F06B7EB6725}"/>
          </ac:spMkLst>
        </pc:spChg>
        <pc:picChg chg="mod">
          <ac:chgData name="Andreas" userId="9d9beba6-c052-407a-8599-c781a677a996" providerId="ADAL" clId="{1B7CF67B-5515-4C9F-825D-072B1C4F5900}" dt="2021-11-18T08:59:40.129" v="833" actId="1076"/>
          <ac:picMkLst>
            <pc:docMk/>
            <pc:sldMk cId="105445765" sldId="294"/>
            <ac:picMk id="4" creationId="{3669D0E2-383D-4DE4-A2B5-A0D935EF39EE}"/>
          </ac:picMkLst>
        </pc:picChg>
      </pc:sldChg>
      <pc:sldChg chg="addSp delSp modSp add mod modTransition modClrScheme chgLayout">
        <pc:chgData name="Andreas" userId="9d9beba6-c052-407a-8599-c781a677a996" providerId="ADAL" clId="{1B7CF67B-5515-4C9F-825D-072B1C4F5900}" dt="2021-11-18T08:38:35.248" v="519" actId="1076"/>
        <pc:sldMkLst>
          <pc:docMk/>
          <pc:sldMk cId="2698391475" sldId="295"/>
        </pc:sldMkLst>
        <pc:spChg chg="add del mod">
          <ac:chgData name="Andreas" userId="9d9beba6-c052-407a-8599-c781a677a996" providerId="ADAL" clId="{1B7CF67B-5515-4C9F-825D-072B1C4F5900}" dt="2021-11-18T08:38:24.897" v="517" actId="478"/>
          <ac:spMkLst>
            <pc:docMk/>
            <pc:sldMk cId="2698391475" sldId="295"/>
            <ac:spMk id="106" creationId="{0D7B86E8-7F09-44AE-8A6B-446C614DA495}"/>
          </ac:spMkLst>
        </pc:spChg>
        <pc:spChg chg="add mod">
          <ac:chgData name="Andreas" userId="9d9beba6-c052-407a-8599-c781a677a996" providerId="ADAL" clId="{1B7CF67B-5515-4C9F-825D-072B1C4F5900}" dt="2021-11-18T08:38:18.700" v="514" actId="26606"/>
          <ac:spMkLst>
            <pc:docMk/>
            <pc:sldMk cId="2698391475" sldId="295"/>
            <ac:spMk id="108" creationId="{AF6F1C6B-F27A-4CD1-B940-A10273B1D319}"/>
          </ac:spMkLst>
        </pc:spChg>
        <pc:spChg chg="add mod">
          <ac:chgData name="Andreas" userId="9d9beba6-c052-407a-8599-c781a677a996" providerId="ADAL" clId="{1B7CF67B-5515-4C9F-825D-072B1C4F5900}" dt="2021-11-18T08:38:18.700" v="514" actId="26606"/>
          <ac:spMkLst>
            <pc:docMk/>
            <pc:sldMk cId="2698391475" sldId="295"/>
            <ac:spMk id="110" creationId="{6909033B-67DD-41AB-88CE-1306098EC68D}"/>
          </ac:spMkLst>
        </pc:spChg>
        <pc:spChg chg="mod">
          <ac:chgData name="Andreas" userId="9d9beba6-c052-407a-8599-c781a677a996" providerId="ADAL" clId="{1B7CF67B-5515-4C9F-825D-072B1C4F5900}" dt="2021-11-18T08:38:23.718" v="516" actId="14100"/>
          <ac:spMkLst>
            <pc:docMk/>
            <pc:sldMk cId="2698391475" sldId="295"/>
            <ac:spMk id="165" creationId="{00000000-0000-0000-0000-000000000000}"/>
          </ac:spMkLst>
        </pc:spChg>
        <pc:picChg chg="mod">
          <ac:chgData name="Andreas" userId="9d9beba6-c052-407a-8599-c781a677a996" providerId="ADAL" clId="{1B7CF67B-5515-4C9F-825D-072B1C4F5900}" dt="2021-11-18T08:38:35.248" v="519" actId="1076"/>
          <ac:picMkLst>
            <pc:docMk/>
            <pc:sldMk cId="2698391475" sldId="295"/>
            <ac:picMk id="5" creationId="{0DA7143A-B512-4896-B252-D694D4B5985F}"/>
          </ac:picMkLst>
        </pc:picChg>
      </pc:sldChg>
      <pc:sldChg chg="addSp delSp modSp add mod modTransition modClrScheme chgLayout">
        <pc:chgData name="Andreas" userId="9d9beba6-c052-407a-8599-c781a677a996" providerId="ADAL" clId="{1B7CF67B-5515-4C9F-825D-072B1C4F5900}" dt="2021-11-18T08:38:59.203" v="525" actId="1076"/>
        <pc:sldMkLst>
          <pc:docMk/>
          <pc:sldMk cId="558428443" sldId="296"/>
        </pc:sldMkLst>
        <pc:spChg chg="add del mod">
          <ac:chgData name="Andreas" userId="9d9beba6-c052-407a-8599-c781a677a996" providerId="ADAL" clId="{1B7CF67B-5515-4C9F-825D-072B1C4F5900}" dt="2021-11-18T08:38:48.532" v="523" actId="478"/>
          <ac:spMkLst>
            <pc:docMk/>
            <pc:sldMk cId="558428443" sldId="296"/>
            <ac:spMk id="106" creationId="{DB09F2F1-F292-4D70-A23A-E211A3E62F91}"/>
          </ac:spMkLst>
        </pc:spChg>
        <pc:spChg chg="add mod">
          <ac:chgData name="Andreas" userId="9d9beba6-c052-407a-8599-c781a677a996" providerId="ADAL" clId="{1B7CF67B-5515-4C9F-825D-072B1C4F5900}" dt="2021-11-18T08:38:40.511" v="520" actId="26606"/>
          <ac:spMkLst>
            <pc:docMk/>
            <pc:sldMk cId="558428443" sldId="296"/>
            <ac:spMk id="108" creationId="{42A747BA-8C64-4CC6-929F-1BEA72C8D06B}"/>
          </ac:spMkLst>
        </pc:spChg>
        <pc:spChg chg="add mod">
          <ac:chgData name="Andreas" userId="9d9beba6-c052-407a-8599-c781a677a996" providerId="ADAL" clId="{1B7CF67B-5515-4C9F-825D-072B1C4F5900}" dt="2021-11-18T08:38:40.511" v="520" actId="26606"/>
          <ac:spMkLst>
            <pc:docMk/>
            <pc:sldMk cId="558428443" sldId="296"/>
            <ac:spMk id="110" creationId="{128A59A0-321C-42B5-B836-42A1DEAFA06D}"/>
          </ac:spMkLst>
        </pc:spChg>
        <pc:spChg chg="mod">
          <ac:chgData name="Andreas" userId="9d9beba6-c052-407a-8599-c781a677a996" providerId="ADAL" clId="{1B7CF67B-5515-4C9F-825D-072B1C4F5900}" dt="2021-11-18T08:38:45.994" v="522" actId="14100"/>
          <ac:spMkLst>
            <pc:docMk/>
            <pc:sldMk cId="558428443" sldId="296"/>
            <ac:spMk id="165" creationId="{00000000-0000-0000-0000-000000000000}"/>
          </ac:spMkLst>
        </pc:spChg>
        <pc:picChg chg="mod">
          <ac:chgData name="Andreas" userId="9d9beba6-c052-407a-8599-c781a677a996" providerId="ADAL" clId="{1B7CF67B-5515-4C9F-825D-072B1C4F5900}" dt="2021-11-18T08:38:59.203" v="525" actId="1076"/>
          <ac:picMkLst>
            <pc:docMk/>
            <pc:sldMk cId="558428443" sldId="296"/>
            <ac:picMk id="5" creationId="{A2AF053D-A6F4-494E-BDDC-36FD3B804627}"/>
          </ac:picMkLst>
        </pc:picChg>
      </pc:sldChg>
      <pc:sldChg chg="addSp delSp modSp add mod modTransition modClrScheme chgLayout">
        <pc:chgData name="Andreas" userId="9d9beba6-c052-407a-8599-c781a677a996" providerId="ADAL" clId="{1B7CF67B-5515-4C9F-825D-072B1C4F5900}" dt="2021-11-18T08:39:24.943" v="530" actId="1076"/>
        <pc:sldMkLst>
          <pc:docMk/>
          <pc:sldMk cId="76177616" sldId="297"/>
        </pc:sldMkLst>
        <pc:spChg chg="mod">
          <ac:chgData name="Andreas" userId="9d9beba6-c052-407a-8599-c781a677a996" providerId="ADAL" clId="{1B7CF67B-5515-4C9F-825D-072B1C4F5900}" dt="2021-11-18T08:39:13.970" v="528" actId="26606"/>
          <ac:spMkLst>
            <pc:docMk/>
            <pc:sldMk cId="76177616" sldId="297"/>
            <ac:spMk id="2" creationId="{464F4D2C-0CC4-4337-BB75-E08140A62DDC}"/>
          </ac:spMkLst>
        </pc:spChg>
        <pc:spChg chg="add del mod">
          <ac:chgData name="Andreas" userId="9d9beba6-c052-407a-8599-c781a677a996" providerId="ADAL" clId="{1B7CF67B-5515-4C9F-825D-072B1C4F5900}" dt="2021-11-18T08:39:13.964" v="527" actId="26606"/>
          <ac:spMkLst>
            <pc:docMk/>
            <pc:sldMk cId="76177616" sldId="297"/>
            <ac:spMk id="106" creationId="{FCDE3E1F-17CA-4EFF-A60C-FDAB5FCAC811}"/>
          </ac:spMkLst>
        </pc:spChg>
        <pc:spChg chg="add del mod">
          <ac:chgData name="Andreas" userId="9d9beba6-c052-407a-8599-c781a677a996" providerId="ADAL" clId="{1B7CF67B-5515-4C9F-825D-072B1C4F5900}" dt="2021-11-18T08:39:13.964" v="527" actId="26606"/>
          <ac:spMkLst>
            <pc:docMk/>
            <pc:sldMk cId="76177616" sldId="297"/>
            <ac:spMk id="108" creationId="{C5E5C6C5-A8F5-4258-9968-D66F4140FA17}"/>
          </ac:spMkLst>
        </pc:spChg>
        <pc:spChg chg="add del mod">
          <ac:chgData name="Andreas" userId="9d9beba6-c052-407a-8599-c781a677a996" providerId="ADAL" clId="{1B7CF67B-5515-4C9F-825D-072B1C4F5900}" dt="2021-11-18T08:39:13.964" v="527" actId="26606"/>
          <ac:spMkLst>
            <pc:docMk/>
            <pc:sldMk cId="76177616" sldId="297"/>
            <ac:spMk id="110" creationId="{92BBFE0A-AB75-4992-917B-168ED8388A48}"/>
          </ac:spMkLst>
        </pc:spChg>
        <pc:spChg chg="mod">
          <ac:chgData name="Andreas" userId="9d9beba6-c052-407a-8599-c781a677a996" providerId="ADAL" clId="{1B7CF67B-5515-4C9F-825D-072B1C4F5900}" dt="2021-11-18T08:39:24.943" v="530" actId="1076"/>
          <ac:spMkLst>
            <pc:docMk/>
            <pc:sldMk cId="76177616" sldId="297"/>
            <ac:spMk id="165" creationId="{00000000-0000-0000-0000-000000000000}"/>
          </ac:spMkLst>
        </pc:spChg>
        <pc:spChg chg="add mod">
          <ac:chgData name="Andreas" userId="9d9beba6-c052-407a-8599-c781a677a996" providerId="ADAL" clId="{1B7CF67B-5515-4C9F-825D-072B1C4F5900}" dt="2021-11-18T08:39:13.970" v="528" actId="26606"/>
          <ac:spMkLst>
            <pc:docMk/>
            <pc:sldMk cId="76177616" sldId="297"/>
            <ac:spMk id="167" creationId="{016014A3-7775-44D3-9029-F63AC0BDA62C}"/>
          </ac:spMkLst>
        </pc:spChg>
        <pc:spChg chg="add mod">
          <ac:chgData name="Andreas" userId="9d9beba6-c052-407a-8599-c781a677a996" providerId="ADAL" clId="{1B7CF67B-5515-4C9F-825D-072B1C4F5900}" dt="2021-11-18T08:39:13.970" v="528" actId="26606"/>
          <ac:spMkLst>
            <pc:docMk/>
            <pc:sldMk cId="76177616" sldId="297"/>
            <ac:spMk id="168" creationId="{5E22C851-487F-44B8-B88B-01FADD370D56}"/>
          </ac:spMkLst>
        </pc:spChg>
      </pc:sldChg>
      <pc:sldChg chg="addSp modSp add mod modTransition modClrScheme chgLayout">
        <pc:chgData name="Andreas" userId="9d9beba6-c052-407a-8599-c781a677a996" providerId="ADAL" clId="{1B7CF67B-5515-4C9F-825D-072B1C4F5900}" dt="2021-11-18T08:39:37.480" v="531" actId="26606"/>
        <pc:sldMkLst>
          <pc:docMk/>
          <pc:sldMk cId="312594172" sldId="298"/>
        </pc:sldMkLst>
        <pc:spChg chg="add mod">
          <ac:chgData name="Andreas" userId="9d9beba6-c052-407a-8599-c781a677a996" providerId="ADAL" clId="{1B7CF67B-5515-4C9F-825D-072B1C4F5900}" dt="2021-11-18T08:39:37.480" v="531" actId="26606"/>
          <ac:spMkLst>
            <pc:docMk/>
            <pc:sldMk cId="312594172" sldId="298"/>
            <ac:spMk id="106" creationId="{A52A6686-F3B6-43A8-8A83-C9DB6FDD692A}"/>
          </ac:spMkLst>
        </pc:spChg>
        <pc:spChg chg="add mod">
          <ac:chgData name="Andreas" userId="9d9beba6-c052-407a-8599-c781a677a996" providerId="ADAL" clId="{1B7CF67B-5515-4C9F-825D-072B1C4F5900}" dt="2021-11-18T08:39:37.480" v="531" actId="26606"/>
          <ac:spMkLst>
            <pc:docMk/>
            <pc:sldMk cId="312594172" sldId="298"/>
            <ac:spMk id="108" creationId="{9B72D1A6-E9B6-4149-B7BB-F2E0C70D036B}"/>
          </ac:spMkLst>
        </pc:spChg>
        <pc:spChg chg="add mod">
          <ac:chgData name="Andreas" userId="9d9beba6-c052-407a-8599-c781a677a996" providerId="ADAL" clId="{1B7CF67B-5515-4C9F-825D-072B1C4F5900}" dt="2021-11-18T08:39:37.480" v="531" actId="26606"/>
          <ac:spMkLst>
            <pc:docMk/>
            <pc:sldMk cId="312594172" sldId="298"/>
            <ac:spMk id="110" creationId="{BB1FC1CC-4E80-42D4-B761-F0A1F3C8516D}"/>
          </ac:spMkLst>
        </pc:spChg>
        <pc:spChg chg="mod ord">
          <ac:chgData name="Andreas" userId="9d9beba6-c052-407a-8599-c781a677a996" providerId="ADAL" clId="{1B7CF67B-5515-4C9F-825D-072B1C4F5900}" dt="2021-11-18T08:39:37.480" v="531" actId="26606"/>
          <ac:spMkLst>
            <pc:docMk/>
            <pc:sldMk cId="312594172" sldId="298"/>
            <ac:spMk id="165" creationId="{00000000-0000-0000-0000-000000000000}"/>
          </ac:spMkLst>
        </pc:spChg>
        <pc:picChg chg="mod">
          <ac:chgData name="Andreas" userId="9d9beba6-c052-407a-8599-c781a677a996" providerId="ADAL" clId="{1B7CF67B-5515-4C9F-825D-072B1C4F5900}" dt="2021-11-18T08:39:37.480" v="531" actId="26606"/>
          <ac:picMkLst>
            <pc:docMk/>
            <pc:sldMk cId="312594172" sldId="298"/>
            <ac:picMk id="4" creationId="{532BD7C3-96D2-46C2-8C19-56B67C9FB73C}"/>
          </ac:picMkLst>
        </pc:picChg>
      </pc:sldChg>
      <pc:sldChg chg="addSp delSp modSp add mod modTransition modClrScheme chgLayout">
        <pc:chgData name="Andreas" userId="9d9beba6-c052-407a-8599-c781a677a996" providerId="ADAL" clId="{1B7CF67B-5515-4C9F-825D-072B1C4F5900}" dt="2021-11-18T08:44:38.951" v="626" actId="20577"/>
        <pc:sldMkLst>
          <pc:docMk/>
          <pc:sldMk cId="2755240579" sldId="299"/>
        </pc:sldMkLst>
        <pc:spChg chg="add mod">
          <ac:chgData name="Andreas" userId="9d9beba6-c052-407a-8599-c781a677a996" providerId="ADAL" clId="{1B7CF67B-5515-4C9F-825D-072B1C4F5900}" dt="2021-11-18T08:40:37.177" v="532" actId="26606"/>
          <ac:spMkLst>
            <pc:docMk/>
            <pc:sldMk cId="2755240579" sldId="299"/>
            <ac:spMk id="108" creationId="{2FF30981-716C-4563-B802-1A812DB72CD7}"/>
          </ac:spMkLst>
        </pc:spChg>
        <pc:spChg chg="add mod">
          <ac:chgData name="Andreas" userId="9d9beba6-c052-407a-8599-c781a677a996" providerId="ADAL" clId="{1B7CF67B-5515-4C9F-825D-072B1C4F5900}" dt="2021-11-18T08:40:37.177" v="532" actId="26606"/>
          <ac:spMkLst>
            <pc:docMk/>
            <pc:sldMk cId="2755240579" sldId="299"/>
            <ac:spMk id="110" creationId="{06E01F99-F124-4D92-A774-EC2E88327BA1}"/>
          </ac:spMkLst>
        </pc:spChg>
        <pc:spChg chg="add mod">
          <ac:chgData name="Andreas" userId="9d9beba6-c052-407a-8599-c781a677a996" providerId="ADAL" clId="{1B7CF67B-5515-4C9F-825D-072B1C4F5900}" dt="2021-11-18T08:40:37.177" v="532" actId="26606"/>
          <ac:spMkLst>
            <pc:docMk/>
            <pc:sldMk cId="2755240579" sldId="299"/>
            <ac:spMk id="112" creationId="{397B6495-7242-4B4D-B45F-30E87E60EEF0}"/>
          </ac:spMkLst>
        </pc:spChg>
        <pc:spChg chg="mod">
          <ac:chgData name="Andreas" userId="9d9beba6-c052-407a-8599-c781a677a996" providerId="ADAL" clId="{1B7CF67B-5515-4C9F-825D-072B1C4F5900}" dt="2021-11-18T08:40:37.177" v="532" actId="26606"/>
          <ac:spMkLst>
            <pc:docMk/>
            <pc:sldMk cId="2755240579" sldId="299"/>
            <ac:spMk id="165" creationId="{00000000-0000-0000-0000-000000000000}"/>
          </ac:spMkLst>
        </pc:spChg>
        <pc:spChg chg="del">
          <ac:chgData name="Andreas" userId="9d9beba6-c052-407a-8599-c781a677a996" providerId="ADAL" clId="{1B7CF67B-5515-4C9F-825D-072B1C4F5900}" dt="2021-11-18T08:40:37.177" v="532" actId="26606"/>
          <ac:spMkLst>
            <pc:docMk/>
            <pc:sldMk cId="2755240579" sldId="299"/>
            <ac:spMk id="166" creationId="{00000000-0000-0000-0000-000000000000}"/>
          </ac:spMkLst>
        </pc:spChg>
        <pc:graphicFrameChg chg="add mod">
          <ac:chgData name="Andreas" userId="9d9beba6-c052-407a-8599-c781a677a996" providerId="ADAL" clId="{1B7CF67B-5515-4C9F-825D-072B1C4F5900}" dt="2021-11-18T08:44:38.951" v="626" actId="20577"/>
          <ac:graphicFrameMkLst>
            <pc:docMk/>
            <pc:sldMk cId="2755240579" sldId="299"/>
            <ac:graphicFrameMk id="168" creationId="{B18678BA-0CD1-4C20-84BB-558584C47129}"/>
          </ac:graphicFrameMkLst>
        </pc:graphicFrameChg>
      </pc:sldChg>
      <pc:sldChg chg="addSp modSp add mod modTransition chgLayout">
        <pc:chgData name="Andreas" userId="9d9beba6-c052-407a-8599-c781a677a996" providerId="ADAL" clId="{1B7CF67B-5515-4C9F-825D-072B1C4F5900}" dt="2021-11-18T08:59:52.242" v="835" actId="14100"/>
        <pc:sldMkLst>
          <pc:docMk/>
          <pc:sldMk cId="3134029436" sldId="300"/>
        </pc:sldMkLst>
        <pc:spChg chg="mod">
          <ac:chgData name="Andreas" userId="9d9beba6-c052-407a-8599-c781a677a996" providerId="ADAL" clId="{1B7CF67B-5515-4C9F-825D-072B1C4F5900}" dt="2021-11-18T08:59:52.242" v="835" actId="14100"/>
          <ac:spMkLst>
            <pc:docMk/>
            <pc:sldMk cId="3134029436" sldId="300"/>
            <ac:spMk id="185" creationId="{00000000-0000-0000-0000-000000000000}"/>
          </ac:spMkLst>
        </pc:spChg>
        <pc:spChg chg="mod">
          <ac:chgData name="Andreas" userId="9d9beba6-c052-407a-8599-c781a677a996" providerId="ADAL" clId="{1B7CF67B-5515-4C9F-825D-072B1C4F5900}" dt="2021-11-18T08:59:47.624" v="834" actId="26606"/>
          <ac:spMkLst>
            <pc:docMk/>
            <pc:sldMk cId="3134029436" sldId="300"/>
            <ac:spMk id="186" creationId="{00000000-0000-0000-0000-000000000000}"/>
          </ac:spMkLst>
        </pc:spChg>
        <pc:spChg chg="add mod">
          <ac:chgData name="Andreas" userId="9d9beba6-c052-407a-8599-c781a677a996" providerId="ADAL" clId="{1B7CF67B-5515-4C9F-825D-072B1C4F5900}" dt="2021-11-18T08:59:47.624" v="834" actId="26606"/>
          <ac:spMkLst>
            <pc:docMk/>
            <pc:sldMk cId="3134029436" sldId="300"/>
            <ac:spMk id="193" creationId="{DE063324-224A-4A92-A2B7-3101AB826E37}"/>
          </ac:spMkLst>
        </pc:spChg>
        <pc:spChg chg="add mod">
          <ac:chgData name="Andreas" userId="9d9beba6-c052-407a-8599-c781a677a996" providerId="ADAL" clId="{1B7CF67B-5515-4C9F-825D-072B1C4F5900}" dt="2021-11-18T08:59:47.624" v="834" actId="26606"/>
          <ac:spMkLst>
            <pc:docMk/>
            <pc:sldMk cId="3134029436" sldId="300"/>
            <ac:spMk id="195" creationId="{8F203D3E-3FF9-4760-8DBF-95570396CD78}"/>
          </ac:spMkLst>
        </pc:spChg>
        <pc:picChg chg="mod ord">
          <ac:chgData name="Andreas" userId="9d9beba6-c052-407a-8599-c781a677a996" providerId="ADAL" clId="{1B7CF67B-5515-4C9F-825D-072B1C4F5900}" dt="2021-11-18T08:59:47.624" v="834" actId="26606"/>
          <ac:picMkLst>
            <pc:docMk/>
            <pc:sldMk cId="3134029436" sldId="300"/>
            <ac:picMk id="188" creationId="{00000000-0000-0000-0000-000000000000}"/>
          </ac:picMkLst>
        </pc:picChg>
      </pc:sldChg>
      <pc:sldChg chg="addSp modSp add del mod modTransition chgLayout">
        <pc:chgData name="Andreas" userId="9d9beba6-c052-407a-8599-c781a677a996" providerId="ADAL" clId="{1B7CF67B-5515-4C9F-825D-072B1C4F5900}" dt="2021-11-18T09:00:34.070" v="841" actId="47"/>
        <pc:sldMkLst>
          <pc:docMk/>
          <pc:sldMk cId="2830768665" sldId="301"/>
        </pc:sldMkLst>
        <pc:spChg chg="mod">
          <ac:chgData name="Andreas" userId="9d9beba6-c052-407a-8599-c781a677a996" providerId="ADAL" clId="{1B7CF67B-5515-4C9F-825D-072B1C4F5900}" dt="2021-11-18T08:48:46.208" v="735" actId="26606"/>
          <ac:spMkLst>
            <pc:docMk/>
            <pc:sldMk cId="2830768665" sldId="301"/>
            <ac:spMk id="185" creationId="{00000000-0000-0000-0000-000000000000}"/>
          </ac:spMkLst>
        </pc:spChg>
        <pc:spChg chg="mod">
          <ac:chgData name="Andreas" userId="9d9beba6-c052-407a-8599-c781a677a996" providerId="ADAL" clId="{1B7CF67B-5515-4C9F-825D-072B1C4F5900}" dt="2021-11-18T08:48:46.208" v="735" actId="26606"/>
          <ac:spMkLst>
            <pc:docMk/>
            <pc:sldMk cId="2830768665" sldId="301"/>
            <ac:spMk id="186" creationId="{00000000-0000-0000-0000-000000000000}"/>
          </ac:spMkLst>
        </pc:spChg>
        <pc:spChg chg="add mod">
          <ac:chgData name="Andreas" userId="9d9beba6-c052-407a-8599-c781a677a996" providerId="ADAL" clId="{1B7CF67B-5515-4C9F-825D-072B1C4F5900}" dt="2021-11-18T08:48:46.208" v="735" actId="26606"/>
          <ac:spMkLst>
            <pc:docMk/>
            <pc:sldMk cId="2830768665" sldId="301"/>
            <ac:spMk id="193" creationId="{27F30182-FE07-46A0-B975-AA83D637BA8C}"/>
          </ac:spMkLst>
        </pc:spChg>
        <pc:spChg chg="add mod">
          <ac:chgData name="Andreas" userId="9d9beba6-c052-407a-8599-c781a677a996" providerId="ADAL" clId="{1B7CF67B-5515-4C9F-825D-072B1C4F5900}" dt="2021-11-18T08:48:46.208" v="735" actId="26606"/>
          <ac:spMkLst>
            <pc:docMk/>
            <pc:sldMk cId="2830768665" sldId="301"/>
            <ac:spMk id="195" creationId="{83E3FD17-39DE-4946-8B62-4A4A06906652}"/>
          </ac:spMkLst>
        </pc:spChg>
        <pc:picChg chg="mod ord">
          <ac:chgData name="Andreas" userId="9d9beba6-c052-407a-8599-c781a677a996" providerId="ADAL" clId="{1B7CF67B-5515-4C9F-825D-072B1C4F5900}" dt="2021-11-18T08:48:46.208" v="735" actId="26606"/>
          <ac:picMkLst>
            <pc:docMk/>
            <pc:sldMk cId="2830768665" sldId="301"/>
            <ac:picMk id="188" creationId="{00000000-0000-0000-0000-000000000000}"/>
          </ac:picMkLst>
        </pc:picChg>
      </pc:sldChg>
      <pc:sldChg chg="addSp modSp add mod modTransition chgLayout">
        <pc:chgData name="Andreas" userId="9d9beba6-c052-407a-8599-c781a677a996" providerId="ADAL" clId="{1B7CF67B-5515-4C9F-825D-072B1C4F5900}" dt="2021-11-18T08:48:35.446" v="734" actId="26606"/>
        <pc:sldMkLst>
          <pc:docMk/>
          <pc:sldMk cId="1764870061" sldId="302"/>
        </pc:sldMkLst>
        <pc:spChg chg="mod">
          <ac:chgData name="Andreas" userId="9d9beba6-c052-407a-8599-c781a677a996" providerId="ADAL" clId="{1B7CF67B-5515-4C9F-825D-072B1C4F5900}" dt="2021-11-18T08:48:35.446" v="734" actId="26606"/>
          <ac:spMkLst>
            <pc:docMk/>
            <pc:sldMk cId="1764870061" sldId="302"/>
            <ac:spMk id="185" creationId="{00000000-0000-0000-0000-000000000000}"/>
          </ac:spMkLst>
        </pc:spChg>
        <pc:spChg chg="mod">
          <ac:chgData name="Andreas" userId="9d9beba6-c052-407a-8599-c781a677a996" providerId="ADAL" clId="{1B7CF67B-5515-4C9F-825D-072B1C4F5900}" dt="2021-11-18T08:48:35.446" v="734" actId="26606"/>
          <ac:spMkLst>
            <pc:docMk/>
            <pc:sldMk cId="1764870061" sldId="302"/>
            <ac:spMk id="186" creationId="{00000000-0000-0000-0000-000000000000}"/>
          </ac:spMkLst>
        </pc:spChg>
        <pc:spChg chg="add mod">
          <ac:chgData name="Andreas" userId="9d9beba6-c052-407a-8599-c781a677a996" providerId="ADAL" clId="{1B7CF67B-5515-4C9F-825D-072B1C4F5900}" dt="2021-11-18T08:48:35.446" v="734" actId="26606"/>
          <ac:spMkLst>
            <pc:docMk/>
            <pc:sldMk cId="1764870061" sldId="302"/>
            <ac:spMk id="193" creationId="{989A130E-1AC6-451F-9083-96A2C4618E5A}"/>
          </ac:spMkLst>
        </pc:spChg>
        <pc:spChg chg="add mod">
          <ac:chgData name="Andreas" userId="9d9beba6-c052-407a-8599-c781a677a996" providerId="ADAL" clId="{1B7CF67B-5515-4C9F-825D-072B1C4F5900}" dt="2021-11-18T08:48:35.446" v="734" actId="26606"/>
          <ac:spMkLst>
            <pc:docMk/>
            <pc:sldMk cId="1764870061" sldId="302"/>
            <ac:spMk id="195" creationId="{0E0C588F-17B2-4EE8-9D4D-012AD40A8831}"/>
          </ac:spMkLst>
        </pc:spChg>
        <pc:picChg chg="mod ord">
          <ac:chgData name="Andreas" userId="9d9beba6-c052-407a-8599-c781a677a996" providerId="ADAL" clId="{1B7CF67B-5515-4C9F-825D-072B1C4F5900}" dt="2021-11-18T08:48:35.446" v="734" actId="26606"/>
          <ac:picMkLst>
            <pc:docMk/>
            <pc:sldMk cId="1764870061" sldId="302"/>
            <ac:picMk id="188" creationId="{00000000-0000-0000-0000-000000000000}"/>
          </ac:picMkLst>
        </pc:picChg>
      </pc:sldChg>
      <pc:sldChg chg="addSp modSp add mod modTransition chgLayout">
        <pc:chgData name="Andreas" userId="9d9beba6-c052-407a-8599-c781a677a996" providerId="ADAL" clId="{1B7CF67B-5515-4C9F-825D-072B1C4F5900}" dt="2021-11-18T09:01:24.847" v="851" actId="166"/>
        <pc:sldMkLst>
          <pc:docMk/>
          <pc:sldMk cId="1114236349" sldId="303"/>
        </pc:sldMkLst>
        <pc:spChg chg="mod ord">
          <ac:chgData name="Andreas" userId="9d9beba6-c052-407a-8599-c781a677a996" providerId="ADAL" clId="{1B7CF67B-5515-4C9F-825D-072B1C4F5900}" dt="2021-11-18T09:01:12.474" v="849" actId="166"/>
          <ac:spMkLst>
            <pc:docMk/>
            <pc:sldMk cId="1114236349" sldId="303"/>
            <ac:spMk id="185" creationId="{00000000-0000-0000-0000-000000000000}"/>
          </ac:spMkLst>
        </pc:spChg>
        <pc:spChg chg="mod ord">
          <ac:chgData name="Andreas" userId="9d9beba6-c052-407a-8599-c781a677a996" providerId="ADAL" clId="{1B7CF67B-5515-4C9F-825D-072B1C4F5900}" dt="2021-11-18T09:01:24.847" v="851" actId="166"/>
          <ac:spMkLst>
            <pc:docMk/>
            <pc:sldMk cId="1114236349" sldId="303"/>
            <ac:spMk id="186" creationId="{00000000-0000-0000-0000-000000000000}"/>
          </ac:spMkLst>
        </pc:spChg>
        <pc:spChg chg="add mod">
          <ac:chgData name="Andreas" userId="9d9beba6-c052-407a-8599-c781a677a996" providerId="ADAL" clId="{1B7CF67B-5515-4C9F-825D-072B1C4F5900}" dt="2021-11-18T09:01:05.712" v="847" actId="26606"/>
          <ac:spMkLst>
            <pc:docMk/>
            <pc:sldMk cId="1114236349" sldId="303"/>
            <ac:spMk id="193" creationId="{B19B3B57-0683-43B1-A93E-8AA536CFCDC7}"/>
          </ac:spMkLst>
        </pc:spChg>
        <pc:spChg chg="add mod">
          <ac:chgData name="Andreas" userId="9d9beba6-c052-407a-8599-c781a677a996" providerId="ADAL" clId="{1B7CF67B-5515-4C9F-825D-072B1C4F5900}" dt="2021-11-18T09:01:05.712" v="847" actId="26606"/>
          <ac:spMkLst>
            <pc:docMk/>
            <pc:sldMk cId="1114236349" sldId="303"/>
            <ac:spMk id="195" creationId="{92AB2069-F8FE-43D1-9450-94142EAF5324}"/>
          </ac:spMkLst>
        </pc:spChg>
        <pc:picChg chg="mod ord">
          <ac:chgData name="Andreas" userId="9d9beba6-c052-407a-8599-c781a677a996" providerId="ADAL" clId="{1B7CF67B-5515-4C9F-825D-072B1C4F5900}" dt="2021-11-18T09:01:05.712" v="847" actId="26606"/>
          <ac:picMkLst>
            <pc:docMk/>
            <pc:sldMk cId="1114236349" sldId="303"/>
            <ac:picMk id="188" creationId="{00000000-0000-0000-0000-000000000000}"/>
          </ac:picMkLst>
        </pc:picChg>
      </pc:sldChg>
      <pc:sldChg chg="addSp delSp modSp add mod modTransition chgLayout">
        <pc:chgData name="Andreas" userId="9d9beba6-c052-407a-8599-c781a677a996" providerId="ADAL" clId="{1B7CF67B-5515-4C9F-825D-072B1C4F5900}" dt="2021-11-18T09:01:39.956" v="854" actId="14100"/>
        <pc:sldMkLst>
          <pc:docMk/>
          <pc:sldMk cId="2366142093" sldId="304"/>
        </pc:sldMkLst>
        <pc:spChg chg="add mod">
          <ac:chgData name="Andreas" userId="9d9beba6-c052-407a-8599-c781a677a996" providerId="ADAL" clId="{1B7CF67B-5515-4C9F-825D-072B1C4F5900}" dt="2021-11-18T09:01:31.058" v="852" actId="26606"/>
          <ac:spMkLst>
            <pc:docMk/>
            <pc:sldMk cId="2366142093" sldId="304"/>
            <ac:spMk id="122" creationId="{55798886-0EBF-48AD-947C-67B70AC4DF13}"/>
          </ac:spMkLst>
        </pc:spChg>
        <pc:spChg chg="add mod">
          <ac:chgData name="Andreas" userId="9d9beba6-c052-407a-8599-c781a677a996" providerId="ADAL" clId="{1B7CF67B-5515-4C9F-825D-072B1C4F5900}" dt="2021-11-18T09:01:31.058" v="852" actId="26606"/>
          <ac:spMkLst>
            <pc:docMk/>
            <pc:sldMk cId="2366142093" sldId="304"/>
            <ac:spMk id="124" creationId="{D87A26C8-F3F7-4F51-BE71-B0EB7CA3CE01}"/>
          </ac:spMkLst>
        </pc:spChg>
        <pc:spChg chg="mod ord">
          <ac:chgData name="Andreas" userId="9d9beba6-c052-407a-8599-c781a677a996" providerId="ADAL" clId="{1B7CF67B-5515-4C9F-825D-072B1C4F5900}" dt="2021-11-18T09:01:33.939" v="853" actId="14100"/>
          <ac:spMkLst>
            <pc:docMk/>
            <pc:sldMk cId="2366142093" sldId="304"/>
            <ac:spMk id="180" creationId="{00000000-0000-0000-0000-000000000000}"/>
          </ac:spMkLst>
        </pc:spChg>
        <pc:spChg chg="mod">
          <ac:chgData name="Andreas" userId="9d9beba6-c052-407a-8599-c781a677a996" providerId="ADAL" clId="{1B7CF67B-5515-4C9F-825D-072B1C4F5900}" dt="2021-11-18T09:01:31.058" v="852" actId="26606"/>
          <ac:spMkLst>
            <pc:docMk/>
            <pc:sldMk cId="2366142093" sldId="304"/>
            <ac:spMk id="181" creationId="{00000000-0000-0000-0000-000000000000}"/>
          </ac:spMkLst>
        </pc:spChg>
        <pc:spChg chg="add del mod">
          <ac:chgData name="Andreas" userId="9d9beba6-c052-407a-8599-c781a677a996" providerId="ADAL" clId="{1B7CF67B-5515-4C9F-825D-072B1C4F5900}" dt="2021-11-18T08:49:34.777" v="740" actId="26606"/>
          <ac:spMkLst>
            <pc:docMk/>
            <pc:sldMk cId="2366142093" sldId="304"/>
            <ac:spMk id="186" creationId="{4C4CADEB-20D8-4CD7-BC2C-B0BCB91553A4}"/>
          </ac:spMkLst>
        </pc:spChg>
        <pc:picChg chg="mod ord">
          <ac:chgData name="Andreas" userId="9d9beba6-c052-407a-8599-c781a677a996" providerId="ADAL" clId="{1B7CF67B-5515-4C9F-825D-072B1C4F5900}" dt="2021-11-18T09:01:39.956" v="854" actId="14100"/>
          <ac:picMkLst>
            <pc:docMk/>
            <pc:sldMk cId="2366142093" sldId="304"/>
            <ac:picMk id="7" creationId="{C84352A4-AB28-4476-8C99-36C151B2E1AB}"/>
          </ac:picMkLst>
        </pc:picChg>
      </pc:sldChg>
      <pc:sldChg chg="addSp modSp add mod modTransition modClrScheme chgLayout">
        <pc:chgData name="Andreas" userId="9d9beba6-c052-407a-8599-c781a677a996" providerId="ADAL" clId="{1B7CF67B-5515-4C9F-825D-072B1C4F5900}" dt="2021-11-18T08:50:03.201" v="745" actId="26606"/>
        <pc:sldMkLst>
          <pc:docMk/>
          <pc:sldMk cId="2056271996" sldId="305"/>
        </pc:sldMkLst>
        <pc:spChg chg="add mod">
          <ac:chgData name="Andreas" userId="9d9beba6-c052-407a-8599-c781a677a996" providerId="ADAL" clId="{1B7CF67B-5515-4C9F-825D-072B1C4F5900}" dt="2021-11-18T08:50:03.201" v="745" actId="26606"/>
          <ac:spMkLst>
            <pc:docMk/>
            <pc:sldMk cId="2056271996" sldId="305"/>
            <ac:spMk id="122" creationId="{CF6C30DC-0D74-468A-83D8-63EAEBDB154D}"/>
          </ac:spMkLst>
        </pc:spChg>
        <pc:spChg chg="add mod">
          <ac:chgData name="Andreas" userId="9d9beba6-c052-407a-8599-c781a677a996" providerId="ADAL" clId="{1B7CF67B-5515-4C9F-825D-072B1C4F5900}" dt="2021-11-18T08:50:03.201" v="745" actId="26606"/>
          <ac:spMkLst>
            <pc:docMk/>
            <pc:sldMk cId="2056271996" sldId="305"/>
            <ac:spMk id="124" creationId="{00C78FFF-C93B-497A-BA9B-DC70EDB4B49C}"/>
          </ac:spMkLst>
        </pc:spChg>
        <pc:spChg chg="add mod">
          <ac:chgData name="Andreas" userId="9d9beba6-c052-407a-8599-c781a677a996" providerId="ADAL" clId="{1B7CF67B-5515-4C9F-825D-072B1C4F5900}" dt="2021-11-18T08:50:03.201" v="745" actId="26606"/>
          <ac:spMkLst>
            <pc:docMk/>
            <pc:sldMk cId="2056271996" sldId="305"/>
            <ac:spMk id="126" creationId="{4F2B3C5D-A69A-490B-998F-3234750495F2}"/>
          </ac:spMkLst>
        </pc:spChg>
        <pc:spChg chg="mod ord">
          <ac:chgData name="Andreas" userId="9d9beba6-c052-407a-8599-c781a677a996" providerId="ADAL" clId="{1B7CF67B-5515-4C9F-825D-072B1C4F5900}" dt="2021-11-18T08:50:03.201" v="745" actId="26606"/>
          <ac:spMkLst>
            <pc:docMk/>
            <pc:sldMk cId="2056271996" sldId="305"/>
            <ac:spMk id="180" creationId="{00000000-0000-0000-0000-000000000000}"/>
          </ac:spMkLst>
        </pc:spChg>
        <pc:spChg chg="mod">
          <ac:chgData name="Andreas" userId="9d9beba6-c052-407a-8599-c781a677a996" providerId="ADAL" clId="{1B7CF67B-5515-4C9F-825D-072B1C4F5900}" dt="2021-11-18T08:50:03.201" v="745" actId="26606"/>
          <ac:spMkLst>
            <pc:docMk/>
            <pc:sldMk cId="2056271996" sldId="305"/>
            <ac:spMk id="181" creationId="{00000000-0000-0000-0000-000000000000}"/>
          </ac:spMkLst>
        </pc:spChg>
      </pc:sldChg>
      <pc:sldChg chg="addSp delSp modSp add mod modTransition modClrScheme chgLayout">
        <pc:chgData name="Andreas" userId="9d9beba6-c052-407a-8599-c781a677a996" providerId="ADAL" clId="{1B7CF67B-5515-4C9F-825D-072B1C4F5900}" dt="2021-11-18T08:50:34.214" v="752" actId="1076"/>
        <pc:sldMkLst>
          <pc:docMk/>
          <pc:sldMk cId="4218830267" sldId="306"/>
        </pc:sldMkLst>
        <pc:spChg chg="add del mod">
          <ac:chgData name="Andreas" userId="9d9beba6-c052-407a-8599-c781a677a996" providerId="ADAL" clId="{1B7CF67B-5515-4C9F-825D-072B1C4F5900}" dt="2021-11-18T08:50:14.251" v="747" actId="478"/>
          <ac:spMkLst>
            <pc:docMk/>
            <pc:sldMk cId="4218830267" sldId="306"/>
            <ac:spMk id="121" creationId="{7422AA7B-0AA2-40BC-824E-966BAFAF2CF4}"/>
          </ac:spMkLst>
        </pc:spChg>
        <pc:spChg chg="add mod">
          <ac:chgData name="Andreas" userId="9d9beba6-c052-407a-8599-c781a677a996" providerId="ADAL" clId="{1B7CF67B-5515-4C9F-825D-072B1C4F5900}" dt="2021-11-18T08:50:11.406" v="746" actId="26606"/>
          <ac:spMkLst>
            <pc:docMk/>
            <pc:sldMk cId="4218830267" sldId="306"/>
            <ac:spMk id="123" creationId="{00AD8E6E-2991-4AC4-AA00-DAF84B7586F1}"/>
          </ac:spMkLst>
        </pc:spChg>
        <pc:spChg chg="add mod">
          <ac:chgData name="Andreas" userId="9d9beba6-c052-407a-8599-c781a677a996" providerId="ADAL" clId="{1B7CF67B-5515-4C9F-825D-072B1C4F5900}" dt="2021-11-18T08:50:11.406" v="746" actId="26606"/>
          <ac:spMkLst>
            <pc:docMk/>
            <pc:sldMk cId="4218830267" sldId="306"/>
            <ac:spMk id="125" creationId="{59280E3C-4397-4C41-A0DE-5756473DB51F}"/>
          </ac:spMkLst>
        </pc:spChg>
        <pc:spChg chg="mod">
          <ac:chgData name="Andreas" userId="9d9beba6-c052-407a-8599-c781a677a996" providerId="ADAL" clId="{1B7CF67B-5515-4C9F-825D-072B1C4F5900}" dt="2021-11-18T08:50:20.761" v="749" actId="14100"/>
          <ac:spMkLst>
            <pc:docMk/>
            <pc:sldMk cId="4218830267" sldId="306"/>
            <ac:spMk id="180" creationId="{00000000-0000-0000-0000-000000000000}"/>
          </ac:spMkLst>
        </pc:spChg>
        <pc:picChg chg="mod">
          <ac:chgData name="Andreas" userId="9d9beba6-c052-407a-8599-c781a677a996" providerId="ADAL" clId="{1B7CF67B-5515-4C9F-825D-072B1C4F5900}" dt="2021-11-18T08:50:34.214" v="752" actId="1076"/>
          <ac:picMkLst>
            <pc:docMk/>
            <pc:sldMk cId="4218830267" sldId="306"/>
            <ac:picMk id="8" creationId="{E9E7E20F-3552-475B-81E3-2BBD3D28CA0B}"/>
          </ac:picMkLst>
        </pc:picChg>
      </pc:sldChg>
      <pc:sldChg chg="addSp modSp add mod modTransition modClrScheme chgLayout">
        <pc:chgData name="Andreas" userId="9d9beba6-c052-407a-8599-c781a677a996" providerId="ADAL" clId="{1B7CF67B-5515-4C9F-825D-072B1C4F5900}" dt="2021-11-18T08:50:39.016" v="753" actId="26606"/>
        <pc:sldMkLst>
          <pc:docMk/>
          <pc:sldMk cId="2598687135" sldId="307"/>
        </pc:sldMkLst>
        <pc:spChg chg="add mod">
          <ac:chgData name="Andreas" userId="9d9beba6-c052-407a-8599-c781a677a996" providerId="ADAL" clId="{1B7CF67B-5515-4C9F-825D-072B1C4F5900}" dt="2021-11-18T08:50:39.016" v="753" actId="26606"/>
          <ac:spMkLst>
            <pc:docMk/>
            <pc:sldMk cId="2598687135" sldId="307"/>
            <ac:spMk id="121" creationId="{A09EC6F3-6194-43E3-9095-1099DE8B88BD}"/>
          </ac:spMkLst>
        </pc:spChg>
        <pc:spChg chg="add mod">
          <ac:chgData name="Andreas" userId="9d9beba6-c052-407a-8599-c781a677a996" providerId="ADAL" clId="{1B7CF67B-5515-4C9F-825D-072B1C4F5900}" dt="2021-11-18T08:50:39.016" v="753" actId="26606"/>
          <ac:spMkLst>
            <pc:docMk/>
            <pc:sldMk cId="2598687135" sldId="307"/>
            <ac:spMk id="123" creationId="{AD7D334A-A231-47F5-BB3C-7DC4234311A2}"/>
          </ac:spMkLst>
        </pc:spChg>
        <pc:spChg chg="add mod">
          <ac:chgData name="Andreas" userId="9d9beba6-c052-407a-8599-c781a677a996" providerId="ADAL" clId="{1B7CF67B-5515-4C9F-825D-072B1C4F5900}" dt="2021-11-18T08:50:39.016" v="753" actId="26606"/>
          <ac:spMkLst>
            <pc:docMk/>
            <pc:sldMk cId="2598687135" sldId="307"/>
            <ac:spMk id="125" creationId="{E4A88F0B-60F7-42EF-BD94-1DCA1BF644B2}"/>
          </ac:spMkLst>
        </pc:spChg>
        <pc:spChg chg="mod ord">
          <ac:chgData name="Andreas" userId="9d9beba6-c052-407a-8599-c781a677a996" providerId="ADAL" clId="{1B7CF67B-5515-4C9F-825D-072B1C4F5900}" dt="2021-11-18T08:50:39.016" v="753" actId="26606"/>
          <ac:spMkLst>
            <pc:docMk/>
            <pc:sldMk cId="2598687135" sldId="307"/>
            <ac:spMk id="180" creationId="{00000000-0000-0000-0000-000000000000}"/>
          </ac:spMkLst>
        </pc:spChg>
        <pc:picChg chg="mod">
          <ac:chgData name="Andreas" userId="9d9beba6-c052-407a-8599-c781a677a996" providerId="ADAL" clId="{1B7CF67B-5515-4C9F-825D-072B1C4F5900}" dt="2021-11-18T08:50:39.016" v="753" actId="26606"/>
          <ac:picMkLst>
            <pc:docMk/>
            <pc:sldMk cId="2598687135" sldId="307"/>
            <ac:picMk id="8" creationId="{BC271D6B-318E-4858-90CD-51DB57CC3208}"/>
          </ac:picMkLst>
        </pc:picChg>
      </pc:sldChg>
      <pc:sldChg chg="addSp modSp add mod modTransition modClrScheme chgLayout">
        <pc:chgData name="Andreas" userId="9d9beba6-c052-407a-8599-c781a677a996" providerId="ADAL" clId="{1B7CF67B-5515-4C9F-825D-072B1C4F5900}" dt="2021-11-18T08:50:48.714" v="754" actId="26606"/>
        <pc:sldMkLst>
          <pc:docMk/>
          <pc:sldMk cId="2356507422" sldId="308"/>
        </pc:sldMkLst>
        <pc:spChg chg="add mod">
          <ac:chgData name="Andreas" userId="9d9beba6-c052-407a-8599-c781a677a996" providerId="ADAL" clId="{1B7CF67B-5515-4C9F-825D-072B1C4F5900}" dt="2021-11-18T08:50:48.714" v="754" actId="26606"/>
          <ac:spMkLst>
            <pc:docMk/>
            <pc:sldMk cId="2356507422" sldId="308"/>
            <ac:spMk id="121" creationId="{DB601132-8A64-4EA7-8411-6277FE51DFE9}"/>
          </ac:spMkLst>
        </pc:spChg>
        <pc:spChg chg="add mod">
          <ac:chgData name="Andreas" userId="9d9beba6-c052-407a-8599-c781a677a996" providerId="ADAL" clId="{1B7CF67B-5515-4C9F-825D-072B1C4F5900}" dt="2021-11-18T08:50:48.714" v="754" actId="26606"/>
          <ac:spMkLst>
            <pc:docMk/>
            <pc:sldMk cId="2356507422" sldId="308"/>
            <ac:spMk id="123" creationId="{C78BD38F-F342-479C-846A-6FEDBF9D435A}"/>
          </ac:spMkLst>
        </pc:spChg>
        <pc:spChg chg="add mod">
          <ac:chgData name="Andreas" userId="9d9beba6-c052-407a-8599-c781a677a996" providerId="ADAL" clId="{1B7CF67B-5515-4C9F-825D-072B1C4F5900}" dt="2021-11-18T08:50:48.714" v="754" actId="26606"/>
          <ac:spMkLst>
            <pc:docMk/>
            <pc:sldMk cId="2356507422" sldId="308"/>
            <ac:spMk id="125" creationId="{14057621-7913-42D1-91CB-752E232C2385}"/>
          </ac:spMkLst>
        </pc:spChg>
        <pc:spChg chg="mod ord">
          <ac:chgData name="Andreas" userId="9d9beba6-c052-407a-8599-c781a677a996" providerId="ADAL" clId="{1B7CF67B-5515-4C9F-825D-072B1C4F5900}" dt="2021-11-18T08:50:48.714" v="754" actId="26606"/>
          <ac:spMkLst>
            <pc:docMk/>
            <pc:sldMk cId="2356507422" sldId="308"/>
            <ac:spMk id="180" creationId="{00000000-0000-0000-0000-000000000000}"/>
          </ac:spMkLst>
        </pc:spChg>
        <pc:picChg chg="mod">
          <ac:chgData name="Andreas" userId="9d9beba6-c052-407a-8599-c781a677a996" providerId="ADAL" clId="{1B7CF67B-5515-4C9F-825D-072B1C4F5900}" dt="2021-11-18T08:50:48.714" v="754" actId="26606"/>
          <ac:picMkLst>
            <pc:docMk/>
            <pc:sldMk cId="2356507422" sldId="308"/>
            <ac:picMk id="8" creationId="{EFB25233-BE7E-4449-B744-AC3117D3B24F}"/>
          </ac:picMkLst>
        </pc:picChg>
      </pc:sldChg>
      <pc:sldChg chg="addSp modSp add mod modTransition modClrScheme chgLayout">
        <pc:chgData name="Andreas" userId="9d9beba6-c052-407a-8599-c781a677a996" providerId="ADAL" clId="{1B7CF67B-5515-4C9F-825D-072B1C4F5900}" dt="2021-11-18T08:50:53.060" v="755" actId="26606"/>
        <pc:sldMkLst>
          <pc:docMk/>
          <pc:sldMk cId="1079619010" sldId="309"/>
        </pc:sldMkLst>
        <pc:spChg chg="add mod">
          <ac:chgData name="Andreas" userId="9d9beba6-c052-407a-8599-c781a677a996" providerId="ADAL" clId="{1B7CF67B-5515-4C9F-825D-072B1C4F5900}" dt="2021-11-18T08:50:53.060" v="755" actId="26606"/>
          <ac:spMkLst>
            <pc:docMk/>
            <pc:sldMk cId="1079619010" sldId="309"/>
            <ac:spMk id="121" creationId="{975BB198-56D3-4C75-9AA8-4058BAE52D98}"/>
          </ac:spMkLst>
        </pc:spChg>
        <pc:spChg chg="add mod">
          <ac:chgData name="Andreas" userId="9d9beba6-c052-407a-8599-c781a677a996" providerId="ADAL" clId="{1B7CF67B-5515-4C9F-825D-072B1C4F5900}" dt="2021-11-18T08:50:53.060" v="755" actId="26606"/>
          <ac:spMkLst>
            <pc:docMk/>
            <pc:sldMk cId="1079619010" sldId="309"/>
            <ac:spMk id="123" creationId="{1EF55593-55E7-4E05-83C1-8126D015C7EB}"/>
          </ac:spMkLst>
        </pc:spChg>
        <pc:spChg chg="add mod">
          <ac:chgData name="Andreas" userId="9d9beba6-c052-407a-8599-c781a677a996" providerId="ADAL" clId="{1B7CF67B-5515-4C9F-825D-072B1C4F5900}" dt="2021-11-18T08:50:53.060" v="755" actId="26606"/>
          <ac:spMkLst>
            <pc:docMk/>
            <pc:sldMk cId="1079619010" sldId="309"/>
            <ac:spMk id="125" creationId="{0B64D0E1-3C99-4E0E-BA8E-B53CD1B7F18C}"/>
          </ac:spMkLst>
        </pc:spChg>
        <pc:spChg chg="mod ord">
          <ac:chgData name="Andreas" userId="9d9beba6-c052-407a-8599-c781a677a996" providerId="ADAL" clId="{1B7CF67B-5515-4C9F-825D-072B1C4F5900}" dt="2021-11-18T08:50:53.060" v="755" actId="26606"/>
          <ac:spMkLst>
            <pc:docMk/>
            <pc:sldMk cId="1079619010" sldId="309"/>
            <ac:spMk id="180" creationId="{00000000-0000-0000-0000-000000000000}"/>
          </ac:spMkLst>
        </pc:spChg>
        <pc:picChg chg="mod">
          <ac:chgData name="Andreas" userId="9d9beba6-c052-407a-8599-c781a677a996" providerId="ADAL" clId="{1B7CF67B-5515-4C9F-825D-072B1C4F5900}" dt="2021-11-18T08:50:53.060" v="755" actId="26606"/>
          <ac:picMkLst>
            <pc:docMk/>
            <pc:sldMk cId="1079619010" sldId="309"/>
            <ac:picMk id="4" creationId="{721185DF-2082-4F0C-B262-6E5F42A7A6AE}"/>
          </ac:picMkLst>
        </pc:picChg>
      </pc:sldChg>
      <pc:sldChg chg="addSp modSp add mod modTransition modClrScheme chgLayout">
        <pc:chgData name="Andreas" userId="9d9beba6-c052-407a-8599-c781a677a996" providerId="ADAL" clId="{1B7CF67B-5515-4C9F-825D-072B1C4F5900}" dt="2021-11-18T08:51:03.623" v="756" actId="26606"/>
        <pc:sldMkLst>
          <pc:docMk/>
          <pc:sldMk cId="4090527258" sldId="310"/>
        </pc:sldMkLst>
        <pc:spChg chg="add mod">
          <ac:chgData name="Andreas" userId="9d9beba6-c052-407a-8599-c781a677a996" providerId="ADAL" clId="{1B7CF67B-5515-4C9F-825D-072B1C4F5900}" dt="2021-11-18T08:51:03.623" v="756" actId="26606"/>
          <ac:spMkLst>
            <pc:docMk/>
            <pc:sldMk cId="4090527258" sldId="310"/>
            <ac:spMk id="121" creationId="{D87CCE91-EBB2-4B98-B85A-E1B7F24C4A7A}"/>
          </ac:spMkLst>
        </pc:spChg>
        <pc:spChg chg="add mod">
          <ac:chgData name="Andreas" userId="9d9beba6-c052-407a-8599-c781a677a996" providerId="ADAL" clId="{1B7CF67B-5515-4C9F-825D-072B1C4F5900}" dt="2021-11-18T08:51:03.623" v="756" actId="26606"/>
          <ac:spMkLst>
            <pc:docMk/>
            <pc:sldMk cId="4090527258" sldId="310"/>
            <ac:spMk id="123" creationId="{06425498-1038-4965-87A7-3E963381CF72}"/>
          </ac:spMkLst>
        </pc:spChg>
        <pc:spChg chg="add mod">
          <ac:chgData name="Andreas" userId="9d9beba6-c052-407a-8599-c781a677a996" providerId="ADAL" clId="{1B7CF67B-5515-4C9F-825D-072B1C4F5900}" dt="2021-11-18T08:51:03.623" v="756" actId="26606"/>
          <ac:spMkLst>
            <pc:docMk/>
            <pc:sldMk cId="4090527258" sldId="310"/>
            <ac:spMk id="125" creationId="{99A993EC-6DEC-460D-9459-B02C852CE7C4}"/>
          </ac:spMkLst>
        </pc:spChg>
        <pc:spChg chg="mod ord">
          <ac:chgData name="Andreas" userId="9d9beba6-c052-407a-8599-c781a677a996" providerId="ADAL" clId="{1B7CF67B-5515-4C9F-825D-072B1C4F5900}" dt="2021-11-18T08:51:03.623" v="756" actId="26606"/>
          <ac:spMkLst>
            <pc:docMk/>
            <pc:sldMk cId="4090527258" sldId="310"/>
            <ac:spMk id="180" creationId="{00000000-0000-0000-0000-000000000000}"/>
          </ac:spMkLst>
        </pc:spChg>
        <pc:picChg chg="mod">
          <ac:chgData name="Andreas" userId="9d9beba6-c052-407a-8599-c781a677a996" providerId="ADAL" clId="{1B7CF67B-5515-4C9F-825D-072B1C4F5900}" dt="2021-11-18T08:51:03.623" v="756" actId="26606"/>
          <ac:picMkLst>
            <pc:docMk/>
            <pc:sldMk cId="4090527258" sldId="310"/>
            <ac:picMk id="4" creationId="{A4EFF177-C43A-41B7-8F34-BA279DAF1FA6}"/>
          </ac:picMkLst>
        </pc:picChg>
      </pc:sldChg>
      <pc:sldChg chg="addSp delSp modSp add mod modTransition modClrScheme chgLayout">
        <pc:chgData name="Andreas" userId="9d9beba6-c052-407a-8599-c781a677a996" providerId="ADAL" clId="{1B7CF67B-5515-4C9F-825D-072B1C4F5900}" dt="2021-11-18T08:52:09.954" v="772"/>
        <pc:sldMkLst>
          <pc:docMk/>
          <pc:sldMk cId="2431522764" sldId="311"/>
        </pc:sldMkLst>
        <pc:spChg chg="add del mod">
          <ac:chgData name="Andreas" userId="9d9beba6-c052-407a-8599-c781a677a996" providerId="ADAL" clId="{1B7CF67B-5515-4C9F-825D-072B1C4F5900}" dt="2021-11-18T08:51:20.954" v="758" actId="26606"/>
          <ac:spMkLst>
            <pc:docMk/>
            <pc:sldMk cId="2431522764" sldId="311"/>
            <ac:spMk id="121" creationId="{48B7BF9A-90B3-4EB7-8592-0357947DEEC8}"/>
          </ac:spMkLst>
        </pc:spChg>
        <pc:spChg chg="add del mod">
          <ac:chgData name="Andreas" userId="9d9beba6-c052-407a-8599-c781a677a996" providerId="ADAL" clId="{1B7CF67B-5515-4C9F-825D-072B1C4F5900}" dt="2021-11-18T08:51:20.954" v="758" actId="26606"/>
          <ac:spMkLst>
            <pc:docMk/>
            <pc:sldMk cId="2431522764" sldId="311"/>
            <ac:spMk id="123" creationId="{3A76E64F-4635-4B66-951A-7BDA9700BDDB}"/>
          </ac:spMkLst>
        </pc:spChg>
        <pc:spChg chg="add del mod">
          <ac:chgData name="Andreas" userId="9d9beba6-c052-407a-8599-c781a677a996" providerId="ADAL" clId="{1B7CF67B-5515-4C9F-825D-072B1C4F5900}" dt="2021-11-18T08:51:34.351" v="766" actId="26606"/>
          <ac:spMkLst>
            <pc:docMk/>
            <pc:sldMk cId="2431522764" sldId="311"/>
            <ac:spMk id="125" creationId="{D0E9316F-64B1-4538-BA4B-B4A4E131C71E}"/>
          </ac:spMkLst>
        </pc:spChg>
        <pc:spChg chg="add del mod">
          <ac:chgData name="Andreas" userId="9d9beba6-c052-407a-8599-c781a677a996" providerId="ADAL" clId="{1B7CF67B-5515-4C9F-825D-072B1C4F5900}" dt="2021-11-18T08:52:07.394" v="770" actId="478"/>
          <ac:spMkLst>
            <pc:docMk/>
            <pc:sldMk cId="2431522764" sldId="311"/>
            <ac:spMk id="127" creationId="{3E904F51-48D3-477E-BCD3-D60863D07FC9}"/>
          </ac:spMkLst>
        </pc:spChg>
        <pc:spChg chg="mod ord">
          <ac:chgData name="Andreas" userId="9d9beba6-c052-407a-8599-c781a677a996" providerId="ADAL" clId="{1B7CF67B-5515-4C9F-825D-072B1C4F5900}" dt="2021-11-18T08:52:02.267" v="769" actId="26606"/>
          <ac:spMkLst>
            <pc:docMk/>
            <pc:sldMk cId="2431522764" sldId="311"/>
            <ac:spMk id="180" creationId="{00000000-0000-0000-0000-000000000000}"/>
          </ac:spMkLst>
        </pc:spChg>
        <pc:spChg chg="add del mod">
          <ac:chgData name="Andreas" userId="9d9beba6-c052-407a-8599-c781a677a996" providerId="ADAL" clId="{1B7CF67B-5515-4C9F-825D-072B1C4F5900}" dt="2021-11-18T08:51:25.124" v="760" actId="26606"/>
          <ac:spMkLst>
            <pc:docMk/>
            <pc:sldMk cId="2431522764" sldId="311"/>
            <ac:spMk id="182" creationId="{362A12F9-9087-49B3-BB23-48F5D1A9ED6F}"/>
          </ac:spMkLst>
        </pc:spChg>
        <pc:spChg chg="add del mod">
          <ac:chgData name="Andreas" userId="9d9beba6-c052-407a-8599-c781a677a996" providerId="ADAL" clId="{1B7CF67B-5515-4C9F-825D-072B1C4F5900}" dt="2021-11-18T08:51:25.124" v="760" actId="26606"/>
          <ac:spMkLst>
            <pc:docMk/>
            <pc:sldMk cId="2431522764" sldId="311"/>
            <ac:spMk id="183" creationId="{A958F65E-71A7-443F-9F27-C72CD252FBBC}"/>
          </ac:spMkLst>
        </pc:spChg>
        <pc:spChg chg="add del mod">
          <ac:chgData name="Andreas" userId="9d9beba6-c052-407a-8599-c781a677a996" providerId="ADAL" clId="{1B7CF67B-5515-4C9F-825D-072B1C4F5900}" dt="2021-11-18T08:51:34.351" v="766" actId="26606"/>
          <ac:spMkLst>
            <pc:docMk/>
            <pc:sldMk cId="2431522764" sldId="311"/>
            <ac:spMk id="184" creationId="{09CF0C8B-909F-4A5E-8C2D-C36BEA150B88}"/>
          </ac:spMkLst>
        </pc:spChg>
        <pc:spChg chg="add del mod">
          <ac:chgData name="Andreas" userId="9d9beba6-c052-407a-8599-c781a677a996" providerId="ADAL" clId="{1B7CF67B-5515-4C9F-825D-072B1C4F5900}" dt="2021-11-18T08:51:28.135" v="762" actId="26606"/>
          <ac:spMkLst>
            <pc:docMk/>
            <pc:sldMk cId="2431522764" sldId="311"/>
            <ac:spMk id="185" creationId="{FA4AA8CC-A7D0-45B4-8661-58EE09E3AF4A}"/>
          </ac:spMkLst>
        </pc:spChg>
        <pc:spChg chg="add del mod">
          <ac:chgData name="Andreas" userId="9d9beba6-c052-407a-8599-c781a677a996" providerId="ADAL" clId="{1B7CF67B-5515-4C9F-825D-072B1C4F5900}" dt="2021-11-18T08:51:28.135" v="762" actId="26606"/>
          <ac:spMkLst>
            <pc:docMk/>
            <pc:sldMk cId="2431522764" sldId="311"/>
            <ac:spMk id="186" creationId="{F1D96C10-34F8-47E8-B1AE-3D7CA0E01D77}"/>
          </ac:spMkLst>
        </pc:spChg>
        <pc:spChg chg="add del mod">
          <ac:chgData name="Andreas" userId="9d9beba6-c052-407a-8599-c781a677a996" providerId="ADAL" clId="{1B7CF67B-5515-4C9F-825D-072B1C4F5900}" dt="2021-11-18T08:51:34.351" v="766" actId="26606"/>
          <ac:spMkLst>
            <pc:docMk/>
            <pc:sldMk cId="2431522764" sldId="311"/>
            <ac:spMk id="187" creationId="{57DB4D2F-C0F2-4FE2-90EB-0CDDF2C8D8FC}"/>
          </ac:spMkLst>
        </pc:spChg>
        <pc:spChg chg="add del mod">
          <ac:chgData name="Andreas" userId="9d9beba6-c052-407a-8599-c781a677a996" providerId="ADAL" clId="{1B7CF67B-5515-4C9F-825D-072B1C4F5900}" dt="2021-11-18T08:52:08.812" v="771" actId="478"/>
          <ac:spMkLst>
            <pc:docMk/>
            <pc:sldMk cId="2431522764" sldId="311"/>
            <ac:spMk id="188" creationId="{4062C75E-80AC-42E3-A3DD-6EC420CC782E}"/>
          </ac:spMkLst>
        </pc:spChg>
        <pc:spChg chg="add mod">
          <ac:chgData name="Andreas" userId="9d9beba6-c052-407a-8599-c781a677a996" providerId="ADAL" clId="{1B7CF67B-5515-4C9F-825D-072B1C4F5900}" dt="2021-11-18T08:52:02.267" v="769" actId="26606"/>
          <ac:spMkLst>
            <pc:docMk/>
            <pc:sldMk cId="2431522764" sldId="311"/>
            <ac:spMk id="189" creationId="{425AD3EB-1B6A-4CB8-AF6E-2C935729F1EE}"/>
          </ac:spMkLst>
        </pc:spChg>
        <pc:spChg chg="add mod">
          <ac:chgData name="Andreas" userId="9d9beba6-c052-407a-8599-c781a677a996" providerId="ADAL" clId="{1B7CF67B-5515-4C9F-825D-072B1C4F5900}" dt="2021-11-18T08:52:02.267" v="769" actId="26606"/>
          <ac:spMkLst>
            <pc:docMk/>
            <pc:sldMk cId="2431522764" sldId="311"/>
            <ac:spMk id="190" creationId="{950CC703-28F1-4DF5-A4C5-C3AC75B556A4}"/>
          </ac:spMkLst>
        </pc:spChg>
        <pc:picChg chg="del mod ord">
          <ac:chgData name="Andreas" userId="9d9beba6-c052-407a-8599-c781a677a996" providerId="ADAL" clId="{1B7CF67B-5515-4C9F-825D-072B1C4F5900}" dt="2021-11-18T08:51:53.072" v="768" actId="21"/>
          <ac:picMkLst>
            <pc:docMk/>
            <pc:sldMk cId="2431522764" sldId="311"/>
            <ac:picMk id="4" creationId="{486D6DDE-D8A9-4260-91B4-45DC90D2E969}"/>
          </ac:picMkLst>
        </pc:picChg>
        <pc:picChg chg="del mod ord">
          <ac:chgData name="Andreas" userId="9d9beba6-c052-407a-8599-c781a677a996" providerId="ADAL" clId="{1B7CF67B-5515-4C9F-825D-072B1C4F5900}" dt="2021-11-18T08:51:53.072" v="768" actId="21"/>
          <ac:picMkLst>
            <pc:docMk/>
            <pc:sldMk cId="2431522764" sldId="311"/>
            <ac:picMk id="5" creationId="{055D2F54-9C0A-4B30-B8A6-EA581805EE2D}"/>
          </ac:picMkLst>
        </pc:picChg>
        <pc:picChg chg="add mod">
          <ac:chgData name="Andreas" userId="9d9beba6-c052-407a-8599-c781a677a996" providerId="ADAL" clId="{1B7CF67B-5515-4C9F-825D-072B1C4F5900}" dt="2021-11-18T08:52:09.954" v="772"/>
          <ac:picMkLst>
            <pc:docMk/>
            <pc:sldMk cId="2431522764" sldId="311"/>
            <ac:picMk id="18" creationId="{2310BD4A-0AC2-4F8E-9415-F4EB1664C4F6}"/>
          </ac:picMkLst>
        </pc:picChg>
        <pc:picChg chg="add mod">
          <ac:chgData name="Andreas" userId="9d9beba6-c052-407a-8599-c781a677a996" providerId="ADAL" clId="{1B7CF67B-5515-4C9F-825D-072B1C4F5900}" dt="2021-11-18T08:52:09.954" v="772"/>
          <ac:picMkLst>
            <pc:docMk/>
            <pc:sldMk cId="2431522764" sldId="311"/>
            <ac:picMk id="19" creationId="{20E9AFF6-3D2D-4420-9DAF-050CAB05C1C4}"/>
          </ac:picMkLst>
        </pc:picChg>
      </pc:sldChg>
      <pc:sldChg chg="addSp modSp add mod modTransition modClrScheme chgLayout">
        <pc:chgData name="Andreas" userId="9d9beba6-c052-407a-8599-c781a677a996" providerId="ADAL" clId="{1B7CF67B-5515-4C9F-825D-072B1C4F5900}" dt="2021-11-18T08:52:25.828" v="773" actId="26606"/>
        <pc:sldMkLst>
          <pc:docMk/>
          <pc:sldMk cId="3505328169" sldId="312"/>
        </pc:sldMkLst>
        <pc:spChg chg="add mod">
          <ac:chgData name="Andreas" userId="9d9beba6-c052-407a-8599-c781a677a996" providerId="ADAL" clId="{1B7CF67B-5515-4C9F-825D-072B1C4F5900}" dt="2021-11-18T08:52:25.828" v="773" actId="26606"/>
          <ac:spMkLst>
            <pc:docMk/>
            <pc:sldMk cId="3505328169" sldId="312"/>
            <ac:spMk id="121" creationId="{A50F6815-E316-431F-BB74-4FFABB1B7580}"/>
          </ac:spMkLst>
        </pc:spChg>
        <pc:spChg chg="add mod">
          <ac:chgData name="Andreas" userId="9d9beba6-c052-407a-8599-c781a677a996" providerId="ADAL" clId="{1B7CF67B-5515-4C9F-825D-072B1C4F5900}" dt="2021-11-18T08:52:25.828" v="773" actId="26606"/>
          <ac:spMkLst>
            <pc:docMk/>
            <pc:sldMk cId="3505328169" sldId="312"/>
            <ac:spMk id="123" creationId="{2AFA0A2C-273B-4023-84A0-AE912A43117D}"/>
          </ac:spMkLst>
        </pc:spChg>
        <pc:spChg chg="add mod">
          <ac:chgData name="Andreas" userId="9d9beba6-c052-407a-8599-c781a677a996" providerId="ADAL" clId="{1B7CF67B-5515-4C9F-825D-072B1C4F5900}" dt="2021-11-18T08:52:25.828" v="773" actId="26606"/>
          <ac:spMkLst>
            <pc:docMk/>
            <pc:sldMk cId="3505328169" sldId="312"/>
            <ac:spMk id="125" creationId="{A66BE4F1-17D7-4CA6-B7BE-BD8B5E0779C0}"/>
          </ac:spMkLst>
        </pc:spChg>
        <pc:spChg chg="mod ord">
          <ac:chgData name="Andreas" userId="9d9beba6-c052-407a-8599-c781a677a996" providerId="ADAL" clId="{1B7CF67B-5515-4C9F-825D-072B1C4F5900}" dt="2021-11-18T08:52:25.828" v="773" actId="26606"/>
          <ac:spMkLst>
            <pc:docMk/>
            <pc:sldMk cId="3505328169" sldId="312"/>
            <ac:spMk id="180" creationId="{00000000-0000-0000-0000-000000000000}"/>
          </ac:spMkLst>
        </pc:spChg>
        <pc:picChg chg="mod">
          <ac:chgData name="Andreas" userId="9d9beba6-c052-407a-8599-c781a677a996" providerId="ADAL" clId="{1B7CF67B-5515-4C9F-825D-072B1C4F5900}" dt="2021-11-18T08:52:25.828" v="773" actId="26606"/>
          <ac:picMkLst>
            <pc:docMk/>
            <pc:sldMk cId="3505328169" sldId="312"/>
            <ac:picMk id="6" creationId="{C5BBC128-9211-4E30-BC8F-F081E3D1C393}"/>
          </ac:picMkLst>
        </pc:picChg>
      </pc:sldChg>
      <pc:sldChg chg="addSp modSp add mod modTransition modClrScheme chgLayout">
        <pc:chgData name="Andreas" userId="9d9beba6-c052-407a-8599-c781a677a996" providerId="ADAL" clId="{1B7CF67B-5515-4C9F-825D-072B1C4F5900}" dt="2021-11-18T08:52:32.385" v="774" actId="26606"/>
        <pc:sldMkLst>
          <pc:docMk/>
          <pc:sldMk cId="488657684" sldId="313"/>
        </pc:sldMkLst>
        <pc:spChg chg="add mod">
          <ac:chgData name="Andreas" userId="9d9beba6-c052-407a-8599-c781a677a996" providerId="ADAL" clId="{1B7CF67B-5515-4C9F-825D-072B1C4F5900}" dt="2021-11-18T08:52:32.385" v="774" actId="26606"/>
          <ac:spMkLst>
            <pc:docMk/>
            <pc:sldMk cId="488657684" sldId="313"/>
            <ac:spMk id="121" creationId="{8972B098-8C69-4A08-8402-CEB0CD344D32}"/>
          </ac:spMkLst>
        </pc:spChg>
        <pc:spChg chg="add mod">
          <ac:chgData name="Andreas" userId="9d9beba6-c052-407a-8599-c781a677a996" providerId="ADAL" clId="{1B7CF67B-5515-4C9F-825D-072B1C4F5900}" dt="2021-11-18T08:52:32.385" v="774" actId="26606"/>
          <ac:spMkLst>
            <pc:docMk/>
            <pc:sldMk cId="488657684" sldId="313"/>
            <ac:spMk id="123" creationId="{31183487-0E51-4FC7-AA82-ACAD1A3FEAC2}"/>
          </ac:spMkLst>
        </pc:spChg>
        <pc:spChg chg="add mod">
          <ac:chgData name="Andreas" userId="9d9beba6-c052-407a-8599-c781a677a996" providerId="ADAL" clId="{1B7CF67B-5515-4C9F-825D-072B1C4F5900}" dt="2021-11-18T08:52:32.385" v="774" actId="26606"/>
          <ac:spMkLst>
            <pc:docMk/>
            <pc:sldMk cId="488657684" sldId="313"/>
            <ac:spMk id="125" creationId="{17414DA5-7994-451B-87D3-4EF3216EE5FE}"/>
          </ac:spMkLst>
        </pc:spChg>
        <pc:spChg chg="mod ord">
          <ac:chgData name="Andreas" userId="9d9beba6-c052-407a-8599-c781a677a996" providerId="ADAL" clId="{1B7CF67B-5515-4C9F-825D-072B1C4F5900}" dt="2021-11-18T08:52:32.385" v="774" actId="26606"/>
          <ac:spMkLst>
            <pc:docMk/>
            <pc:sldMk cId="488657684" sldId="313"/>
            <ac:spMk id="180" creationId="{00000000-0000-0000-0000-000000000000}"/>
          </ac:spMkLst>
        </pc:spChg>
        <pc:picChg chg="mod">
          <ac:chgData name="Andreas" userId="9d9beba6-c052-407a-8599-c781a677a996" providerId="ADAL" clId="{1B7CF67B-5515-4C9F-825D-072B1C4F5900}" dt="2021-11-18T08:52:32.385" v="774" actId="26606"/>
          <ac:picMkLst>
            <pc:docMk/>
            <pc:sldMk cId="488657684" sldId="313"/>
            <ac:picMk id="4" creationId="{0CCC3364-99D1-4193-B83D-970ED7FD2EAC}"/>
          </ac:picMkLst>
        </pc:picChg>
      </pc:sldChg>
      <pc:sldChg chg="addSp modSp add mod modTransition modClrScheme chgLayout">
        <pc:chgData name="Andreas" userId="9d9beba6-c052-407a-8599-c781a677a996" providerId="ADAL" clId="{1B7CF67B-5515-4C9F-825D-072B1C4F5900}" dt="2021-11-18T08:52:38.269" v="775" actId="26606"/>
        <pc:sldMkLst>
          <pc:docMk/>
          <pc:sldMk cId="2703300525" sldId="314"/>
        </pc:sldMkLst>
        <pc:spChg chg="add mod">
          <ac:chgData name="Andreas" userId="9d9beba6-c052-407a-8599-c781a677a996" providerId="ADAL" clId="{1B7CF67B-5515-4C9F-825D-072B1C4F5900}" dt="2021-11-18T08:52:38.269" v="775" actId="26606"/>
          <ac:spMkLst>
            <pc:docMk/>
            <pc:sldMk cId="2703300525" sldId="314"/>
            <ac:spMk id="121" creationId="{D73CF723-9A36-4325-92AC-0DD53E851A7F}"/>
          </ac:spMkLst>
        </pc:spChg>
        <pc:spChg chg="add mod">
          <ac:chgData name="Andreas" userId="9d9beba6-c052-407a-8599-c781a677a996" providerId="ADAL" clId="{1B7CF67B-5515-4C9F-825D-072B1C4F5900}" dt="2021-11-18T08:52:38.269" v="775" actId="26606"/>
          <ac:spMkLst>
            <pc:docMk/>
            <pc:sldMk cId="2703300525" sldId="314"/>
            <ac:spMk id="123" creationId="{87ED7742-122F-426B-8F0B-1FF2346A1BD6}"/>
          </ac:spMkLst>
        </pc:spChg>
        <pc:spChg chg="add mod">
          <ac:chgData name="Andreas" userId="9d9beba6-c052-407a-8599-c781a677a996" providerId="ADAL" clId="{1B7CF67B-5515-4C9F-825D-072B1C4F5900}" dt="2021-11-18T08:52:38.269" v="775" actId="26606"/>
          <ac:spMkLst>
            <pc:docMk/>
            <pc:sldMk cId="2703300525" sldId="314"/>
            <ac:spMk id="125" creationId="{AAC1AC25-06A3-40F2-9F3C-B15F9C395E68}"/>
          </ac:spMkLst>
        </pc:spChg>
        <pc:spChg chg="mod ord">
          <ac:chgData name="Andreas" userId="9d9beba6-c052-407a-8599-c781a677a996" providerId="ADAL" clId="{1B7CF67B-5515-4C9F-825D-072B1C4F5900}" dt="2021-11-18T08:52:38.269" v="775" actId="26606"/>
          <ac:spMkLst>
            <pc:docMk/>
            <pc:sldMk cId="2703300525" sldId="314"/>
            <ac:spMk id="180" creationId="{00000000-0000-0000-0000-000000000000}"/>
          </ac:spMkLst>
        </pc:spChg>
        <pc:picChg chg="mod">
          <ac:chgData name="Andreas" userId="9d9beba6-c052-407a-8599-c781a677a996" providerId="ADAL" clId="{1B7CF67B-5515-4C9F-825D-072B1C4F5900}" dt="2021-11-18T08:52:38.269" v="775" actId="26606"/>
          <ac:picMkLst>
            <pc:docMk/>
            <pc:sldMk cId="2703300525" sldId="314"/>
            <ac:picMk id="5" creationId="{B8AA6296-6482-4F26-A4A2-492E75EFEBCE}"/>
          </ac:picMkLst>
        </pc:picChg>
      </pc:sldChg>
      <pc:sldChg chg="addSp modSp add mod modTransition chgLayout">
        <pc:chgData name="Andreas" userId="9d9beba6-c052-407a-8599-c781a677a996" providerId="ADAL" clId="{1B7CF67B-5515-4C9F-825D-072B1C4F5900}" dt="2021-11-18T09:02:07.626" v="858" actId="6549"/>
        <pc:sldMkLst>
          <pc:docMk/>
          <pc:sldMk cId="2314019208" sldId="315"/>
        </pc:sldMkLst>
        <pc:spChg chg="add mod">
          <ac:chgData name="Andreas" userId="9d9beba6-c052-407a-8599-c781a677a996" providerId="ADAL" clId="{1B7CF67B-5515-4C9F-825D-072B1C4F5900}" dt="2021-11-18T09:01:49.965" v="855" actId="26606"/>
          <ac:spMkLst>
            <pc:docMk/>
            <pc:sldMk cId="2314019208" sldId="315"/>
            <ac:spMk id="122" creationId="{02C01261-94AC-48F0-87BC-22258575318B}"/>
          </ac:spMkLst>
        </pc:spChg>
        <pc:spChg chg="add mod">
          <ac:chgData name="Andreas" userId="9d9beba6-c052-407a-8599-c781a677a996" providerId="ADAL" clId="{1B7CF67B-5515-4C9F-825D-072B1C4F5900}" dt="2021-11-18T09:01:49.965" v="855" actId="26606"/>
          <ac:spMkLst>
            <pc:docMk/>
            <pc:sldMk cId="2314019208" sldId="315"/>
            <ac:spMk id="124" creationId="{03E15A7C-0B3E-458F-8953-A5CBA2CBA45B}"/>
          </ac:spMkLst>
        </pc:spChg>
        <pc:spChg chg="mod">
          <ac:chgData name="Andreas" userId="9d9beba6-c052-407a-8599-c781a677a996" providerId="ADAL" clId="{1B7CF67B-5515-4C9F-825D-072B1C4F5900}" dt="2021-11-18T09:02:07.626" v="858" actId="6549"/>
          <ac:spMkLst>
            <pc:docMk/>
            <pc:sldMk cId="2314019208" sldId="315"/>
            <ac:spMk id="180" creationId="{00000000-0000-0000-0000-000000000000}"/>
          </ac:spMkLst>
        </pc:spChg>
        <pc:spChg chg="mod">
          <ac:chgData name="Andreas" userId="9d9beba6-c052-407a-8599-c781a677a996" providerId="ADAL" clId="{1B7CF67B-5515-4C9F-825D-072B1C4F5900}" dt="2021-11-18T09:01:49.965" v="855" actId="26606"/>
          <ac:spMkLst>
            <pc:docMk/>
            <pc:sldMk cId="2314019208" sldId="315"/>
            <ac:spMk id="181" creationId="{00000000-0000-0000-0000-000000000000}"/>
          </ac:spMkLst>
        </pc:spChg>
        <pc:picChg chg="mod ord">
          <ac:chgData name="Andreas" userId="9d9beba6-c052-407a-8599-c781a677a996" providerId="ADAL" clId="{1B7CF67B-5515-4C9F-825D-072B1C4F5900}" dt="2021-11-18T09:01:49.965" v="855" actId="26606"/>
          <ac:picMkLst>
            <pc:docMk/>
            <pc:sldMk cId="2314019208" sldId="315"/>
            <ac:picMk id="5" creationId="{6C0D4401-8221-475A-98FB-D13A214DBF58}"/>
          </ac:picMkLst>
        </pc:picChg>
      </pc:sldChg>
      <pc:sldChg chg="addSp modSp add mod modTransition modClrScheme chgLayout">
        <pc:chgData name="Andreas" userId="9d9beba6-c052-407a-8599-c781a677a996" providerId="ADAL" clId="{1B7CF67B-5515-4C9F-825D-072B1C4F5900}" dt="2021-11-18T08:52:56.265" v="777" actId="26606"/>
        <pc:sldMkLst>
          <pc:docMk/>
          <pc:sldMk cId="541287524" sldId="316"/>
        </pc:sldMkLst>
        <pc:spChg chg="add mod">
          <ac:chgData name="Andreas" userId="9d9beba6-c052-407a-8599-c781a677a996" providerId="ADAL" clId="{1B7CF67B-5515-4C9F-825D-072B1C4F5900}" dt="2021-11-18T08:52:56.265" v="777" actId="26606"/>
          <ac:spMkLst>
            <pc:docMk/>
            <pc:sldMk cId="541287524" sldId="316"/>
            <ac:spMk id="122" creationId="{589D8BE4-645F-4594-947A-E4BC57588686}"/>
          </ac:spMkLst>
        </pc:spChg>
        <pc:spChg chg="add mod">
          <ac:chgData name="Andreas" userId="9d9beba6-c052-407a-8599-c781a677a996" providerId="ADAL" clId="{1B7CF67B-5515-4C9F-825D-072B1C4F5900}" dt="2021-11-18T08:52:56.265" v="777" actId="26606"/>
          <ac:spMkLst>
            <pc:docMk/>
            <pc:sldMk cId="541287524" sldId="316"/>
            <ac:spMk id="124" creationId="{84E04E4E-021A-44EA-A21F-D749783987DC}"/>
          </ac:spMkLst>
        </pc:spChg>
        <pc:spChg chg="add mod">
          <ac:chgData name="Andreas" userId="9d9beba6-c052-407a-8599-c781a677a996" providerId="ADAL" clId="{1B7CF67B-5515-4C9F-825D-072B1C4F5900}" dt="2021-11-18T08:52:56.265" v="777" actId="26606"/>
          <ac:spMkLst>
            <pc:docMk/>
            <pc:sldMk cId="541287524" sldId="316"/>
            <ac:spMk id="126" creationId="{BD2D9D3E-0A1E-4AC3-979E-48547F484027}"/>
          </ac:spMkLst>
        </pc:spChg>
        <pc:spChg chg="mod ord">
          <ac:chgData name="Andreas" userId="9d9beba6-c052-407a-8599-c781a677a996" providerId="ADAL" clId="{1B7CF67B-5515-4C9F-825D-072B1C4F5900}" dt="2021-11-18T08:52:56.265" v="777" actId="26606"/>
          <ac:spMkLst>
            <pc:docMk/>
            <pc:sldMk cId="541287524" sldId="316"/>
            <ac:spMk id="180" creationId="{00000000-0000-0000-0000-000000000000}"/>
          </ac:spMkLst>
        </pc:spChg>
        <pc:spChg chg="mod">
          <ac:chgData name="Andreas" userId="9d9beba6-c052-407a-8599-c781a677a996" providerId="ADAL" clId="{1B7CF67B-5515-4C9F-825D-072B1C4F5900}" dt="2021-11-18T08:52:56.265" v="777" actId="26606"/>
          <ac:spMkLst>
            <pc:docMk/>
            <pc:sldMk cId="541287524" sldId="316"/>
            <ac:spMk id="181" creationId="{00000000-0000-0000-0000-000000000000}"/>
          </ac:spMkLst>
        </pc:spChg>
      </pc:sldChg>
      <pc:sldChg chg="addSp delSp modSp add mod modTransition modClrScheme chgLayout">
        <pc:chgData name="Andreas" userId="9d9beba6-c052-407a-8599-c781a677a996" providerId="ADAL" clId="{1B7CF67B-5515-4C9F-825D-072B1C4F5900}" dt="2021-11-18T08:53:42.282" v="787" actId="1076"/>
        <pc:sldMkLst>
          <pc:docMk/>
          <pc:sldMk cId="3743851044" sldId="317"/>
        </pc:sldMkLst>
        <pc:spChg chg="add del mod">
          <ac:chgData name="Andreas" userId="9d9beba6-c052-407a-8599-c781a677a996" providerId="ADAL" clId="{1B7CF67B-5515-4C9F-825D-072B1C4F5900}" dt="2021-11-18T08:53:28.037" v="780" actId="26606"/>
          <ac:spMkLst>
            <pc:docMk/>
            <pc:sldMk cId="3743851044" sldId="317"/>
            <ac:spMk id="121" creationId="{2F169BD4-CD43-4A68-89CD-DD65E05893DD}"/>
          </ac:spMkLst>
        </pc:spChg>
        <pc:spChg chg="add del mod">
          <ac:chgData name="Andreas" userId="9d9beba6-c052-407a-8599-c781a677a996" providerId="ADAL" clId="{1B7CF67B-5515-4C9F-825D-072B1C4F5900}" dt="2021-11-18T08:53:28.037" v="780" actId="26606"/>
          <ac:spMkLst>
            <pc:docMk/>
            <pc:sldMk cId="3743851044" sldId="317"/>
            <ac:spMk id="123" creationId="{1DB78B33-3F65-4514-A255-E9AD8D461A5C}"/>
          </ac:spMkLst>
        </pc:spChg>
        <pc:spChg chg="add del mod">
          <ac:chgData name="Andreas" userId="9d9beba6-c052-407a-8599-c781a677a996" providerId="ADAL" clId="{1B7CF67B-5515-4C9F-825D-072B1C4F5900}" dt="2021-11-18T08:53:28.037" v="780" actId="26606"/>
          <ac:spMkLst>
            <pc:docMk/>
            <pc:sldMk cId="3743851044" sldId="317"/>
            <ac:spMk id="125" creationId="{1A38A9D3-C164-4328-8B8B-4D1745BF019F}"/>
          </ac:spMkLst>
        </pc:spChg>
        <pc:spChg chg="mod">
          <ac:chgData name="Andreas" userId="9d9beba6-c052-407a-8599-c781a677a996" providerId="ADAL" clId="{1B7CF67B-5515-4C9F-825D-072B1C4F5900}" dt="2021-11-18T08:53:33.066" v="784" actId="27636"/>
          <ac:spMkLst>
            <pc:docMk/>
            <pc:sldMk cId="3743851044" sldId="317"/>
            <ac:spMk id="180" creationId="{00000000-0000-0000-0000-000000000000}"/>
          </ac:spMkLst>
        </pc:spChg>
        <pc:picChg chg="mod">
          <ac:chgData name="Andreas" userId="9d9beba6-c052-407a-8599-c781a677a996" providerId="ADAL" clId="{1B7CF67B-5515-4C9F-825D-072B1C4F5900}" dt="2021-11-18T08:53:42.282" v="787" actId="1076"/>
          <ac:picMkLst>
            <pc:docMk/>
            <pc:sldMk cId="3743851044" sldId="317"/>
            <ac:picMk id="7" creationId="{81081128-DFB8-47D1-92E7-3407BE2C4F97}"/>
          </ac:picMkLst>
        </pc:picChg>
      </pc:sldChg>
      <pc:sldChg chg="addSp modSp add mod modTransition modClrScheme chgLayout">
        <pc:chgData name="Andreas" userId="9d9beba6-c052-407a-8599-c781a677a996" providerId="ADAL" clId="{1B7CF67B-5515-4C9F-825D-072B1C4F5900}" dt="2021-11-18T08:53:05.633" v="778" actId="26606"/>
        <pc:sldMkLst>
          <pc:docMk/>
          <pc:sldMk cId="3642303867" sldId="318"/>
        </pc:sldMkLst>
        <pc:spChg chg="add mod">
          <ac:chgData name="Andreas" userId="9d9beba6-c052-407a-8599-c781a677a996" providerId="ADAL" clId="{1B7CF67B-5515-4C9F-825D-072B1C4F5900}" dt="2021-11-18T08:53:05.633" v="778" actId="26606"/>
          <ac:spMkLst>
            <pc:docMk/>
            <pc:sldMk cId="3642303867" sldId="318"/>
            <ac:spMk id="121" creationId="{23D7EB84-454A-4F5E-B5A1-2F3DE7A78E7F}"/>
          </ac:spMkLst>
        </pc:spChg>
        <pc:spChg chg="add mod">
          <ac:chgData name="Andreas" userId="9d9beba6-c052-407a-8599-c781a677a996" providerId="ADAL" clId="{1B7CF67B-5515-4C9F-825D-072B1C4F5900}" dt="2021-11-18T08:53:05.633" v="778" actId="26606"/>
          <ac:spMkLst>
            <pc:docMk/>
            <pc:sldMk cId="3642303867" sldId="318"/>
            <ac:spMk id="123" creationId="{7790BB56-D7E2-4ACF-8019-CD54356B9488}"/>
          </ac:spMkLst>
        </pc:spChg>
        <pc:spChg chg="add mod">
          <ac:chgData name="Andreas" userId="9d9beba6-c052-407a-8599-c781a677a996" providerId="ADAL" clId="{1B7CF67B-5515-4C9F-825D-072B1C4F5900}" dt="2021-11-18T08:53:05.633" v="778" actId="26606"/>
          <ac:spMkLst>
            <pc:docMk/>
            <pc:sldMk cId="3642303867" sldId="318"/>
            <ac:spMk id="125" creationId="{430539C1-10A3-463C-A69D-DB21312C942C}"/>
          </ac:spMkLst>
        </pc:spChg>
        <pc:spChg chg="mod">
          <ac:chgData name="Andreas" userId="9d9beba6-c052-407a-8599-c781a677a996" providerId="ADAL" clId="{1B7CF67B-5515-4C9F-825D-072B1C4F5900}" dt="2021-11-18T08:53:05.633" v="778" actId="26606"/>
          <ac:spMkLst>
            <pc:docMk/>
            <pc:sldMk cId="3642303867" sldId="318"/>
            <ac:spMk id="180" creationId="{00000000-0000-0000-0000-000000000000}"/>
          </ac:spMkLst>
        </pc:spChg>
        <pc:picChg chg="mod">
          <ac:chgData name="Andreas" userId="9d9beba6-c052-407a-8599-c781a677a996" providerId="ADAL" clId="{1B7CF67B-5515-4C9F-825D-072B1C4F5900}" dt="2021-11-18T08:53:05.633" v="778" actId="26606"/>
          <ac:picMkLst>
            <pc:docMk/>
            <pc:sldMk cId="3642303867" sldId="318"/>
            <ac:picMk id="4" creationId="{DBA693F6-2BBB-4730-8B0C-73B52FDCBCC9}"/>
          </ac:picMkLst>
        </pc:picChg>
      </pc:sldChg>
      <pc:sldChg chg="addSp modSp add mod modTransition modClrScheme chgLayout">
        <pc:chgData name="Andreas" userId="9d9beba6-c052-407a-8599-c781a677a996" providerId="ADAL" clId="{1B7CF67B-5515-4C9F-825D-072B1C4F5900}" dt="2021-11-18T08:53:58.242" v="788" actId="26606"/>
        <pc:sldMkLst>
          <pc:docMk/>
          <pc:sldMk cId="4282291855" sldId="319"/>
        </pc:sldMkLst>
        <pc:spChg chg="add mod">
          <ac:chgData name="Andreas" userId="9d9beba6-c052-407a-8599-c781a677a996" providerId="ADAL" clId="{1B7CF67B-5515-4C9F-825D-072B1C4F5900}" dt="2021-11-18T08:53:58.242" v="788" actId="26606"/>
          <ac:spMkLst>
            <pc:docMk/>
            <pc:sldMk cId="4282291855" sldId="319"/>
            <ac:spMk id="121" creationId="{EFAA5169-D25B-4CE0-921E-D4CCA2DEB538}"/>
          </ac:spMkLst>
        </pc:spChg>
        <pc:spChg chg="add mod">
          <ac:chgData name="Andreas" userId="9d9beba6-c052-407a-8599-c781a677a996" providerId="ADAL" clId="{1B7CF67B-5515-4C9F-825D-072B1C4F5900}" dt="2021-11-18T08:53:58.242" v="788" actId="26606"/>
          <ac:spMkLst>
            <pc:docMk/>
            <pc:sldMk cId="4282291855" sldId="319"/>
            <ac:spMk id="123" creationId="{449383C1-B4A6-4AB8-BDD8-49C444609472}"/>
          </ac:spMkLst>
        </pc:spChg>
        <pc:spChg chg="add mod">
          <ac:chgData name="Andreas" userId="9d9beba6-c052-407a-8599-c781a677a996" providerId="ADAL" clId="{1B7CF67B-5515-4C9F-825D-072B1C4F5900}" dt="2021-11-18T08:53:58.242" v="788" actId="26606"/>
          <ac:spMkLst>
            <pc:docMk/>
            <pc:sldMk cId="4282291855" sldId="319"/>
            <ac:spMk id="125" creationId="{C430189D-2E29-4283-A430-57BF77F449A4}"/>
          </ac:spMkLst>
        </pc:spChg>
        <pc:spChg chg="mod ord">
          <ac:chgData name="Andreas" userId="9d9beba6-c052-407a-8599-c781a677a996" providerId="ADAL" clId="{1B7CF67B-5515-4C9F-825D-072B1C4F5900}" dt="2021-11-18T08:53:58.242" v="788" actId="26606"/>
          <ac:spMkLst>
            <pc:docMk/>
            <pc:sldMk cId="4282291855" sldId="319"/>
            <ac:spMk id="180" creationId="{00000000-0000-0000-0000-000000000000}"/>
          </ac:spMkLst>
        </pc:spChg>
        <pc:picChg chg="mod">
          <ac:chgData name="Andreas" userId="9d9beba6-c052-407a-8599-c781a677a996" providerId="ADAL" clId="{1B7CF67B-5515-4C9F-825D-072B1C4F5900}" dt="2021-11-18T08:53:58.242" v="788" actId="26606"/>
          <ac:picMkLst>
            <pc:docMk/>
            <pc:sldMk cId="4282291855" sldId="319"/>
            <ac:picMk id="4" creationId="{9AE7B762-8E92-4704-94CF-214438BA7CA6}"/>
          </ac:picMkLst>
        </pc:picChg>
      </pc:sldChg>
      <pc:sldChg chg="addSp modSp add mod modTransition modClrScheme chgLayout">
        <pc:chgData name="Andreas" userId="9d9beba6-c052-407a-8599-c781a677a996" providerId="ADAL" clId="{1B7CF67B-5515-4C9F-825D-072B1C4F5900}" dt="2021-11-18T08:54:10.488" v="789" actId="26606"/>
        <pc:sldMkLst>
          <pc:docMk/>
          <pc:sldMk cId="1943756776" sldId="320"/>
        </pc:sldMkLst>
        <pc:spChg chg="add mod">
          <ac:chgData name="Andreas" userId="9d9beba6-c052-407a-8599-c781a677a996" providerId="ADAL" clId="{1B7CF67B-5515-4C9F-825D-072B1C4F5900}" dt="2021-11-18T08:54:10.488" v="789" actId="26606"/>
          <ac:spMkLst>
            <pc:docMk/>
            <pc:sldMk cId="1943756776" sldId="320"/>
            <ac:spMk id="121" creationId="{821D617F-6599-4280-BD69-851F34B09BBA}"/>
          </ac:spMkLst>
        </pc:spChg>
        <pc:spChg chg="add mod">
          <ac:chgData name="Andreas" userId="9d9beba6-c052-407a-8599-c781a677a996" providerId="ADAL" clId="{1B7CF67B-5515-4C9F-825D-072B1C4F5900}" dt="2021-11-18T08:54:10.488" v="789" actId="26606"/>
          <ac:spMkLst>
            <pc:docMk/>
            <pc:sldMk cId="1943756776" sldId="320"/>
            <ac:spMk id="123" creationId="{A759381E-7235-4BFB-964D-B0C05B3625A6}"/>
          </ac:spMkLst>
        </pc:spChg>
        <pc:spChg chg="add mod">
          <ac:chgData name="Andreas" userId="9d9beba6-c052-407a-8599-c781a677a996" providerId="ADAL" clId="{1B7CF67B-5515-4C9F-825D-072B1C4F5900}" dt="2021-11-18T08:54:10.488" v="789" actId="26606"/>
          <ac:spMkLst>
            <pc:docMk/>
            <pc:sldMk cId="1943756776" sldId="320"/>
            <ac:spMk id="125" creationId="{1302DDBF-2E86-4378-8292-511F4F925AF8}"/>
          </ac:spMkLst>
        </pc:spChg>
        <pc:spChg chg="mod ord">
          <ac:chgData name="Andreas" userId="9d9beba6-c052-407a-8599-c781a677a996" providerId="ADAL" clId="{1B7CF67B-5515-4C9F-825D-072B1C4F5900}" dt="2021-11-18T08:54:10.488" v="789" actId="26606"/>
          <ac:spMkLst>
            <pc:docMk/>
            <pc:sldMk cId="1943756776" sldId="320"/>
            <ac:spMk id="180" creationId="{00000000-0000-0000-0000-000000000000}"/>
          </ac:spMkLst>
        </pc:spChg>
        <pc:picChg chg="mod">
          <ac:chgData name="Andreas" userId="9d9beba6-c052-407a-8599-c781a677a996" providerId="ADAL" clId="{1B7CF67B-5515-4C9F-825D-072B1C4F5900}" dt="2021-11-18T08:54:10.488" v="789" actId="26606"/>
          <ac:picMkLst>
            <pc:docMk/>
            <pc:sldMk cId="1943756776" sldId="320"/>
            <ac:picMk id="5" creationId="{A69233D9-8854-4530-A5F8-BF5C008AC580}"/>
          </ac:picMkLst>
        </pc:picChg>
      </pc:sldChg>
      <pc:sldChg chg="addSp modSp add mod modTransition chgLayout">
        <pc:chgData name="Andreas" userId="9d9beba6-c052-407a-8599-c781a677a996" providerId="ADAL" clId="{1B7CF67B-5515-4C9F-825D-072B1C4F5900}" dt="2021-11-18T09:02:33.820" v="863" actId="1076"/>
        <pc:sldMkLst>
          <pc:docMk/>
          <pc:sldMk cId="2193397925" sldId="321"/>
        </pc:sldMkLst>
        <pc:spChg chg="add mod">
          <ac:chgData name="Andreas" userId="9d9beba6-c052-407a-8599-c781a677a996" providerId="ADAL" clId="{1B7CF67B-5515-4C9F-825D-072B1C4F5900}" dt="2021-11-18T09:02:33.820" v="863" actId="1076"/>
          <ac:spMkLst>
            <pc:docMk/>
            <pc:sldMk cId="2193397925" sldId="321"/>
            <ac:spMk id="4" creationId="{1F7F23C9-8CB3-4E0E-8AC8-1BF72A575EDA}"/>
          </ac:spMkLst>
        </pc:spChg>
        <pc:spChg chg="add mod">
          <ac:chgData name="Andreas" userId="9d9beba6-c052-407a-8599-c781a677a996" providerId="ADAL" clId="{1B7CF67B-5515-4C9F-825D-072B1C4F5900}" dt="2021-11-18T09:02:18.725" v="859" actId="26606"/>
          <ac:spMkLst>
            <pc:docMk/>
            <pc:sldMk cId="2193397925" sldId="321"/>
            <ac:spMk id="121" creationId="{38EF02AF-13E6-4C8A-9A23-FA5ADF83AB8A}"/>
          </ac:spMkLst>
        </pc:spChg>
        <pc:spChg chg="add mod">
          <ac:chgData name="Andreas" userId="9d9beba6-c052-407a-8599-c781a677a996" providerId="ADAL" clId="{1B7CF67B-5515-4C9F-825D-072B1C4F5900}" dt="2021-11-18T09:02:18.725" v="859" actId="26606"/>
          <ac:spMkLst>
            <pc:docMk/>
            <pc:sldMk cId="2193397925" sldId="321"/>
            <ac:spMk id="123" creationId="{46E50F3F-88C3-444B-8E62-7F5193C96359}"/>
          </ac:spMkLst>
        </pc:spChg>
        <pc:spChg chg="mod">
          <ac:chgData name="Andreas" userId="9d9beba6-c052-407a-8599-c781a677a996" providerId="ADAL" clId="{1B7CF67B-5515-4C9F-825D-072B1C4F5900}" dt="2021-11-18T09:02:28.038" v="862" actId="14100"/>
          <ac:spMkLst>
            <pc:docMk/>
            <pc:sldMk cId="2193397925" sldId="321"/>
            <ac:spMk id="180" creationId="{00000000-0000-0000-0000-000000000000}"/>
          </ac:spMkLst>
        </pc:spChg>
        <pc:picChg chg="mod ord">
          <ac:chgData name="Andreas" userId="9d9beba6-c052-407a-8599-c781a677a996" providerId="ADAL" clId="{1B7CF67B-5515-4C9F-825D-072B1C4F5900}" dt="2021-11-18T09:02:22.721" v="860" actId="1076"/>
          <ac:picMkLst>
            <pc:docMk/>
            <pc:sldMk cId="2193397925" sldId="321"/>
            <ac:picMk id="3" creationId="{E32A7310-4D60-47D1-9BE7-41199B2BB517}"/>
          </ac:picMkLst>
        </pc:picChg>
      </pc:sldChg>
      <pc:sldChg chg="addSp modSp add mod modTransition chgLayout">
        <pc:chgData name="Andreas" userId="9d9beba6-c052-407a-8599-c781a677a996" providerId="ADAL" clId="{1B7CF67B-5515-4C9F-825D-072B1C4F5900}" dt="2021-11-18T09:02:45.926" v="867" actId="1076"/>
        <pc:sldMkLst>
          <pc:docMk/>
          <pc:sldMk cId="3233079612" sldId="322"/>
        </pc:sldMkLst>
        <pc:spChg chg="add mod">
          <ac:chgData name="Andreas" userId="9d9beba6-c052-407a-8599-c781a677a996" providerId="ADAL" clId="{1B7CF67B-5515-4C9F-825D-072B1C4F5900}" dt="2021-11-18T09:02:39.484" v="864" actId="26606"/>
          <ac:spMkLst>
            <pc:docMk/>
            <pc:sldMk cId="3233079612" sldId="322"/>
            <ac:spMk id="122" creationId="{76AA4327-48FE-4366-8FEE-6CDF6EE47159}"/>
          </ac:spMkLst>
        </pc:spChg>
        <pc:spChg chg="add mod">
          <ac:chgData name="Andreas" userId="9d9beba6-c052-407a-8599-c781a677a996" providerId="ADAL" clId="{1B7CF67B-5515-4C9F-825D-072B1C4F5900}" dt="2021-11-18T09:02:39.484" v="864" actId="26606"/>
          <ac:spMkLst>
            <pc:docMk/>
            <pc:sldMk cId="3233079612" sldId="322"/>
            <ac:spMk id="124" creationId="{041176DA-10F9-4F2E-8FA5-4A59C40A387B}"/>
          </ac:spMkLst>
        </pc:spChg>
        <pc:spChg chg="mod">
          <ac:chgData name="Andreas" userId="9d9beba6-c052-407a-8599-c781a677a996" providerId="ADAL" clId="{1B7CF67B-5515-4C9F-825D-072B1C4F5900}" dt="2021-11-18T09:02:44.110" v="866" actId="14100"/>
          <ac:spMkLst>
            <pc:docMk/>
            <pc:sldMk cId="3233079612" sldId="322"/>
            <ac:spMk id="180" creationId="{00000000-0000-0000-0000-000000000000}"/>
          </ac:spMkLst>
        </pc:spChg>
        <pc:spChg chg="mod">
          <ac:chgData name="Andreas" userId="9d9beba6-c052-407a-8599-c781a677a996" providerId="ADAL" clId="{1B7CF67B-5515-4C9F-825D-072B1C4F5900}" dt="2021-11-18T09:02:39.484" v="864" actId="26606"/>
          <ac:spMkLst>
            <pc:docMk/>
            <pc:sldMk cId="3233079612" sldId="322"/>
            <ac:spMk id="181" creationId="{00000000-0000-0000-0000-000000000000}"/>
          </ac:spMkLst>
        </pc:spChg>
        <pc:picChg chg="mod ord">
          <ac:chgData name="Andreas" userId="9d9beba6-c052-407a-8599-c781a677a996" providerId="ADAL" clId="{1B7CF67B-5515-4C9F-825D-072B1C4F5900}" dt="2021-11-18T09:02:45.926" v="867" actId="1076"/>
          <ac:picMkLst>
            <pc:docMk/>
            <pc:sldMk cId="3233079612" sldId="322"/>
            <ac:picMk id="6" creationId="{4E542C78-57B8-4C47-876C-EDCB2719A23F}"/>
          </ac:picMkLst>
        </pc:picChg>
      </pc:sldChg>
      <pc:sldChg chg="addSp delSp modSp add mod modTransition chgLayout">
        <pc:chgData name="Andreas" userId="9d9beba6-c052-407a-8599-c781a677a996" providerId="ADAL" clId="{1B7CF67B-5515-4C9F-825D-072B1C4F5900}" dt="2021-11-18T09:02:50.898" v="868" actId="26606"/>
        <pc:sldMkLst>
          <pc:docMk/>
          <pc:sldMk cId="1874744215" sldId="323"/>
        </pc:sldMkLst>
        <pc:spChg chg="add del mod">
          <ac:chgData name="Andreas" userId="9d9beba6-c052-407a-8599-c781a677a996" providerId="ADAL" clId="{1B7CF67B-5515-4C9F-825D-072B1C4F5900}" dt="2021-11-18T08:55:04.317" v="799" actId="478"/>
          <ac:spMkLst>
            <pc:docMk/>
            <pc:sldMk cId="1874744215" sldId="323"/>
            <ac:spMk id="122" creationId="{F808BEFB-A0E6-411F-A3ED-F04E03763063}"/>
          </ac:spMkLst>
        </pc:spChg>
        <pc:spChg chg="add mod">
          <ac:chgData name="Andreas" userId="9d9beba6-c052-407a-8599-c781a677a996" providerId="ADAL" clId="{1B7CF67B-5515-4C9F-825D-072B1C4F5900}" dt="2021-11-18T09:02:50.898" v="868" actId="26606"/>
          <ac:spMkLst>
            <pc:docMk/>
            <pc:sldMk cId="1874744215" sldId="323"/>
            <ac:spMk id="124" creationId="{C1568B3D-4042-4C64-9AE8-14823A400AC0}"/>
          </ac:spMkLst>
        </pc:spChg>
        <pc:spChg chg="add mod">
          <ac:chgData name="Andreas" userId="9d9beba6-c052-407a-8599-c781a677a996" providerId="ADAL" clId="{1B7CF67B-5515-4C9F-825D-072B1C4F5900}" dt="2021-11-18T09:02:50.898" v="868" actId="26606"/>
          <ac:spMkLst>
            <pc:docMk/>
            <pc:sldMk cId="1874744215" sldId="323"/>
            <ac:spMk id="126" creationId="{E42E47B7-DE52-4547-B3F5-7CB888386888}"/>
          </ac:spMkLst>
        </pc:spChg>
        <pc:spChg chg="mod ord">
          <ac:chgData name="Andreas" userId="9d9beba6-c052-407a-8599-c781a677a996" providerId="ADAL" clId="{1B7CF67B-5515-4C9F-825D-072B1C4F5900}" dt="2021-11-18T09:02:50.898" v="868" actId="26606"/>
          <ac:spMkLst>
            <pc:docMk/>
            <pc:sldMk cId="1874744215" sldId="323"/>
            <ac:spMk id="180" creationId="{00000000-0000-0000-0000-000000000000}"/>
          </ac:spMkLst>
        </pc:spChg>
        <pc:spChg chg="mod">
          <ac:chgData name="Andreas" userId="9d9beba6-c052-407a-8599-c781a677a996" providerId="ADAL" clId="{1B7CF67B-5515-4C9F-825D-072B1C4F5900}" dt="2021-11-18T09:02:50.898" v="868" actId="26606"/>
          <ac:spMkLst>
            <pc:docMk/>
            <pc:sldMk cId="1874744215" sldId="323"/>
            <ac:spMk id="181" creationId="{00000000-0000-0000-0000-000000000000}"/>
          </ac:spMkLst>
        </pc:spChg>
        <pc:spChg chg="add mod">
          <ac:chgData name="Andreas" userId="9d9beba6-c052-407a-8599-c781a677a996" providerId="ADAL" clId="{1B7CF67B-5515-4C9F-825D-072B1C4F5900}" dt="2021-11-18T09:02:50.898" v="868" actId="26606"/>
          <ac:spMkLst>
            <pc:docMk/>
            <pc:sldMk cId="1874744215" sldId="323"/>
            <ac:spMk id="186" creationId="{C5F1ECF1-89CB-4611-B52F-79858E3BD6DF}"/>
          </ac:spMkLst>
        </pc:spChg>
      </pc:sldChg>
      <pc:sldChg chg="addSp modSp add mod modTransition modClrScheme chgLayout">
        <pc:chgData name="Andreas" userId="9d9beba6-c052-407a-8599-c781a677a996" providerId="ADAL" clId="{1B7CF67B-5515-4C9F-825D-072B1C4F5900}" dt="2021-11-18T08:55:13.076" v="800" actId="26606"/>
        <pc:sldMkLst>
          <pc:docMk/>
          <pc:sldMk cId="3593672304" sldId="324"/>
        </pc:sldMkLst>
        <pc:spChg chg="add mod">
          <ac:chgData name="Andreas" userId="9d9beba6-c052-407a-8599-c781a677a996" providerId="ADAL" clId="{1B7CF67B-5515-4C9F-825D-072B1C4F5900}" dt="2021-11-18T08:55:13.076" v="800" actId="26606"/>
          <ac:spMkLst>
            <pc:docMk/>
            <pc:sldMk cId="3593672304" sldId="324"/>
            <ac:spMk id="122" creationId="{6D2C0D96-0000-4199-ACB2-E89BD9D924BE}"/>
          </ac:spMkLst>
        </pc:spChg>
        <pc:spChg chg="add mod">
          <ac:chgData name="Andreas" userId="9d9beba6-c052-407a-8599-c781a677a996" providerId="ADAL" clId="{1B7CF67B-5515-4C9F-825D-072B1C4F5900}" dt="2021-11-18T08:55:13.076" v="800" actId="26606"/>
          <ac:spMkLst>
            <pc:docMk/>
            <pc:sldMk cId="3593672304" sldId="324"/>
            <ac:spMk id="124" creationId="{0622D28A-91AA-4FD6-878A-DB5690C113A0}"/>
          </ac:spMkLst>
        </pc:spChg>
        <pc:spChg chg="add mod">
          <ac:chgData name="Andreas" userId="9d9beba6-c052-407a-8599-c781a677a996" providerId="ADAL" clId="{1B7CF67B-5515-4C9F-825D-072B1C4F5900}" dt="2021-11-18T08:55:13.076" v="800" actId="26606"/>
          <ac:spMkLst>
            <pc:docMk/>
            <pc:sldMk cId="3593672304" sldId="324"/>
            <ac:spMk id="126" creationId="{B747894F-D2D2-471B-9986-2062DFE18466}"/>
          </ac:spMkLst>
        </pc:spChg>
        <pc:spChg chg="mod ord">
          <ac:chgData name="Andreas" userId="9d9beba6-c052-407a-8599-c781a677a996" providerId="ADAL" clId="{1B7CF67B-5515-4C9F-825D-072B1C4F5900}" dt="2021-11-18T08:55:13.076" v="800" actId="26606"/>
          <ac:spMkLst>
            <pc:docMk/>
            <pc:sldMk cId="3593672304" sldId="324"/>
            <ac:spMk id="180" creationId="{00000000-0000-0000-0000-000000000000}"/>
          </ac:spMkLst>
        </pc:spChg>
        <pc:spChg chg="mod">
          <ac:chgData name="Andreas" userId="9d9beba6-c052-407a-8599-c781a677a996" providerId="ADAL" clId="{1B7CF67B-5515-4C9F-825D-072B1C4F5900}" dt="2021-11-18T08:55:13.076" v="800" actId="26606"/>
          <ac:spMkLst>
            <pc:docMk/>
            <pc:sldMk cId="3593672304" sldId="324"/>
            <ac:spMk id="181" creationId="{00000000-0000-0000-0000-000000000000}"/>
          </ac:spMkLst>
        </pc:spChg>
      </pc:sldChg>
      <pc:sldChg chg="addSp modSp add mod modTransition modClrScheme chgLayout">
        <pc:chgData name="Andreas" userId="9d9beba6-c052-407a-8599-c781a677a996" providerId="ADAL" clId="{1B7CF67B-5515-4C9F-825D-072B1C4F5900}" dt="2021-11-18T08:55:29.768" v="804" actId="1076"/>
        <pc:sldMkLst>
          <pc:docMk/>
          <pc:sldMk cId="2313639849" sldId="325"/>
        </pc:sldMkLst>
        <pc:spChg chg="add mod">
          <ac:chgData name="Andreas" userId="9d9beba6-c052-407a-8599-c781a677a996" providerId="ADAL" clId="{1B7CF67B-5515-4C9F-825D-072B1C4F5900}" dt="2021-11-18T08:55:19.608" v="801" actId="26606"/>
          <ac:spMkLst>
            <pc:docMk/>
            <pc:sldMk cId="2313639849" sldId="325"/>
            <ac:spMk id="122" creationId="{103E901B-5E72-4D67-B9E2-3F01AC959EA1}"/>
          </ac:spMkLst>
        </pc:spChg>
        <pc:spChg chg="add mod">
          <ac:chgData name="Andreas" userId="9d9beba6-c052-407a-8599-c781a677a996" providerId="ADAL" clId="{1B7CF67B-5515-4C9F-825D-072B1C4F5900}" dt="2021-11-18T08:55:19.608" v="801" actId="26606"/>
          <ac:spMkLst>
            <pc:docMk/>
            <pc:sldMk cId="2313639849" sldId="325"/>
            <ac:spMk id="124" creationId="{22B13B22-BA8A-4176-A6CE-B46EE279908A}"/>
          </ac:spMkLst>
        </pc:spChg>
        <pc:spChg chg="mod">
          <ac:chgData name="Andreas" userId="9d9beba6-c052-407a-8599-c781a677a996" providerId="ADAL" clId="{1B7CF67B-5515-4C9F-825D-072B1C4F5900}" dt="2021-11-18T08:55:27.418" v="803" actId="14100"/>
          <ac:spMkLst>
            <pc:docMk/>
            <pc:sldMk cId="2313639849" sldId="325"/>
            <ac:spMk id="180" creationId="{00000000-0000-0000-0000-000000000000}"/>
          </ac:spMkLst>
        </pc:spChg>
        <pc:spChg chg="mod">
          <ac:chgData name="Andreas" userId="9d9beba6-c052-407a-8599-c781a677a996" providerId="ADAL" clId="{1B7CF67B-5515-4C9F-825D-072B1C4F5900}" dt="2021-11-18T08:55:19.608" v="801" actId="26606"/>
          <ac:spMkLst>
            <pc:docMk/>
            <pc:sldMk cId="2313639849" sldId="325"/>
            <ac:spMk id="181" creationId="{00000000-0000-0000-0000-000000000000}"/>
          </ac:spMkLst>
        </pc:spChg>
        <pc:picChg chg="mod">
          <ac:chgData name="Andreas" userId="9d9beba6-c052-407a-8599-c781a677a996" providerId="ADAL" clId="{1B7CF67B-5515-4C9F-825D-072B1C4F5900}" dt="2021-11-18T08:55:29.768" v="804" actId="1076"/>
          <ac:picMkLst>
            <pc:docMk/>
            <pc:sldMk cId="2313639849" sldId="325"/>
            <ac:picMk id="5" creationId="{5421E0DE-4470-4DC3-9833-70EB5DAE7B89}"/>
          </ac:picMkLst>
        </pc:picChg>
      </pc:sldChg>
      <pc:sldChg chg="addSp modSp add mod modTransition chgLayout">
        <pc:chgData name="Andreas" userId="9d9beba6-c052-407a-8599-c781a677a996" providerId="ADAL" clId="{1B7CF67B-5515-4C9F-825D-072B1C4F5900}" dt="2021-11-18T09:03:01.550" v="871" actId="14100"/>
        <pc:sldMkLst>
          <pc:docMk/>
          <pc:sldMk cId="519232677" sldId="326"/>
        </pc:sldMkLst>
        <pc:spChg chg="add mod">
          <ac:chgData name="Andreas" userId="9d9beba6-c052-407a-8599-c781a677a996" providerId="ADAL" clId="{1B7CF67B-5515-4C9F-825D-072B1C4F5900}" dt="2021-11-18T09:02:57.019" v="869" actId="26606"/>
          <ac:spMkLst>
            <pc:docMk/>
            <pc:sldMk cId="519232677" sldId="326"/>
            <ac:spMk id="122" creationId="{5B9E608D-6BB8-4678-82E2-4DA471CBB57D}"/>
          </ac:spMkLst>
        </pc:spChg>
        <pc:spChg chg="add mod">
          <ac:chgData name="Andreas" userId="9d9beba6-c052-407a-8599-c781a677a996" providerId="ADAL" clId="{1B7CF67B-5515-4C9F-825D-072B1C4F5900}" dt="2021-11-18T09:02:57.019" v="869" actId="26606"/>
          <ac:spMkLst>
            <pc:docMk/>
            <pc:sldMk cId="519232677" sldId="326"/>
            <ac:spMk id="124" creationId="{C61D88A5-3548-488E-B937-36B2D1D17C78}"/>
          </ac:spMkLst>
        </pc:spChg>
        <pc:spChg chg="mod">
          <ac:chgData name="Andreas" userId="9d9beba6-c052-407a-8599-c781a677a996" providerId="ADAL" clId="{1B7CF67B-5515-4C9F-825D-072B1C4F5900}" dt="2021-11-18T09:03:01.550" v="871" actId="14100"/>
          <ac:spMkLst>
            <pc:docMk/>
            <pc:sldMk cId="519232677" sldId="326"/>
            <ac:spMk id="180" creationId="{00000000-0000-0000-0000-000000000000}"/>
          </ac:spMkLst>
        </pc:spChg>
        <pc:spChg chg="mod">
          <ac:chgData name="Andreas" userId="9d9beba6-c052-407a-8599-c781a677a996" providerId="ADAL" clId="{1B7CF67B-5515-4C9F-825D-072B1C4F5900}" dt="2021-11-18T09:02:57.019" v="869" actId="26606"/>
          <ac:spMkLst>
            <pc:docMk/>
            <pc:sldMk cId="519232677" sldId="326"/>
            <ac:spMk id="181" creationId="{00000000-0000-0000-0000-000000000000}"/>
          </ac:spMkLst>
        </pc:spChg>
        <pc:picChg chg="mod ord">
          <ac:chgData name="Andreas" userId="9d9beba6-c052-407a-8599-c781a677a996" providerId="ADAL" clId="{1B7CF67B-5515-4C9F-825D-072B1C4F5900}" dt="2021-11-18T09:02:57.019" v="869" actId="26606"/>
          <ac:picMkLst>
            <pc:docMk/>
            <pc:sldMk cId="519232677" sldId="326"/>
            <ac:picMk id="6" creationId="{9FCD9FD2-6585-4E21-8669-58DF5A9CD2C4}"/>
          </ac:picMkLst>
        </pc:picChg>
      </pc:sldChg>
      <pc:sldChg chg="addSp modSp add mod modTransition modClrScheme chgLayout">
        <pc:chgData name="Andreas" userId="9d9beba6-c052-407a-8599-c781a677a996" providerId="ADAL" clId="{1B7CF67B-5515-4C9F-825D-072B1C4F5900}" dt="2021-11-18T08:56:19.870" v="816" actId="1076"/>
        <pc:sldMkLst>
          <pc:docMk/>
          <pc:sldMk cId="2590330072" sldId="327"/>
        </pc:sldMkLst>
        <pc:spChg chg="add mod">
          <ac:chgData name="Andreas" userId="9d9beba6-c052-407a-8599-c781a677a996" providerId="ADAL" clId="{1B7CF67B-5515-4C9F-825D-072B1C4F5900}" dt="2021-11-18T08:55:48.623" v="808" actId="26606"/>
          <ac:spMkLst>
            <pc:docMk/>
            <pc:sldMk cId="2590330072" sldId="327"/>
            <ac:spMk id="122" creationId="{373BD7D3-58F6-4A66-9E36-3E6C9569C324}"/>
          </ac:spMkLst>
        </pc:spChg>
        <pc:spChg chg="add mod">
          <ac:chgData name="Andreas" userId="9d9beba6-c052-407a-8599-c781a677a996" providerId="ADAL" clId="{1B7CF67B-5515-4C9F-825D-072B1C4F5900}" dt="2021-11-18T08:55:48.623" v="808" actId="26606"/>
          <ac:spMkLst>
            <pc:docMk/>
            <pc:sldMk cId="2590330072" sldId="327"/>
            <ac:spMk id="124" creationId="{261660C3-30DC-47D3-9DB5-9A4EA8586CFA}"/>
          </ac:spMkLst>
        </pc:spChg>
        <pc:spChg chg="mod">
          <ac:chgData name="Andreas" userId="9d9beba6-c052-407a-8599-c781a677a996" providerId="ADAL" clId="{1B7CF67B-5515-4C9F-825D-072B1C4F5900}" dt="2021-11-18T08:56:03.858" v="813" actId="14100"/>
          <ac:spMkLst>
            <pc:docMk/>
            <pc:sldMk cId="2590330072" sldId="327"/>
            <ac:spMk id="180" creationId="{00000000-0000-0000-0000-000000000000}"/>
          </ac:spMkLst>
        </pc:spChg>
        <pc:spChg chg="mod">
          <ac:chgData name="Andreas" userId="9d9beba6-c052-407a-8599-c781a677a996" providerId="ADAL" clId="{1B7CF67B-5515-4C9F-825D-072B1C4F5900}" dt="2021-11-18T08:56:08.644" v="814" actId="1076"/>
          <ac:spMkLst>
            <pc:docMk/>
            <pc:sldMk cId="2590330072" sldId="327"/>
            <ac:spMk id="181" creationId="{00000000-0000-0000-0000-000000000000}"/>
          </ac:spMkLst>
        </pc:spChg>
        <pc:picChg chg="mod">
          <ac:chgData name="Andreas" userId="9d9beba6-c052-407a-8599-c781a677a996" providerId="ADAL" clId="{1B7CF67B-5515-4C9F-825D-072B1C4F5900}" dt="2021-11-18T08:56:19.870" v="816" actId="1076"/>
          <ac:picMkLst>
            <pc:docMk/>
            <pc:sldMk cId="2590330072" sldId="327"/>
            <ac:picMk id="5" creationId="{8C5ED1B6-C473-4FC5-834C-F9E21DB68B03}"/>
          </ac:picMkLst>
        </pc:picChg>
      </pc:sldChg>
      <pc:sldChg chg="modSp mod">
        <pc:chgData name="Andreas" userId="9d9beba6-c052-407a-8599-c781a677a996" providerId="ADAL" clId="{1B7CF67B-5515-4C9F-825D-072B1C4F5900}" dt="2021-11-18T08:12:26.126" v="57" actId="20577"/>
        <pc:sldMkLst>
          <pc:docMk/>
          <pc:sldMk cId="697137886" sldId="679"/>
        </pc:sldMkLst>
        <pc:spChg chg="mod">
          <ac:chgData name="Andreas" userId="9d9beba6-c052-407a-8599-c781a677a996" providerId="ADAL" clId="{1B7CF67B-5515-4C9F-825D-072B1C4F5900}" dt="2021-11-18T08:12:17.287" v="22" actId="20577"/>
          <ac:spMkLst>
            <pc:docMk/>
            <pc:sldMk cId="697137886" sldId="679"/>
            <ac:spMk id="2" creationId="{00000000-0000-0000-0000-000000000000}"/>
          </ac:spMkLst>
        </pc:spChg>
        <pc:spChg chg="mod">
          <ac:chgData name="Andreas" userId="9d9beba6-c052-407a-8599-c781a677a996" providerId="ADAL" clId="{1B7CF67B-5515-4C9F-825D-072B1C4F5900}" dt="2021-11-18T08:12:26.126" v="57" actId="20577"/>
          <ac:spMkLst>
            <pc:docMk/>
            <pc:sldMk cId="697137886" sldId="679"/>
            <ac:spMk id="3" creationId="{00000000-0000-0000-0000-000000000000}"/>
          </ac:spMkLst>
        </pc:spChg>
      </pc:sldChg>
      <pc:sldChg chg="addSp delSp modSp add del mod">
        <pc:chgData name="Andreas" userId="9d9beba6-c052-407a-8599-c781a677a996" providerId="ADAL" clId="{1B7CF67B-5515-4C9F-825D-072B1C4F5900}" dt="2021-11-18T08:21:03.343" v="289" actId="478"/>
        <pc:sldMkLst>
          <pc:docMk/>
          <pc:sldMk cId="2087783305" sldId="730"/>
        </pc:sldMkLst>
        <pc:spChg chg="del">
          <ac:chgData name="Andreas" userId="9d9beba6-c052-407a-8599-c781a677a996" providerId="ADAL" clId="{1B7CF67B-5515-4C9F-825D-072B1C4F5900}" dt="2021-11-18T08:21:03.343" v="289" actId="478"/>
          <ac:spMkLst>
            <pc:docMk/>
            <pc:sldMk cId="2087783305" sldId="730"/>
            <ac:spMk id="2" creationId="{D90303DA-DAA4-4B31-8D92-005E3CB21D11}"/>
          </ac:spMkLst>
        </pc:spChg>
        <pc:spChg chg="mod">
          <ac:chgData name="Andreas" userId="9d9beba6-c052-407a-8599-c781a677a996" providerId="ADAL" clId="{1B7CF67B-5515-4C9F-825D-072B1C4F5900}" dt="2021-11-18T08:12:37.935" v="63" actId="20577"/>
          <ac:spMkLst>
            <pc:docMk/>
            <pc:sldMk cId="2087783305" sldId="730"/>
            <ac:spMk id="8" creationId="{F6664A8B-FDC6-48AB-8C23-E58136970003}"/>
          </ac:spMkLst>
        </pc:spChg>
        <pc:spChg chg="del">
          <ac:chgData name="Andreas" userId="9d9beba6-c052-407a-8599-c781a677a996" providerId="ADAL" clId="{1B7CF67B-5515-4C9F-825D-072B1C4F5900}" dt="2021-11-18T08:12:42.888" v="64" actId="478"/>
          <ac:spMkLst>
            <pc:docMk/>
            <pc:sldMk cId="2087783305" sldId="730"/>
            <ac:spMk id="10" creationId="{DA240B4E-24DB-479F-8CF5-DA6856B72C6A}"/>
          </ac:spMkLst>
        </pc:spChg>
        <pc:spChg chg="mod">
          <ac:chgData name="Andreas" userId="9d9beba6-c052-407a-8599-c781a677a996" providerId="ADAL" clId="{1B7CF67B-5515-4C9F-825D-072B1C4F5900}" dt="2021-11-18T08:13:33.960" v="109" actId="20577"/>
          <ac:spMkLst>
            <pc:docMk/>
            <pc:sldMk cId="2087783305" sldId="730"/>
            <ac:spMk id="11" creationId="{618A10C5-431B-4229-87F2-69FEAE5298F3}"/>
          </ac:spMkLst>
        </pc:spChg>
        <pc:spChg chg="mod">
          <ac:chgData name="Andreas" userId="9d9beba6-c052-407a-8599-c781a677a996" providerId="ADAL" clId="{1B7CF67B-5515-4C9F-825D-072B1C4F5900}" dt="2021-11-18T08:13:38.323" v="125" actId="20577"/>
          <ac:spMkLst>
            <pc:docMk/>
            <pc:sldMk cId="2087783305" sldId="730"/>
            <ac:spMk id="12" creationId="{F4823D76-F745-416B-B271-20B77344DBD4}"/>
          </ac:spMkLst>
        </pc:spChg>
        <pc:spChg chg="add mod">
          <ac:chgData name="Andreas" userId="9d9beba6-c052-407a-8599-c781a677a996" providerId="ADAL" clId="{1B7CF67B-5515-4C9F-825D-072B1C4F5900}" dt="2021-11-18T08:13:26.417" v="91" actId="6549"/>
          <ac:spMkLst>
            <pc:docMk/>
            <pc:sldMk cId="2087783305" sldId="730"/>
            <ac:spMk id="13" creationId="{65A2EA35-6E56-4E08-BAAC-9895D08AD256}"/>
          </ac:spMkLst>
        </pc:spChg>
        <pc:spChg chg="add mod">
          <ac:chgData name="Andreas" userId="9d9beba6-c052-407a-8599-c781a677a996" providerId="ADAL" clId="{1B7CF67B-5515-4C9F-825D-072B1C4F5900}" dt="2021-11-18T08:13:04.574" v="68" actId="571"/>
          <ac:spMkLst>
            <pc:docMk/>
            <pc:sldMk cId="2087783305" sldId="730"/>
            <ac:spMk id="14" creationId="{669039FB-DE0E-4877-BE3E-28A234978BD8}"/>
          </ac:spMkLst>
        </pc:spChg>
        <pc:spChg chg="add mod">
          <ac:chgData name="Andreas" userId="9d9beba6-c052-407a-8599-c781a677a996" providerId="ADAL" clId="{1B7CF67B-5515-4C9F-825D-072B1C4F5900}" dt="2021-11-18T08:13:53.480" v="201" actId="20577"/>
          <ac:spMkLst>
            <pc:docMk/>
            <pc:sldMk cId="2087783305" sldId="730"/>
            <ac:spMk id="15" creationId="{3C76393C-FC96-4E11-96C8-83D73865BFF3}"/>
          </ac:spMkLst>
        </pc:spChg>
        <pc:spChg chg="add mod">
          <ac:chgData name="Andreas" userId="9d9beba6-c052-407a-8599-c781a677a996" providerId="ADAL" clId="{1B7CF67B-5515-4C9F-825D-072B1C4F5900}" dt="2021-11-18T08:14:09.638" v="248" actId="20577"/>
          <ac:spMkLst>
            <pc:docMk/>
            <pc:sldMk cId="2087783305" sldId="730"/>
            <ac:spMk id="16" creationId="{B7D7E413-8D33-460F-9286-2FF50DA438BA}"/>
          </ac:spMkLst>
        </pc:spChg>
        <pc:spChg chg="add mod">
          <ac:chgData name="Andreas" userId="9d9beba6-c052-407a-8599-c781a677a996" providerId="ADAL" clId="{1B7CF67B-5515-4C9F-825D-072B1C4F5900}" dt="2021-11-18T08:13:43.964" v="151" actId="20577"/>
          <ac:spMkLst>
            <pc:docMk/>
            <pc:sldMk cId="2087783305" sldId="730"/>
            <ac:spMk id="17" creationId="{D313F849-693C-4168-A593-04E7F0D87DE1}"/>
          </ac:spMkLst>
        </pc:spChg>
        <pc:spChg chg="add mod">
          <ac:chgData name="Andreas" userId="9d9beba6-c052-407a-8599-c781a677a996" providerId="ADAL" clId="{1B7CF67B-5515-4C9F-825D-072B1C4F5900}" dt="2021-11-18T08:14:13.310" v="258" actId="20577"/>
          <ac:spMkLst>
            <pc:docMk/>
            <pc:sldMk cId="2087783305" sldId="730"/>
            <ac:spMk id="18" creationId="{A3DD34F7-6ECE-4E5F-A04C-254F1D3C0EB6}"/>
          </ac:spMkLst>
        </pc:spChg>
      </pc:sldChg>
      <pc:sldChg chg="del">
        <pc:chgData name="Andreas" userId="9d9beba6-c052-407a-8599-c781a677a996" providerId="ADAL" clId="{1B7CF67B-5515-4C9F-825D-072B1C4F5900}" dt="2021-11-18T08:14:18.237" v="259" actId="47"/>
        <pc:sldMkLst>
          <pc:docMk/>
          <pc:sldMk cId="319856197" sldId="731"/>
        </pc:sldMkLst>
      </pc:sldChg>
      <pc:sldChg chg="add del">
        <pc:chgData name="Andreas" userId="9d9beba6-c052-407a-8599-c781a677a996" providerId="ADAL" clId="{1B7CF67B-5515-4C9F-825D-072B1C4F5900}" dt="2021-11-18T08:45:28.065" v="629" actId="47"/>
        <pc:sldMkLst>
          <pc:docMk/>
          <pc:sldMk cId="1655574538" sldId="731"/>
        </pc:sldMkLst>
      </pc:sldChg>
      <pc:sldChg chg="addSp delSp modSp add mod modTransition chgLayout">
        <pc:chgData name="Andreas" userId="9d9beba6-c052-407a-8599-c781a677a996" providerId="ADAL" clId="{1B7CF67B-5515-4C9F-825D-072B1C4F5900}" dt="2021-11-18T09:01:00.073" v="846" actId="166"/>
        <pc:sldMkLst>
          <pc:docMk/>
          <pc:sldMk cId="1184925497" sldId="732"/>
        </pc:sldMkLst>
        <pc:spChg chg="add mod">
          <ac:chgData name="Andreas" userId="9d9beba6-c052-407a-8599-c781a677a996" providerId="ADAL" clId="{1B7CF67B-5515-4C9F-825D-072B1C4F5900}" dt="2021-11-18T09:00:47.504" v="844" actId="26606"/>
          <ac:spMkLst>
            <pc:docMk/>
            <pc:sldMk cId="1184925497" sldId="732"/>
            <ac:spMk id="127" creationId="{784BCEB1-8105-4380-91FF-379600874C95}"/>
          </ac:spMkLst>
        </pc:spChg>
        <pc:spChg chg="mod ord">
          <ac:chgData name="Andreas" userId="9d9beba6-c052-407a-8599-c781a677a996" providerId="ADAL" clId="{1B7CF67B-5515-4C9F-825D-072B1C4F5900}" dt="2021-11-18T09:01:00.073" v="846" actId="166"/>
          <ac:spMkLst>
            <pc:docMk/>
            <pc:sldMk cId="1184925497" sldId="732"/>
            <ac:spMk id="185" creationId="{00000000-0000-0000-0000-000000000000}"/>
          </ac:spMkLst>
        </pc:spChg>
        <pc:spChg chg="mod">
          <ac:chgData name="Andreas" userId="9d9beba6-c052-407a-8599-c781a677a996" providerId="ADAL" clId="{1B7CF67B-5515-4C9F-825D-072B1C4F5900}" dt="2021-11-18T09:00:47.504" v="844" actId="26606"/>
          <ac:spMkLst>
            <pc:docMk/>
            <pc:sldMk cId="1184925497" sldId="732"/>
            <ac:spMk id="186" creationId="{00000000-0000-0000-0000-000000000000}"/>
          </ac:spMkLst>
        </pc:spChg>
        <pc:spChg chg="add mod">
          <ac:chgData name="Andreas" userId="9d9beba6-c052-407a-8599-c781a677a996" providerId="ADAL" clId="{1B7CF67B-5515-4C9F-825D-072B1C4F5900}" dt="2021-11-18T09:00:47.504" v="844" actId="26606"/>
          <ac:spMkLst>
            <pc:docMk/>
            <pc:sldMk cId="1184925497" sldId="732"/>
            <ac:spMk id="192" creationId="{A503FDDA-D84B-4716-81AF-C95B3D8C4545}"/>
          </ac:spMkLst>
        </pc:spChg>
        <pc:picChg chg="add mod ord">
          <ac:chgData name="Andreas" userId="9d9beba6-c052-407a-8599-c781a677a996" providerId="ADAL" clId="{1B7CF67B-5515-4C9F-825D-072B1C4F5900}" dt="2021-11-18T09:00:47.504" v="844" actId="26606"/>
          <ac:picMkLst>
            <pc:docMk/>
            <pc:sldMk cId="1184925497" sldId="732"/>
            <ac:picMk id="3" creationId="{F6EAD927-657C-4A55-A402-716F48D98067}"/>
          </ac:picMkLst>
        </pc:picChg>
        <pc:picChg chg="del">
          <ac:chgData name="Andreas" userId="9d9beba6-c052-407a-8599-c781a677a996" providerId="ADAL" clId="{1B7CF67B-5515-4C9F-825D-072B1C4F5900}" dt="2021-11-18T08:46:41.271" v="637" actId="478"/>
          <ac:picMkLst>
            <pc:docMk/>
            <pc:sldMk cId="1184925497" sldId="732"/>
            <ac:picMk id="188" creationId="{00000000-0000-0000-0000-000000000000}"/>
          </ac:picMkLst>
        </pc:picChg>
      </pc:sldChg>
      <pc:sldChg chg="del">
        <pc:chgData name="Andreas" userId="9d9beba6-c052-407a-8599-c781a677a996" providerId="ADAL" clId="{1B7CF67B-5515-4C9F-825D-072B1C4F5900}" dt="2021-11-18T08:14:18.958" v="260" actId="47"/>
        <pc:sldMkLst>
          <pc:docMk/>
          <pc:sldMk cId="3494972177" sldId="732"/>
        </pc:sldMkLst>
      </pc:sldChg>
      <pc:sldChg chg="del">
        <pc:chgData name="Andreas" userId="9d9beba6-c052-407a-8599-c781a677a996" providerId="ADAL" clId="{1B7CF67B-5515-4C9F-825D-072B1C4F5900}" dt="2021-11-18T08:14:19.402" v="261" actId="47"/>
        <pc:sldMkLst>
          <pc:docMk/>
          <pc:sldMk cId="608567130" sldId="733"/>
        </pc:sldMkLst>
      </pc:sldChg>
      <pc:sldChg chg="addSp delSp modSp add mod">
        <pc:chgData name="Andreas" userId="9d9beba6-c052-407a-8599-c781a677a996" providerId="ADAL" clId="{1B7CF67B-5515-4C9F-825D-072B1C4F5900}" dt="2021-11-18T09:00:37.062" v="843" actId="20577"/>
        <pc:sldMkLst>
          <pc:docMk/>
          <pc:sldMk cId="2202495698" sldId="733"/>
        </pc:sldMkLst>
        <pc:spChg chg="add del mod">
          <ac:chgData name="Andreas" userId="9d9beba6-c052-407a-8599-c781a677a996" providerId="ADAL" clId="{1B7CF67B-5515-4C9F-825D-072B1C4F5900}" dt="2021-11-18T09:00:15.480" v="839" actId="478"/>
          <ac:spMkLst>
            <pc:docMk/>
            <pc:sldMk cId="2202495698" sldId="733"/>
            <ac:spMk id="3" creationId="{364AF008-BA37-4F1A-A301-54B751AB1BB2}"/>
          </ac:spMkLst>
        </pc:spChg>
        <pc:spChg chg="mod">
          <ac:chgData name="Andreas" userId="9d9beba6-c052-407a-8599-c781a677a996" providerId="ADAL" clId="{1B7CF67B-5515-4C9F-825D-072B1C4F5900}" dt="2021-11-18T09:00:37.062" v="843" actId="20577"/>
          <ac:spMkLst>
            <pc:docMk/>
            <pc:sldMk cId="2202495698" sldId="733"/>
            <ac:spMk id="185" creationId="{00000000-0000-0000-0000-000000000000}"/>
          </ac:spMkLst>
        </pc:spChg>
        <pc:spChg chg="mod">
          <ac:chgData name="Andreas" userId="9d9beba6-c052-407a-8599-c781a677a996" providerId="ADAL" clId="{1B7CF67B-5515-4C9F-825D-072B1C4F5900}" dt="2021-11-18T09:00:24.830" v="840"/>
          <ac:spMkLst>
            <pc:docMk/>
            <pc:sldMk cId="2202495698" sldId="733"/>
            <ac:spMk id="186" creationId="{00000000-0000-0000-0000-000000000000}"/>
          </ac:spMkLst>
        </pc:spChg>
        <pc:picChg chg="add mod">
          <ac:chgData name="Andreas" userId="9d9beba6-c052-407a-8599-c781a677a996" providerId="ADAL" clId="{1B7CF67B-5515-4C9F-825D-072B1C4F5900}" dt="2021-11-18T09:00:13.611" v="838"/>
          <ac:picMkLst>
            <pc:docMk/>
            <pc:sldMk cId="2202495698" sldId="733"/>
            <ac:picMk id="9" creationId="{A869627E-596B-4F47-97F6-C70D2995C478}"/>
          </ac:picMkLst>
        </pc:picChg>
        <pc:picChg chg="del">
          <ac:chgData name="Andreas" userId="9d9beba6-c052-407a-8599-c781a677a996" providerId="ADAL" clId="{1B7CF67B-5515-4C9F-825D-072B1C4F5900}" dt="2021-11-18T09:00:12.649" v="837" actId="478"/>
          <ac:picMkLst>
            <pc:docMk/>
            <pc:sldMk cId="2202495698" sldId="733"/>
            <ac:picMk id="188" creationId="{00000000-0000-0000-0000-000000000000}"/>
          </ac:picMkLst>
        </pc:picChg>
      </pc:sldChg>
      <pc:sldChg chg="del">
        <pc:chgData name="Andreas" userId="9d9beba6-c052-407a-8599-c781a677a996" providerId="ADAL" clId="{1B7CF67B-5515-4C9F-825D-072B1C4F5900}" dt="2021-11-18T08:14:19.883" v="262" actId="47"/>
        <pc:sldMkLst>
          <pc:docMk/>
          <pc:sldMk cId="158431274" sldId="734"/>
        </pc:sldMkLst>
      </pc:sldChg>
      <pc:sldChg chg="del">
        <pc:chgData name="Andreas" userId="9d9beba6-c052-407a-8599-c781a677a996" providerId="ADAL" clId="{1B7CF67B-5515-4C9F-825D-072B1C4F5900}" dt="2021-11-18T08:14:20.400" v="263" actId="47"/>
        <pc:sldMkLst>
          <pc:docMk/>
          <pc:sldMk cId="801795982" sldId="735"/>
        </pc:sldMkLst>
      </pc:sldChg>
      <pc:sldChg chg="del">
        <pc:chgData name="Andreas" userId="9d9beba6-c052-407a-8599-c781a677a996" providerId="ADAL" clId="{1B7CF67B-5515-4C9F-825D-072B1C4F5900}" dt="2021-11-18T08:14:21.213" v="265" actId="47"/>
        <pc:sldMkLst>
          <pc:docMk/>
          <pc:sldMk cId="861506504" sldId="737"/>
        </pc:sldMkLst>
      </pc:sldChg>
      <pc:sldChg chg="del">
        <pc:chgData name="Andreas" userId="9d9beba6-c052-407a-8599-c781a677a996" providerId="ADAL" clId="{1B7CF67B-5515-4C9F-825D-072B1C4F5900}" dt="2021-11-18T08:14:21.992" v="266" actId="47"/>
        <pc:sldMkLst>
          <pc:docMk/>
          <pc:sldMk cId="830271729" sldId="738"/>
        </pc:sldMkLst>
      </pc:sldChg>
      <pc:sldChg chg="del">
        <pc:chgData name="Andreas" userId="9d9beba6-c052-407a-8599-c781a677a996" providerId="ADAL" clId="{1B7CF67B-5515-4C9F-825D-072B1C4F5900}" dt="2021-11-18T08:14:20.842" v="264" actId="47"/>
        <pc:sldMkLst>
          <pc:docMk/>
          <pc:sldMk cId="1670401631" sldId="739"/>
        </pc:sldMkLst>
      </pc:sldChg>
      <pc:sldChg chg="add del">
        <pc:chgData name="Andreas" userId="9d9beba6-c052-407a-8599-c781a677a996" providerId="ADAL" clId="{1B7CF67B-5515-4C9F-825D-072B1C4F5900}" dt="2021-11-18T08:16:49.694" v="274" actId="47"/>
        <pc:sldMkLst>
          <pc:docMk/>
          <pc:sldMk cId="3559999478" sldId="776"/>
        </pc:sldMkLst>
      </pc:sldChg>
      <pc:sldChg chg="del">
        <pc:chgData name="Andreas" userId="9d9beba6-c052-407a-8599-c781a677a996" providerId="ADAL" clId="{1B7CF67B-5515-4C9F-825D-072B1C4F5900}" dt="2021-11-18T08:16:51.325" v="275" actId="47"/>
        <pc:sldMkLst>
          <pc:docMk/>
          <pc:sldMk cId="3224449945" sldId="777"/>
        </pc:sldMkLst>
      </pc:sldChg>
      <pc:sldChg chg="del">
        <pc:chgData name="Andreas" userId="9d9beba6-c052-407a-8599-c781a677a996" providerId="ADAL" clId="{1B7CF67B-5515-4C9F-825D-072B1C4F5900}" dt="2021-11-18T08:14:22.648" v="267" actId="47"/>
        <pc:sldMkLst>
          <pc:docMk/>
          <pc:sldMk cId="3911558757" sldId="778"/>
        </pc:sldMkLst>
      </pc:sldChg>
      <pc:sldMasterChg chg="modSldLayout">
        <pc:chgData name="Andreas" userId="9d9beba6-c052-407a-8599-c781a677a996" providerId="ADAL" clId="{1B7CF67B-5515-4C9F-825D-072B1C4F5900}" dt="2021-11-18T08:21:07.394" v="290"/>
        <pc:sldMasterMkLst>
          <pc:docMk/>
          <pc:sldMasterMk cId="2615922609" sldId="2147483648"/>
        </pc:sldMasterMkLst>
        <pc:sldLayoutChg chg="setBg">
          <pc:chgData name="Andreas" userId="9d9beba6-c052-407a-8599-c781a677a996" providerId="ADAL" clId="{1B7CF67B-5515-4C9F-825D-072B1C4F5900}" dt="2021-11-18T08:21:07.394" v="290"/>
          <pc:sldLayoutMkLst>
            <pc:docMk/>
            <pc:sldMasterMk cId="2615922609" sldId="2147483648"/>
            <pc:sldLayoutMk cId="1682017135" sldId="2147483656"/>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362052619" sldId="2147483873"/>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582775925" sldId="2147483888"/>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137469678" sldId="2147483897"/>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3598985693" sldId="2147483898"/>
          </pc:sldLayoutMkLst>
        </pc:sldLayoutChg>
      </pc:sldMasterChg>
    </pc:docChg>
  </pc:docChgLst>
  <pc:docChgLst>
    <pc:chgData name="Kjetil Teigen Hansen (KTH)" userId="S::kth_conscia.com#ext#@telenorgroup.onmicrosoft.com::f8a0f255-21b8-4c53-aace-7d9a45a4c72e" providerId="AD" clId="Web-{BCCE81AE-AA33-5A90-7DDA-D0AFCC3DB5E6}"/>
    <pc:docChg chg="addSld delSld modSld sldOrd modSection">
      <pc:chgData name="Kjetil Teigen Hansen (KTH)" userId="S::kth_conscia.com#ext#@telenorgroup.onmicrosoft.com::f8a0f255-21b8-4c53-aace-7d9a45a4c72e" providerId="AD" clId="Web-{BCCE81AE-AA33-5A90-7DDA-D0AFCC3DB5E6}" dt="2024-09-04T11:09:25.095" v="2174" actId="14100"/>
      <pc:docMkLst>
        <pc:docMk/>
      </pc:docMkLst>
      <pc:sldChg chg="addSp delSp modSp">
        <pc:chgData name="Kjetil Teigen Hansen (KTH)" userId="S::kth_conscia.com#ext#@telenorgroup.onmicrosoft.com::f8a0f255-21b8-4c53-aace-7d9a45a4c72e" providerId="AD" clId="Web-{BCCE81AE-AA33-5A90-7DDA-D0AFCC3DB5E6}" dt="2024-09-04T08:38:15.902" v="1952" actId="1076"/>
        <pc:sldMkLst>
          <pc:docMk/>
          <pc:sldMk cId="3288778496" sldId="1022"/>
        </pc:sldMkLst>
        <pc:spChg chg="del">
          <ac:chgData name="Kjetil Teigen Hansen (KTH)" userId="S::kth_conscia.com#ext#@telenorgroup.onmicrosoft.com::f8a0f255-21b8-4c53-aace-7d9a45a4c72e" providerId="AD" clId="Web-{BCCE81AE-AA33-5A90-7DDA-D0AFCC3DB5E6}" dt="2024-09-04T08:32:42.158" v="1621"/>
          <ac:spMkLst>
            <pc:docMk/>
            <pc:sldMk cId="3288778496" sldId="1022"/>
            <ac:spMk id="3" creationId="{7C4943DC-9626-BF29-EAB2-96D55331C1F8}"/>
          </ac:spMkLst>
        </pc:spChg>
        <pc:spChg chg="add del mod">
          <ac:chgData name="Kjetil Teigen Hansen (KTH)" userId="S::kth_conscia.com#ext#@telenorgroup.onmicrosoft.com::f8a0f255-21b8-4c53-aace-7d9a45a4c72e" providerId="AD" clId="Web-{BCCE81AE-AA33-5A90-7DDA-D0AFCC3DB5E6}" dt="2024-09-04T08:37:56.871" v="1933"/>
          <ac:spMkLst>
            <pc:docMk/>
            <pc:sldMk cId="3288778496" sldId="1022"/>
            <ac:spMk id="7" creationId="{24048F2E-CD2A-BDFE-19E4-80DD3BCEC480}"/>
          </ac:spMkLst>
        </pc:spChg>
        <pc:spChg chg="del">
          <ac:chgData name="Kjetil Teigen Hansen (KTH)" userId="S::kth_conscia.com#ext#@telenorgroup.onmicrosoft.com::f8a0f255-21b8-4c53-aace-7d9a45a4c72e" providerId="AD" clId="Web-{BCCE81AE-AA33-5A90-7DDA-D0AFCC3DB5E6}" dt="2024-09-04T08:32:35.298" v="1614"/>
          <ac:spMkLst>
            <pc:docMk/>
            <pc:sldMk cId="3288778496" sldId="1022"/>
            <ac:spMk id="11" creationId="{62FA55CE-01F5-4692-0488-ACAD670507AE}"/>
          </ac:spMkLst>
        </pc:spChg>
        <pc:spChg chg="mod">
          <ac:chgData name="Kjetil Teigen Hansen (KTH)" userId="S::kth_conscia.com#ext#@telenorgroup.onmicrosoft.com::f8a0f255-21b8-4c53-aace-7d9a45a4c72e" providerId="AD" clId="Web-{BCCE81AE-AA33-5A90-7DDA-D0AFCC3DB5E6}" dt="2024-09-04T08:32:53.018" v="1626" actId="20577"/>
          <ac:spMkLst>
            <pc:docMk/>
            <pc:sldMk cId="3288778496" sldId="1022"/>
            <ac:spMk id="21" creationId="{4119A563-2F37-7403-6BAD-F26AB7CE80F4}"/>
          </ac:spMkLst>
        </pc:spChg>
        <pc:spChg chg="del">
          <ac:chgData name="Kjetil Teigen Hansen (KTH)" userId="S::kth_conscia.com#ext#@telenorgroup.onmicrosoft.com::f8a0f255-21b8-4c53-aace-7d9a45a4c72e" providerId="AD" clId="Web-{BCCE81AE-AA33-5A90-7DDA-D0AFCC3DB5E6}" dt="2024-09-04T08:32:37.361" v="1616"/>
          <ac:spMkLst>
            <pc:docMk/>
            <pc:sldMk cId="3288778496" sldId="1022"/>
            <ac:spMk id="26" creationId="{6DD954AE-4A7A-87D9-E0A0-E4131CFAEC33}"/>
          </ac:spMkLst>
        </pc:spChg>
        <pc:spChg chg="mod">
          <ac:chgData name="Kjetil Teigen Hansen (KTH)" userId="S::kth_conscia.com#ext#@telenorgroup.onmicrosoft.com::f8a0f255-21b8-4c53-aace-7d9a45a4c72e" providerId="AD" clId="Web-{BCCE81AE-AA33-5A90-7DDA-D0AFCC3DB5E6}" dt="2024-09-04T08:38:08.527" v="1949" actId="20577"/>
          <ac:spMkLst>
            <pc:docMk/>
            <pc:sldMk cId="3288778496" sldId="1022"/>
            <ac:spMk id="180" creationId="{00000000-0000-0000-0000-000000000000}"/>
          </ac:spMkLst>
        </pc:spChg>
        <pc:picChg chg="del">
          <ac:chgData name="Kjetil Teigen Hansen (KTH)" userId="S::kth_conscia.com#ext#@telenorgroup.onmicrosoft.com::f8a0f255-21b8-4c53-aace-7d9a45a4c72e" providerId="AD" clId="Web-{BCCE81AE-AA33-5A90-7DDA-D0AFCC3DB5E6}" dt="2024-09-04T08:32:38.674" v="1617"/>
          <ac:picMkLst>
            <pc:docMk/>
            <pc:sldMk cId="3288778496" sldId="1022"/>
            <ac:picMk id="5" creationId="{F0306D17-8C3C-4CD2-D033-20B35DF039B5}"/>
          </ac:picMkLst>
        </pc:picChg>
        <pc:picChg chg="mod">
          <ac:chgData name="Kjetil Teigen Hansen (KTH)" userId="S::kth_conscia.com#ext#@telenorgroup.onmicrosoft.com::f8a0f255-21b8-4c53-aace-7d9a45a4c72e" providerId="AD" clId="Web-{BCCE81AE-AA33-5A90-7DDA-D0AFCC3DB5E6}" dt="2024-09-04T08:38:11.934" v="1950" actId="1076"/>
          <ac:picMkLst>
            <pc:docMk/>
            <pc:sldMk cId="3288778496" sldId="1022"/>
            <ac:picMk id="6" creationId="{CC73AC75-19E6-0AF9-0F10-B690BC285BB3}"/>
          </ac:picMkLst>
        </pc:picChg>
        <pc:picChg chg="mod">
          <ac:chgData name="Kjetil Teigen Hansen (KTH)" userId="S::kth_conscia.com#ext#@telenorgroup.onmicrosoft.com::f8a0f255-21b8-4c53-aace-7d9a45a4c72e" providerId="AD" clId="Web-{BCCE81AE-AA33-5A90-7DDA-D0AFCC3DB5E6}" dt="2024-09-04T08:38:13.527" v="1951" actId="1076"/>
          <ac:picMkLst>
            <pc:docMk/>
            <pc:sldMk cId="3288778496" sldId="1022"/>
            <ac:picMk id="10" creationId="{43AEA5ED-03B0-7195-45A5-1FCFCF9865EC}"/>
          </ac:picMkLst>
        </pc:picChg>
        <pc:picChg chg="mod">
          <ac:chgData name="Kjetil Teigen Hansen (KTH)" userId="S::kth_conscia.com#ext#@telenorgroup.onmicrosoft.com::f8a0f255-21b8-4c53-aace-7d9a45a4c72e" providerId="AD" clId="Web-{BCCE81AE-AA33-5A90-7DDA-D0AFCC3DB5E6}" dt="2024-09-04T08:38:15.902" v="1952" actId="1076"/>
          <ac:picMkLst>
            <pc:docMk/>
            <pc:sldMk cId="3288778496" sldId="1022"/>
            <ac:picMk id="14" creationId="{9CDE1F3A-8C79-CEB4-BD85-D3F824F94AE5}"/>
          </ac:picMkLst>
        </pc:picChg>
        <pc:picChg chg="del">
          <ac:chgData name="Kjetil Teigen Hansen (KTH)" userId="S::kth_conscia.com#ext#@telenorgroup.onmicrosoft.com::f8a0f255-21b8-4c53-aace-7d9a45a4c72e" providerId="AD" clId="Web-{BCCE81AE-AA33-5A90-7DDA-D0AFCC3DB5E6}" dt="2024-09-04T08:32:35.939" v="1615"/>
          <ac:picMkLst>
            <pc:docMk/>
            <pc:sldMk cId="3288778496" sldId="1022"/>
            <ac:picMk id="19" creationId="{B812BEAF-A7EB-25FB-A2E9-03119B97C9B7}"/>
          </ac:picMkLst>
        </pc:picChg>
        <pc:picChg chg="del">
          <ac:chgData name="Kjetil Teigen Hansen (KTH)" userId="S::kth_conscia.com#ext#@telenorgroup.onmicrosoft.com::f8a0f255-21b8-4c53-aace-7d9a45a4c72e" providerId="AD" clId="Web-{BCCE81AE-AA33-5A90-7DDA-D0AFCC3DB5E6}" dt="2024-09-04T08:32:40.111" v="1619"/>
          <ac:picMkLst>
            <pc:docMk/>
            <pc:sldMk cId="3288778496" sldId="1022"/>
            <ac:picMk id="28" creationId="{5C7BF652-D2B4-C4CF-CD86-5060405B7809}"/>
          </ac:picMkLst>
        </pc:picChg>
        <pc:picChg chg="del">
          <ac:chgData name="Kjetil Teigen Hansen (KTH)" userId="S::kth_conscia.com#ext#@telenorgroup.onmicrosoft.com::f8a0f255-21b8-4c53-aace-7d9a45a4c72e" providerId="AD" clId="Web-{BCCE81AE-AA33-5A90-7DDA-D0AFCC3DB5E6}" dt="2024-09-04T08:32:39.517" v="1618"/>
          <ac:picMkLst>
            <pc:docMk/>
            <pc:sldMk cId="3288778496" sldId="1022"/>
            <ac:picMk id="30" creationId="{D3C53F3A-43B7-D508-BD7D-97CDDE563CC7}"/>
          </ac:picMkLst>
        </pc:picChg>
        <pc:cxnChg chg="del">
          <ac:chgData name="Kjetil Teigen Hansen (KTH)" userId="S::kth_conscia.com#ext#@telenorgroup.onmicrosoft.com::f8a0f255-21b8-4c53-aace-7d9a45a4c72e" providerId="AD" clId="Web-{BCCE81AE-AA33-5A90-7DDA-D0AFCC3DB5E6}" dt="2024-09-04T08:32:40.752" v="1620"/>
          <ac:cxnSpMkLst>
            <pc:docMk/>
            <pc:sldMk cId="3288778496" sldId="1022"/>
            <ac:cxnSpMk id="23" creationId="{D5B766C6-F903-83AD-F8DD-2017BBF8697A}"/>
          </ac:cxnSpMkLst>
        </pc:cxnChg>
      </pc:sldChg>
      <pc:sldChg chg="addSp delSp modSp">
        <pc:chgData name="Kjetil Teigen Hansen (KTH)" userId="S::kth_conscia.com#ext#@telenorgroup.onmicrosoft.com::f8a0f255-21b8-4c53-aace-7d9a45a4c72e" providerId="AD" clId="Web-{BCCE81AE-AA33-5A90-7DDA-D0AFCC3DB5E6}" dt="2024-09-04T08:50:03.564" v="2145" actId="20577"/>
        <pc:sldMkLst>
          <pc:docMk/>
          <pc:sldMk cId="3711552670" sldId="1029"/>
        </pc:sldMkLst>
        <pc:spChg chg="mod">
          <ac:chgData name="Kjetil Teigen Hansen (KTH)" userId="S::kth_conscia.com#ext#@telenorgroup.onmicrosoft.com::f8a0f255-21b8-4c53-aace-7d9a45a4c72e" providerId="AD" clId="Web-{BCCE81AE-AA33-5A90-7DDA-D0AFCC3DB5E6}" dt="2024-09-04T07:25:55.116" v="427" actId="14100"/>
          <ac:spMkLst>
            <pc:docMk/>
            <pc:sldMk cId="3711552670" sldId="1029"/>
            <ac:spMk id="3" creationId="{A94D6359-16CD-D4B4-D85E-072A669FA314}"/>
          </ac:spMkLst>
        </pc:spChg>
        <pc:spChg chg="mod">
          <ac:chgData name="Kjetil Teigen Hansen (KTH)" userId="S::kth_conscia.com#ext#@telenorgroup.onmicrosoft.com::f8a0f255-21b8-4c53-aace-7d9a45a4c72e" providerId="AD" clId="Web-{BCCE81AE-AA33-5A90-7DDA-D0AFCC3DB5E6}" dt="2024-09-04T08:31:19.296" v="1605" actId="20577"/>
          <ac:spMkLst>
            <pc:docMk/>
            <pc:sldMk cId="3711552670" sldId="1029"/>
            <ac:spMk id="5" creationId="{00E1F5B3-1484-766D-1E22-9E733F769AAF}"/>
          </ac:spMkLst>
        </pc:spChg>
        <pc:spChg chg="mod">
          <ac:chgData name="Kjetil Teigen Hansen (KTH)" userId="S::kth_conscia.com#ext#@telenorgroup.onmicrosoft.com::f8a0f255-21b8-4c53-aace-7d9a45a4c72e" providerId="AD" clId="Web-{BCCE81AE-AA33-5A90-7DDA-D0AFCC3DB5E6}" dt="2024-09-04T08:13:28.092" v="1260" actId="20577"/>
          <ac:spMkLst>
            <pc:docMk/>
            <pc:sldMk cId="3711552670" sldId="1029"/>
            <ac:spMk id="6" creationId="{5485B025-69EF-89C1-6489-284E2DAA1110}"/>
          </ac:spMkLst>
        </pc:spChg>
        <pc:spChg chg="del mod">
          <ac:chgData name="Kjetil Teigen Hansen (KTH)" userId="S::kth_conscia.com#ext#@telenorgroup.onmicrosoft.com::f8a0f255-21b8-4c53-aace-7d9a45a4c72e" providerId="AD" clId="Web-{BCCE81AE-AA33-5A90-7DDA-D0AFCC3DB5E6}" dt="2024-09-04T08:15:52.753" v="1292"/>
          <ac:spMkLst>
            <pc:docMk/>
            <pc:sldMk cId="3711552670" sldId="1029"/>
            <ac:spMk id="8" creationId="{2E6D0F77-354A-35B9-9789-E06720DD4053}"/>
          </ac:spMkLst>
        </pc:spChg>
        <pc:spChg chg="del">
          <ac:chgData name="Kjetil Teigen Hansen (KTH)" userId="S::kth_conscia.com#ext#@telenorgroup.onmicrosoft.com::f8a0f255-21b8-4c53-aace-7d9a45a4c72e" providerId="AD" clId="Web-{BCCE81AE-AA33-5A90-7DDA-D0AFCC3DB5E6}" dt="2024-09-04T07:10:33.401" v="71"/>
          <ac:spMkLst>
            <pc:docMk/>
            <pc:sldMk cId="3711552670" sldId="1029"/>
            <ac:spMk id="9" creationId="{BE42472F-998D-473D-2B01-86D404908202}"/>
          </ac:spMkLst>
        </pc:spChg>
        <pc:spChg chg="mod">
          <ac:chgData name="Kjetil Teigen Hansen (KTH)" userId="S::kth_conscia.com#ext#@telenorgroup.onmicrosoft.com::f8a0f255-21b8-4c53-aace-7d9a45a4c72e" providerId="AD" clId="Web-{BCCE81AE-AA33-5A90-7DDA-D0AFCC3DB5E6}" dt="2024-09-04T07:25:25.506" v="414" actId="1076"/>
          <ac:spMkLst>
            <pc:docMk/>
            <pc:sldMk cId="3711552670" sldId="1029"/>
            <ac:spMk id="10" creationId="{51763FFD-D04A-58D5-774B-B2B30F7D9C40}"/>
          </ac:spMkLst>
        </pc:spChg>
        <pc:spChg chg="mod">
          <ac:chgData name="Kjetil Teigen Hansen (KTH)" userId="S::kth_conscia.com#ext#@telenorgroup.onmicrosoft.com::f8a0f255-21b8-4c53-aace-7d9a45a4c72e" providerId="AD" clId="Web-{BCCE81AE-AA33-5A90-7DDA-D0AFCC3DB5E6}" dt="2024-09-04T07:25:21.693" v="413" actId="14100"/>
          <ac:spMkLst>
            <pc:docMk/>
            <pc:sldMk cId="3711552670" sldId="1029"/>
            <ac:spMk id="11" creationId="{2D539C48-4CCB-9354-C904-1A35366D90C5}"/>
          </ac:spMkLst>
        </pc:spChg>
        <pc:spChg chg="mod">
          <ac:chgData name="Kjetil Teigen Hansen (KTH)" userId="S::kth_conscia.com#ext#@telenorgroup.onmicrosoft.com::f8a0f255-21b8-4c53-aace-7d9a45a4c72e" providerId="AD" clId="Web-{BCCE81AE-AA33-5A90-7DDA-D0AFCC3DB5E6}" dt="2024-09-04T07:10:31.979" v="70" actId="20577"/>
          <ac:spMkLst>
            <pc:docMk/>
            <pc:sldMk cId="3711552670" sldId="1029"/>
            <ac:spMk id="16" creationId="{DD5715AA-BC76-6864-A558-27BBDC3A8CDF}"/>
          </ac:spMkLst>
        </pc:spChg>
        <pc:spChg chg="mod">
          <ac:chgData name="Kjetil Teigen Hansen (KTH)" userId="S::kth_conscia.com#ext#@telenorgroup.onmicrosoft.com::f8a0f255-21b8-4c53-aace-7d9a45a4c72e" providerId="AD" clId="Web-{BCCE81AE-AA33-5A90-7DDA-D0AFCC3DB5E6}" dt="2024-09-04T08:50:03.564" v="2145" actId="20577"/>
          <ac:spMkLst>
            <pc:docMk/>
            <pc:sldMk cId="3711552670" sldId="1029"/>
            <ac:spMk id="24" creationId="{45E9A616-4247-B02C-A519-9265B9C7694C}"/>
          </ac:spMkLst>
        </pc:spChg>
        <pc:picChg chg="add mod">
          <ac:chgData name="Kjetil Teigen Hansen (KTH)" userId="S::kth_conscia.com#ext#@telenorgroup.onmicrosoft.com::f8a0f255-21b8-4c53-aace-7d9a45a4c72e" providerId="AD" clId="Web-{BCCE81AE-AA33-5A90-7DDA-D0AFCC3DB5E6}" dt="2024-09-04T07:25:41.006" v="419" actId="1076"/>
          <ac:picMkLst>
            <pc:docMk/>
            <pc:sldMk cId="3711552670" sldId="1029"/>
            <ac:picMk id="12" creationId="{D50EC274-2287-C9AB-1B21-B9D7A7CA2EE7}"/>
          </ac:picMkLst>
        </pc:picChg>
        <pc:cxnChg chg="mod">
          <ac:chgData name="Kjetil Teigen Hansen (KTH)" userId="S::kth_conscia.com#ext#@telenorgroup.onmicrosoft.com::f8a0f255-21b8-4c53-aace-7d9a45a4c72e" providerId="AD" clId="Web-{BCCE81AE-AA33-5A90-7DDA-D0AFCC3DB5E6}" dt="2024-09-04T07:25:19.224" v="412" actId="14100"/>
          <ac:cxnSpMkLst>
            <pc:docMk/>
            <pc:sldMk cId="3711552670" sldId="1029"/>
            <ac:cxnSpMk id="4" creationId="{3BE94264-C2AE-A7EA-AFE7-98C55355CECC}"/>
          </ac:cxnSpMkLst>
        </pc:cxnChg>
        <pc:cxnChg chg="add mod">
          <ac:chgData name="Kjetil Teigen Hansen (KTH)" userId="S::kth_conscia.com#ext#@telenorgroup.onmicrosoft.com::f8a0f255-21b8-4c53-aace-7d9a45a4c72e" providerId="AD" clId="Web-{BCCE81AE-AA33-5A90-7DDA-D0AFCC3DB5E6}" dt="2024-09-04T07:26:30.008" v="432" actId="14100"/>
          <ac:cxnSpMkLst>
            <pc:docMk/>
            <pc:sldMk cId="3711552670" sldId="1029"/>
            <ac:cxnSpMk id="13" creationId="{18655312-CB2F-BE5C-F5D7-83D416627A9D}"/>
          </ac:cxnSpMkLst>
        </pc:cxnChg>
      </pc:sldChg>
      <pc:sldChg chg="modSp">
        <pc:chgData name="Kjetil Teigen Hansen (KTH)" userId="S::kth_conscia.com#ext#@telenorgroup.onmicrosoft.com::f8a0f255-21b8-4c53-aace-7d9a45a4c72e" providerId="AD" clId="Web-{BCCE81AE-AA33-5A90-7DDA-D0AFCC3DB5E6}" dt="2024-09-04T08:15:07.454" v="1271" actId="20577"/>
        <pc:sldMkLst>
          <pc:docMk/>
          <pc:sldMk cId="2014202690" sldId="1030"/>
        </pc:sldMkLst>
        <pc:spChg chg="mod">
          <ac:chgData name="Kjetil Teigen Hansen (KTH)" userId="S::kth_conscia.com#ext#@telenorgroup.onmicrosoft.com::f8a0f255-21b8-4c53-aace-7d9a45a4c72e" providerId="AD" clId="Web-{BCCE81AE-AA33-5A90-7DDA-D0AFCC3DB5E6}" dt="2024-09-04T08:15:07.454" v="1271" actId="20577"/>
          <ac:spMkLst>
            <pc:docMk/>
            <pc:sldMk cId="2014202690" sldId="1030"/>
            <ac:spMk id="24" creationId="{45E9A616-4247-B02C-A519-9265B9C7694C}"/>
          </ac:spMkLst>
        </pc:spChg>
      </pc:sldChg>
      <pc:sldChg chg="addSp delSp modSp">
        <pc:chgData name="Kjetil Teigen Hansen (KTH)" userId="S::kth_conscia.com#ext#@telenorgroup.onmicrosoft.com::f8a0f255-21b8-4c53-aace-7d9a45a4c72e" providerId="AD" clId="Web-{BCCE81AE-AA33-5A90-7DDA-D0AFCC3DB5E6}" dt="2024-09-04T07:21:06.014" v="300" actId="1076"/>
        <pc:sldMkLst>
          <pc:docMk/>
          <pc:sldMk cId="2968854425" sldId="1031"/>
        </pc:sldMkLst>
        <pc:spChg chg="mod">
          <ac:chgData name="Kjetil Teigen Hansen (KTH)" userId="S::kth_conscia.com#ext#@telenorgroup.onmicrosoft.com::f8a0f255-21b8-4c53-aace-7d9a45a4c72e" providerId="AD" clId="Web-{BCCE81AE-AA33-5A90-7DDA-D0AFCC3DB5E6}" dt="2024-09-04T07:06:32.097" v="64" actId="20577"/>
          <ac:spMkLst>
            <pc:docMk/>
            <pc:sldMk cId="2968854425" sldId="1031"/>
            <ac:spMk id="9" creationId="{1332ADAB-347F-B30A-F36B-957ADACDE929}"/>
          </ac:spMkLst>
        </pc:spChg>
        <pc:spChg chg="del mod">
          <ac:chgData name="Kjetil Teigen Hansen (KTH)" userId="S::kth_conscia.com#ext#@telenorgroup.onmicrosoft.com::f8a0f255-21b8-4c53-aace-7d9a45a4c72e" providerId="AD" clId="Web-{BCCE81AE-AA33-5A90-7DDA-D0AFCC3DB5E6}" dt="2024-09-04T07:19:40.761" v="297"/>
          <ac:spMkLst>
            <pc:docMk/>
            <pc:sldMk cId="2968854425" sldId="1031"/>
            <ac:spMk id="11" creationId="{877F6A3F-10BB-7A54-3A76-202C966E3A46}"/>
          </ac:spMkLst>
        </pc:spChg>
        <pc:picChg chg="add mod">
          <ac:chgData name="Kjetil Teigen Hansen (KTH)" userId="S::kth_conscia.com#ext#@telenorgroup.onmicrosoft.com::f8a0f255-21b8-4c53-aace-7d9a45a4c72e" providerId="AD" clId="Web-{BCCE81AE-AA33-5A90-7DDA-D0AFCC3DB5E6}" dt="2024-09-04T07:21:06.014" v="300" actId="1076"/>
          <ac:picMkLst>
            <pc:docMk/>
            <pc:sldMk cId="2968854425" sldId="1031"/>
            <ac:picMk id="3" creationId="{75474F73-3279-ACC2-8CA8-2187DEFC330B}"/>
          </ac:picMkLst>
        </pc:picChg>
        <pc:picChg chg="mod">
          <ac:chgData name="Kjetil Teigen Hansen (KTH)" userId="S::kth_conscia.com#ext#@telenorgroup.onmicrosoft.com::f8a0f255-21b8-4c53-aace-7d9a45a4c72e" providerId="AD" clId="Web-{BCCE81AE-AA33-5A90-7DDA-D0AFCC3DB5E6}" dt="2024-09-04T07:05:57.893" v="49" actId="1076"/>
          <ac:picMkLst>
            <pc:docMk/>
            <pc:sldMk cId="2968854425" sldId="1031"/>
            <ac:picMk id="23" creationId="{FFC95476-A16C-CF1E-EEBA-9DC42B469EA3}"/>
          </ac:picMkLst>
        </pc:picChg>
      </pc:sldChg>
      <pc:sldChg chg="modSp">
        <pc:chgData name="Kjetil Teigen Hansen (KTH)" userId="S::kth_conscia.com#ext#@telenorgroup.onmicrosoft.com::f8a0f255-21b8-4c53-aace-7d9a45a4c72e" providerId="AD" clId="Web-{BCCE81AE-AA33-5A90-7DDA-D0AFCC3DB5E6}" dt="2024-09-04T11:09:25.095" v="2174" actId="14100"/>
        <pc:sldMkLst>
          <pc:docMk/>
          <pc:sldMk cId="2174136788" sldId="1034"/>
        </pc:sldMkLst>
        <pc:spChg chg="mod">
          <ac:chgData name="Kjetil Teigen Hansen (KTH)" userId="S::kth_conscia.com#ext#@telenorgroup.onmicrosoft.com::f8a0f255-21b8-4c53-aace-7d9a45a4c72e" providerId="AD" clId="Web-{BCCE81AE-AA33-5A90-7DDA-D0AFCC3DB5E6}" dt="2024-09-04T11:09:25.095" v="2174" actId="14100"/>
          <ac:spMkLst>
            <pc:docMk/>
            <pc:sldMk cId="2174136788" sldId="1034"/>
            <ac:spMk id="16" creationId="{339188E5-37DB-E3A5-28A7-48951F65FD19}"/>
          </ac:spMkLst>
        </pc:spChg>
        <pc:cxnChg chg="mod">
          <ac:chgData name="Kjetil Teigen Hansen (KTH)" userId="S::kth_conscia.com#ext#@telenorgroup.onmicrosoft.com::f8a0f255-21b8-4c53-aace-7d9a45a4c72e" providerId="AD" clId="Web-{BCCE81AE-AA33-5A90-7DDA-D0AFCC3DB5E6}" dt="2024-09-04T11:09:19.016" v="2173" actId="14100"/>
          <ac:cxnSpMkLst>
            <pc:docMk/>
            <pc:sldMk cId="2174136788" sldId="1034"/>
            <ac:cxnSpMk id="14" creationId="{0D9927B7-D7BB-21A9-F38E-6C0936B35AA2}"/>
          </ac:cxnSpMkLst>
        </pc:cxnChg>
      </pc:sldChg>
      <pc:sldChg chg="addSp delSp modSp">
        <pc:chgData name="Kjetil Teigen Hansen (KTH)" userId="S::kth_conscia.com#ext#@telenorgroup.onmicrosoft.com::f8a0f255-21b8-4c53-aace-7d9a45a4c72e" providerId="AD" clId="Web-{BCCE81AE-AA33-5A90-7DDA-D0AFCC3DB5E6}" dt="2024-09-04T08:44:05.788" v="2087" actId="14100"/>
        <pc:sldMkLst>
          <pc:docMk/>
          <pc:sldMk cId="400240892" sldId="1041"/>
        </pc:sldMkLst>
        <pc:spChg chg="mod">
          <ac:chgData name="Kjetil Teigen Hansen (KTH)" userId="S::kth_conscia.com#ext#@telenorgroup.onmicrosoft.com::f8a0f255-21b8-4c53-aace-7d9a45a4c72e" providerId="AD" clId="Web-{BCCE81AE-AA33-5A90-7DDA-D0AFCC3DB5E6}" dt="2024-09-04T08:30:29.310" v="1601" actId="14100"/>
          <ac:spMkLst>
            <pc:docMk/>
            <pc:sldMk cId="400240892" sldId="1041"/>
            <ac:spMk id="12" creationId="{31139563-055D-5988-9126-2A188F225214}"/>
          </ac:spMkLst>
        </pc:spChg>
        <pc:picChg chg="add mod">
          <ac:chgData name="Kjetil Teigen Hansen (KTH)" userId="S::kth_conscia.com#ext#@telenorgroup.onmicrosoft.com::f8a0f255-21b8-4c53-aace-7d9a45a4c72e" providerId="AD" clId="Web-{BCCE81AE-AA33-5A90-7DDA-D0AFCC3DB5E6}" dt="2024-09-04T08:29:35.340" v="1580" actId="1076"/>
          <ac:picMkLst>
            <pc:docMk/>
            <pc:sldMk cId="400240892" sldId="1041"/>
            <ac:picMk id="3" creationId="{338822F4-B62F-DC52-6D9A-837448275E2B}"/>
          </ac:picMkLst>
        </pc:picChg>
        <pc:picChg chg="add mod">
          <ac:chgData name="Kjetil Teigen Hansen (KTH)" userId="S::kth_conscia.com#ext#@telenorgroup.onmicrosoft.com::f8a0f255-21b8-4c53-aace-7d9a45a4c72e" providerId="AD" clId="Web-{BCCE81AE-AA33-5A90-7DDA-D0AFCC3DB5E6}" dt="2024-09-04T08:29:58.559" v="1584" actId="1076"/>
          <ac:picMkLst>
            <pc:docMk/>
            <pc:sldMk cId="400240892" sldId="1041"/>
            <ac:picMk id="7" creationId="{C8187E36-36B8-731E-FE40-D5515896AFB4}"/>
          </ac:picMkLst>
        </pc:picChg>
        <pc:picChg chg="del">
          <ac:chgData name="Kjetil Teigen Hansen (KTH)" userId="S::kth_conscia.com#ext#@telenorgroup.onmicrosoft.com::f8a0f255-21b8-4c53-aace-7d9a45a4c72e" providerId="AD" clId="Web-{BCCE81AE-AA33-5A90-7DDA-D0AFCC3DB5E6}" dt="2024-09-04T08:29:28.449" v="1577"/>
          <ac:picMkLst>
            <pc:docMk/>
            <pc:sldMk cId="400240892" sldId="1041"/>
            <ac:picMk id="10" creationId="{62B245AB-9298-56F6-C065-7F6FB670A7CB}"/>
          </ac:picMkLst>
        </pc:picChg>
        <pc:picChg chg="del">
          <ac:chgData name="Kjetil Teigen Hansen (KTH)" userId="S::kth_conscia.com#ext#@telenorgroup.onmicrosoft.com::f8a0f255-21b8-4c53-aace-7d9a45a4c72e" providerId="AD" clId="Web-{BCCE81AE-AA33-5A90-7DDA-D0AFCC3DB5E6}" dt="2024-09-04T08:29:31.574" v="1579"/>
          <ac:picMkLst>
            <pc:docMk/>
            <pc:sldMk cId="400240892" sldId="1041"/>
            <ac:picMk id="15" creationId="{46789BF2-DE38-45C7-D0DF-85D773634E6B}"/>
          </ac:picMkLst>
        </pc:picChg>
        <pc:cxnChg chg="mod ord">
          <ac:chgData name="Kjetil Teigen Hansen (KTH)" userId="S::kth_conscia.com#ext#@telenorgroup.onmicrosoft.com::f8a0f255-21b8-4c53-aace-7d9a45a4c72e" providerId="AD" clId="Web-{BCCE81AE-AA33-5A90-7DDA-D0AFCC3DB5E6}" dt="2024-09-04T08:44:05.788" v="2087" actId="14100"/>
          <ac:cxnSpMkLst>
            <pc:docMk/>
            <pc:sldMk cId="400240892" sldId="1041"/>
            <ac:cxnSpMk id="16" creationId="{9E75C817-DD11-B346-3724-DC4188327E15}"/>
          </ac:cxnSpMkLst>
        </pc:cxnChg>
      </pc:sldChg>
      <pc:sldChg chg="addSp delSp modSp">
        <pc:chgData name="Kjetil Teigen Hansen (KTH)" userId="S::kth_conscia.com#ext#@telenorgroup.onmicrosoft.com::f8a0f255-21b8-4c53-aace-7d9a45a4c72e" providerId="AD" clId="Web-{BCCE81AE-AA33-5A90-7DDA-D0AFCC3DB5E6}" dt="2024-09-04T08:54:58.667" v="2168" actId="14100"/>
        <pc:sldMkLst>
          <pc:docMk/>
          <pc:sldMk cId="3405457858" sldId="1042"/>
        </pc:sldMkLst>
        <pc:spChg chg="mod">
          <ac:chgData name="Kjetil Teigen Hansen (KTH)" userId="S::kth_conscia.com#ext#@telenorgroup.onmicrosoft.com::f8a0f255-21b8-4c53-aace-7d9a45a4c72e" providerId="AD" clId="Web-{BCCE81AE-AA33-5A90-7DDA-D0AFCC3DB5E6}" dt="2024-09-04T08:28:38.541" v="1576" actId="20577"/>
          <ac:spMkLst>
            <pc:docMk/>
            <pc:sldMk cId="3405457858" sldId="1042"/>
            <ac:spMk id="5" creationId="{150D8B4F-01CE-6B65-10C2-766144B7E7A7}"/>
          </ac:spMkLst>
        </pc:spChg>
        <pc:picChg chg="add del mod ord">
          <ac:chgData name="Kjetil Teigen Hansen (KTH)" userId="S::kth_conscia.com#ext#@telenorgroup.onmicrosoft.com::f8a0f255-21b8-4c53-aace-7d9a45a4c72e" providerId="AD" clId="Web-{BCCE81AE-AA33-5A90-7DDA-D0AFCC3DB5E6}" dt="2024-09-04T07:48:57.501" v="806"/>
          <ac:picMkLst>
            <pc:docMk/>
            <pc:sldMk cId="3405457858" sldId="1042"/>
            <ac:picMk id="3" creationId="{1FC00D4B-907A-29E8-D261-EEE77C1FBAF6}"/>
          </ac:picMkLst>
        </pc:picChg>
        <pc:picChg chg="add del mod ord">
          <ac:chgData name="Kjetil Teigen Hansen (KTH)" userId="S::kth_conscia.com#ext#@telenorgroup.onmicrosoft.com::f8a0f255-21b8-4c53-aace-7d9a45a4c72e" providerId="AD" clId="Web-{BCCE81AE-AA33-5A90-7DDA-D0AFCC3DB5E6}" dt="2024-09-04T08:54:26.338" v="2159"/>
          <ac:picMkLst>
            <pc:docMk/>
            <pc:sldMk cId="3405457858" sldId="1042"/>
            <ac:picMk id="7" creationId="{6A41E42F-C2F0-3CA2-C928-2D165083E2DB}"/>
          </ac:picMkLst>
        </pc:picChg>
        <pc:picChg chg="add del mod ord">
          <ac:chgData name="Kjetil Teigen Hansen (KTH)" userId="S::kth_conscia.com#ext#@telenorgroup.onmicrosoft.com::f8a0f255-21b8-4c53-aace-7d9a45a4c72e" providerId="AD" clId="Web-{BCCE81AE-AA33-5A90-7DDA-D0AFCC3DB5E6}" dt="2024-09-04T08:54:40.401" v="2164"/>
          <ac:picMkLst>
            <pc:docMk/>
            <pc:sldMk cId="3405457858" sldId="1042"/>
            <ac:picMk id="8" creationId="{152682EA-5786-EE11-B455-8A0CC642BDAD}"/>
          </ac:picMkLst>
        </pc:picChg>
        <pc:picChg chg="add mod ord">
          <ac:chgData name="Kjetil Teigen Hansen (KTH)" userId="S::kth_conscia.com#ext#@telenorgroup.onmicrosoft.com::f8a0f255-21b8-4c53-aace-7d9a45a4c72e" providerId="AD" clId="Web-{BCCE81AE-AA33-5A90-7DDA-D0AFCC3DB5E6}" dt="2024-09-04T08:54:55.823" v="2167"/>
          <ac:picMkLst>
            <pc:docMk/>
            <pc:sldMk cId="3405457858" sldId="1042"/>
            <ac:picMk id="9" creationId="{DBC95805-6453-63FC-BAB1-9A90A74BBBA1}"/>
          </ac:picMkLst>
        </pc:picChg>
        <pc:picChg chg="del mod">
          <ac:chgData name="Kjetil Teigen Hansen (KTH)" userId="S::kth_conscia.com#ext#@telenorgroup.onmicrosoft.com::f8a0f255-21b8-4c53-aace-7d9a45a4c72e" providerId="AD" clId="Web-{BCCE81AE-AA33-5A90-7DDA-D0AFCC3DB5E6}" dt="2024-09-04T07:48:11.296" v="801"/>
          <ac:picMkLst>
            <pc:docMk/>
            <pc:sldMk cId="3405457858" sldId="1042"/>
            <ac:picMk id="16" creationId="{73B71AAA-1B4C-27A3-A49F-3159C99F9517}"/>
          </ac:picMkLst>
        </pc:picChg>
        <pc:cxnChg chg="mod">
          <ac:chgData name="Kjetil Teigen Hansen (KTH)" userId="S::kth_conscia.com#ext#@telenorgroup.onmicrosoft.com::f8a0f255-21b8-4c53-aace-7d9a45a4c72e" providerId="AD" clId="Web-{BCCE81AE-AA33-5A90-7DDA-D0AFCC3DB5E6}" dt="2024-09-04T08:54:58.667" v="2168" actId="14100"/>
          <ac:cxnSpMkLst>
            <pc:docMk/>
            <pc:sldMk cId="3405457858" sldId="1042"/>
            <ac:cxnSpMk id="17" creationId="{F5CD7132-256F-45DA-0B2E-727B8C9EF22E}"/>
          </ac:cxnSpMkLst>
        </pc:cxnChg>
      </pc:sldChg>
      <pc:sldChg chg="addSp delSp modSp">
        <pc:chgData name="Kjetil Teigen Hansen (KTH)" userId="S::kth_conscia.com#ext#@telenorgroup.onmicrosoft.com::f8a0f255-21b8-4c53-aace-7d9a45a4c72e" providerId="AD" clId="Web-{BCCE81AE-AA33-5A90-7DDA-D0AFCC3DB5E6}" dt="2024-09-04T08:19:09.618" v="1351" actId="20577"/>
        <pc:sldMkLst>
          <pc:docMk/>
          <pc:sldMk cId="1412894186" sldId="1045"/>
        </pc:sldMkLst>
        <pc:spChg chg="mod">
          <ac:chgData name="Kjetil Teigen Hansen (KTH)" userId="S::kth_conscia.com#ext#@telenorgroup.onmicrosoft.com::f8a0f255-21b8-4c53-aace-7d9a45a4c72e" providerId="AD" clId="Web-{BCCE81AE-AA33-5A90-7DDA-D0AFCC3DB5E6}" dt="2024-09-04T08:19:09.618" v="1351" actId="20577"/>
          <ac:spMkLst>
            <pc:docMk/>
            <pc:sldMk cId="1412894186" sldId="1045"/>
            <ac:spMk id="3" creationId="{5A9E3B6B-8E0E-D6F1-2A9E-5AF13DE2E6CB}"/>
          </ac:spMkLst>
        </pc:spChg>
        <pc:spChg chg="mod">
          <ac:chgData name="Kjetil Teigen Hansen (KTH)" userId="S::kth_conscia.com#ext#@telenorgroup.onmicrosoft.com::f8a0f255-21b8-4c53-aace-7d9a45a4c72e" providerId="AD" clId="Web-{BCCE81AE-AA33-5A90-7DDA-D0AFCC3DB5E6}" dt="2024-09-04T07:30:23.436" v="573" actId="14100"/>
          <ac:spMkLst>
            <pc:docMk/>
            <pc:sldMk cId="1412894186" sldId="1045"/>
            <ac:spMk id="47" creationId="{E73EBDE1-2D35-7655-0B90-DC5D0B8A8228}"/>
          </ac:spMkLst>
        </pc:spChg>
        <pc:spChg chg="mod">
          <ac:chgData name="Kjetil Teigen Hansen (KTH)" userId="S::kth_conscia.com#ext#@telenorgroup.onmicrosoft.com::f8a0f255-21b8-4c53-aace-7d9a45a4c72e" providerId="AD" clId="Web-{BCCE81AE-AA33-5A90-7DDA-D0AFCC3DB5E6}" dt="2024-09-04T07:21:20.608" v="302" actId="20577"/>
          <ac:spMkLst>
            <pc:docMk/>
            <pc:sldMk cId="1412894186" sldId="1045"/>
            <ac:spMk id="180" creationId="{00000000-0000-0000-0000-000000000000}"/>
          </ac:spMkLst>
        </pc:spChg>
        <pc:picChg chg="add del mod">
          <ac:chgData name="Kjetil Teigen Hansen (KTH)" userId="S::kth_conscia.com#ext#@telenorgroup.onmicrosoft.com::f8a0f255-21b8-4c53-aace-7d9a45a4c72e" providerId="AD" clId="Web-{BCCE81AE-AA33-5A90-7DDA-D0AFCC3DB5E6}" dt="2024-09-04T07:33:05.910" v="592"/>
          <ac:picMkLst>
            <pc:docMk/>
            <pc:sldMk cId="1412894186" sldId="1045"/>
            <ac:picMk id="5" creationId="{3262D7C4-BECB-C5D4-F3A0-35654CACF5F4}"/>
          </ac:picMkLst>
        </pc:picChg>
        <pc:picChg chg="add del mod">
          <ac:chgData name="Kjetil Teigen Hansen (KTH)" userId="S::kth_conscia.com#ext#@telenorgroup.onmicrosoft.com::f8a0f255-21b8-4c53-aace-7d9a45a4c72e" providerId="AD" clId="Web-{BCCE81AE-AA33-5A90-7DDA-D0AFCC3DB5E6}" dt="2024-09-04T07:35:17.148" v="608"/>
          <ac:picMkLst>
            <pc:docMk/>
            <pc:sldMk cId="1412894186" sldId="1045"/>
            <ac:picMk id="6" creationId="{A55524EF-E006-E805-ABB0-E51022AB73A9}"/>
          </ac:picMkLst>
        </pc:picChg>
        <pc:picChg chg="add mod">
          <ac:chgData name="Kjetil Teigen Hansen (KTH)" userId="S::kth_conscia.com#ext#@telenorgroup.onmicrosoft.com::f8a0f255-21b8-4c53-aace-7d9a45a4c72e" providerId="AD" clId="Web-{BCCE81AE-AA33-5A90-7DDA-D0AFCC3DB5E6}" dt="2024-09-04T07:45:30.448" v="713" actId="1076"/>
          <ac:picMkLst>
            <pc:docMk/>
            <pc:sldMk cId="1412894186" sldId="1045"/>
            <ac:picMk id="7" creationId="{3C857F34-5C13-FCB8-9E11-C086613D8A15}"/>
          </ac:picMkLst>
        </pc:picChg>
        <pc:picChg chg="mod">
          <ac:chgData name="Kjetil Teigen Hansen (KTH)" userId="S::kth_conscia.com#ext#@telenorgroup.onmicrosoft.com::f8a0f255-21b8-4c53-aace-7d9a45a4c72e" providerId="AD" clId="Web-{BCCE81AE-AA33-5A90-7DDA-D0AFCC3DB5E6}" dt="2024-09-04T07:29:47.810" v="563" actId="14100"/>
          <ac:picMkLst>
            <pc:docMk/>
            <pc:sldMk cId="1412894186" sldId="1045"/>
            <ac:picMk id="21" creationId="{1B41037F-FBED-FC8D-7C83-E534B8FCF426}"/>
          </ac:picMkLst>
        </pc:picChg>
        <pc:picChg chg="del">
          <ac:chgData name="Kjetil Teigen Hansen (KTH)" userId="S::kth_conscia.com#ext#@telenorgroup.onmicrosoft.com::f8a0f255-21b8-4c53-aace-7d9a45a4c72e" providerId="AD" clId="Web-{BCCE81AE-AA33-5A90-7DDA-D0AFCC3DB5E6}" dt="2024-09-04T07:27:56.963" v="452"/>
          <ac:picMkLst>
            <pc:docMk/>
            <pc:sldMk cId="1412894186" sldId="1045"/>
            <ac:picMk id="24" creationId="{86558842-E66C-0557-7AB2-8EF8C60DBA7A}"/>
          </ac:picMkLst>
        </pc:picChg>
        <pc:picChg chg="del">
          <ac:chgData name="Kjetil Teigen Hansen (KTH)" userId="S::kth_conscia.com#ext#@telenorgroup.onmicrosoft.com::f8a0f255-21b8-4c53-aace-7d9a45a4c72e" providerId="AD" clId="Web-{BCCE81AE-AA33-5A90-7DDA-D0AFCC3DB5E6}" dt="2024-09-04T07:27:58.901" v="453"/>
          <ac:picMkLst>
            <pc:docMk/>
            <pc:sldMk cId="1412894186" sldId="1045"/>
            <ac:picMk id="29" creationId="{E6491B50-74D0-7434-65FF-C7B845E7D2BD}"/>
          </ac:picMkLst>
        </pc:picChg>
        <pc:picChg chg="del">
          <ac:chgData name="Kjetil Teigen Hansen (KTH)" userId="S::kth_conscia.com#ext#@telenorgroup.onmicrosoft.com::f8a0f255-21b8-4c53-aace-7d9a45a4c72e" providerId="AD" clId="Web-{BCCE81AE-AA33-5A90-7DDA-D0AFCC3DB5E6}" dt="2024-09-04T07:28:09.589" v="455"/>
          <ac:picMkLst>
            <pc:docMk/>
            <pc:sldMk cId="1412894186" sldId="1045"/>
            <ac:picMk id="32" creationId="{D403346A-4711-FCCB-54D6-854E0EFB5641}"/>
          </ac:picMkLst>
        </pc:picChg>
        <pc:picChg chg="add del mod">
          <ac:chgData name="Kjetil Teigen Hansen (KTH)" userId="S::kth_conscia.com#ext#@telenorgroup.onmicrosoft.com::f8a0f255-21b8-4c53-aace-7d9a45a4c72e" providerId="AD" clId="Web-{BCCE81AE-AA33-5A90-7DDA-D0AFCC3DB5E6}" dt="2024-09-04T07:33:09.285" v="593"/>
          <ac:picMkLst>
            <pc:docMk/>
            <pc:sldMk cId="1412894186" sldId="1045"/>
            <ac:picMk id="40" creationId="{19ED2AF1-B2F5-0EE1-3C29-A2C403C88407}"/>
          </ac:picMkLst>
        </pc:picChg>
        <pc:picChg chg="mod">
          <ac:chgData name="Kjetil Teigen Hansen (KTH)" userId="S::kth_conscia.com#ext#@telenorgroup.onmicrosoft.com::f8a0f255-21b8-4c53-aace-7d9a45a4c72e" providerId="AD" clId="Web-{BCCE81AE-AA33-5A90-7DDA-D0AFCC3DB5E6}" dt="2024-09-04T07:37:06.089" v="660" actId="1076"/>
          <ac:picMkLst>
            <pc:docMk/>
            <pc:sldMk cId="1412894186" sldId="1045"/>
            <ac:picMk id="46" creationId="{D2A8875C-4212-DA16-7237-B314D2DDACFA}"/>
          </ac:picMkLst>
        </pc:picChg>
        <pc:picChg chg="add del mod">
          <ac:chgData name="Kjetil Teigen Hansen (KTH)" userId="S::kth_conscia.com#ext#@telenorgroup.onmicrosoft.com::f8a0f255-21b8-4c53-aace-7d9a45a4c72e" providerId="AD" clId="Web-{BCCE81AE-AA33-5A90-7DDA-D0AFCC3DB5E6}" dt="2024-09-04T07:39:38.750" v="665" actId="14100"/>
          <ac:picMkLst>
            <pc:docMk/>
            <pc:sldMk cId="1412894186" sldId="1045"/>
            <ac:picMk id="49" creationId="{C11A4833-644F-48ED-DC54-A2C17B31AD15}"/>
          </ac:picMkLst>
        </pc:picChg>
        <pc:cxnChg chg="mod">
          <ac:chgData name="Kjetil Teigen Hansen (KTH)" userId="S::kth_conscia.com#ext#@telenorgroup.onmicrosoft.com::f8a0f255-21b8-4c53-aace-7d9a45a4c72e" providerId="AD" clId="Web-{BCCE81AE-AA33-5A90-7DDA-D0AFCC3DB5E6}" dt="2024-09-04T07:29:51.904" v="564" actId="14100"/>
          <ac:cxnSpMkLst>
            <pc:docMk/>
            <pc:sldMk cId="1412894186" sldId="1045"/>
            <ac:cxnSpMk id="18" creationId="{55979E7A-7A41-3CA5-0A5E-315CDBE9D32E}"/>
          </ac:cxnSpMkLst>
        </pc:cxnChg>
        <pc:cxnChg chg="del">
          <ac:chgData name="Kjetil Teigen Hansen (KTH)" userId="S::kth_conscia.com#ext#@telenorgroup.onmicrosoft.com::f8a0f255-21b8-4c53-aace-7d9a45a4c72e" providerId="AD" clId="Web-{BCCE81AE-AA33-5A90-7DDA-D0AFCC3DB5E6}" dt="2024-09-04T07:27:55.448" v="451"/>
          <ac:cxnSpMkLst>
            <pc:docMk/>
            <pc:sldMk cId="1412894186" sldId="1045"/>
            <ac:cxnSpMk id="25" creationId="{386FFBE2-89E3-4FF9-5840-24D7BDBA3B9A}"/>
          </ac:cxnSpMkLst>
        </pc:cxnChg>
        <pc:cxnChg chg="del">
          <ac:chgData name="Kjetil Teigen Hansen (KTH)" userId="S::kth_conscia.com#ext#@telenorgroup.onmicrosoft.com::f8a0f255-21b8-4c53-aace-7d9a45a4c72e" providerId="AD" clId="Web-{BCCE81AE-AA33-5A90-7DDA-D0AFCC3DB5E6}" dt="2024-09-04T07:30:36.937" v="578"/>
          <ac:cxnSpMkLst>
            <pc:docMk/>
            <pc:sldMk cId="1412894186" sldId="1045"/>
            <ac:cxnSpMk id="33" creationId="{BB620CAA-6921-0C91-67D0-927C84A2380B}"/>
          </ac:cxnSpMkLst>
        </pc:cxnChg>
        <pc:cxnChg chg="mod ord">
          <ac:chgData name="Kjetil Teigen Hansen (KTH)" userId="S::kth_conscia.com#ext#@telenorgroup.onmicrosoft.com::f8a0f255-21b8-4c53-aace-7d9a45a4c72e" providerId="AD" clId="Web-{BCCE81AE-AA33-5A90-7DDA-D0AFCC3DB5E6}" dt="2024-09-04T07:36:22.603" v="642" actId="14100"/>
          <ac:cxnSpMkLst>
            <pc:docMk/>
            <pc:sldMk cId="1412894186" sldId="1045"/>
            <ac:cxnSpMk id="37" creationId="{05D9458F-2075-2F1E-E375-5E9E6AE804E8}"/>
          </ac:cxnSpMkLst>
        </pc:cxnChg>
        <pc:cxnChg chg="del">
          <ac:chgData name="Kjetil Teigen Hansen (KTH)" userId="S::kth_conscia.com#ext#@telenorgroup.onmicrosoft.com::f8a0f255-21b8-4c53-aace-7d9a45a4c72e" providerId="AD" clId="Web-{BCCE81AE-AA33-5A90-7DDA-D0AFCC3DB5E6}" dt="2024-09-04T07:28:06.854" v="454"/>
          <ac:cxnSpMkLst>
            <pc:docMk/>
            <pc:sldMk cId="1412894186" sldId="1045"/>
            <ac:cxnSpMk id="43" creationId="{EA948263-E154-EC92-D905-9E8199BE019D}"/>
          </ac:cxnSpMkLst>
        </pc:cxnChg>
        <pc:cxnChg chg="mod ord">
          <ac:chgData name="Kjetil Teigen Hansen (KTH)" userId="S::kth_conscia.com#ext#@telenorgroup.onmicrosoft.com::f8a0f255-21b8-4c53-aace-7d9a45a4c72e" providerId="AD" clId="Web-{BCCE81AE-AA33-5A90-7DDA-D0AFCC3DB5E6}" dt="2024-09-04T07:39:46.906" v="666" actId="14100"/>
          <ac:cxnSpMkLst>
            <pc:docMk/>
            <pc:sldMk cId="1412894186" sldId="1045"/>
            <ac:cxnSpMk id="50" creationId="{FC875C6D-E8E3-00F1-F830-2F2E5089C3AE}"/>
          </ac:cxnSpMkLst>
        </pc:cxnChg>
        <pc:cxnChg chg="del">
          <ac:chgData name="Kjetil Teigen Hansen (KTH)" userId="S::kth_conscia.com#ext#@telenorgroup.onmicrosoft.com::f8a0f255-21b8-4c53-aace-7d9a45a4c72e" providerId="AD" clId="Web-{BCCE81AE-AA33-5A90-7DDA-D0AFCC3DB5E6}" dt="2024-09-04T07:30:46.296" v="580"/>
          <ac:cxnSpMkLst>
            <pc:docMk/>
            <pc:sldMk cId="1412894186" sldId="1045"/>
            <ac:cxnSpMk id="52" creationId="{06635C0D-5A95-0F55-0316-DEAC8E0EC968}"/>
          </ac:cxnSpMkLst>
        </pc:cxnChg>
      </pc:sldChg>
      <pc:sldChg chg="modSp">
        <pc:chgData name="Kjetil Teigen Hansen (KTH)" userId="S::kth_conscia.com#ext#@telenorgroup.onmicrosoft.com::f8a0f255-21b8-4c53-aace-7d9a45a4c72e" providerId="AD" clId="Web-{BCCE81AE-AA33-5A90-7DDA-D0AFCC3DB5E6}" dt="2024-09-04T11:08:16.842" v="2172" actId="1076"/>
        <pc:sldMkLst>
          <pc:docMk/>
          <pc:sldMk cId="1071966877" sldId="1046"/>
        </pc:sldMkLst>
        <pc:spChg chg="mod">
          <ac:chgData name="Kjetil Teigen Hansen (KTH)" userId="S::kth_conscia.com#ext#@telenorgroup.onmicrosoft.com::f8a0f255-21b8-4c53-aace-7d9a45a4c72e" providerId="AD" clId="Web-{BCCE81AE-AA33-5A90-7DDA-D0AFCC3DB5E6}" dt="2024-09-04T08:42:38.457" v="2054" actId="20577"/>
          <ac:spMkLst>
            <pc:docMk/>
            <pc:sldMk cId="1071966877" sldId="1046"/>
            <ac:spMk id="5" creationId="{505A3283-4B3C-5923-55E0-B286F3132295}"/>
          </ac:spMkLst>
        </pc:spChg>
        <pc:spChg chg="mod">
          <ac:chgData name="Kjetil Teigen Hansen (KTH)" userId="S::kth_conscia.com#ext#@telenorgroup.onmicrosoft.com::f8a0f255-21b8-4c53-aace-7d9a45a4c72e" providerId="AD" clId="Web-{BCCE81AE-AA33-5A90-7DDA-D0AFCC3DB5E6}" dt="2024-09-04T08:42:58.989" v="2086" actId="14100"/>
          <ac:spMkLst>
            <pc:docMk/>
            <pc:sldMk cId="1071966877" sldId="1046"/>
            <ac:spMk id="6" creationId="{AD93A1DB-7485-E1FF-28C9-17222A32C989}"/>
          </ac:spMkLst>
        </pc:spChg>
        <pc:spChg chg="mod">
          <ac:chgData name="Kjetil Teigen Hansen (KTH)" userId="S::kth_conscia.com#ext#@telenorgroup.onmicrosoft.com::f8a0f255-21b8-4c53-aace-7d9a45a4c72e" providerId="AD" clId="Web-{BCCE81AE-AA33-5A90-7DDA-D0AFCC3DB5E6}" dt="2024-09-04T07:09:37.790" v="68" actId="14100"/>
          <ac:spMkLst>
            <pc:docMk/>
            <pc:sldMk cId="1071966877" sldId="1046"/>
            <ac:spMk id="7" creationId="{5B000B3B-FCE9-A97B-F593-0ED993A20E4E}"/>
          </ac:spMkLst>
        </pc:spChg>
        <pc:spChg chg="mod">
          <ac:chgData name="Kjetil Teigen Hansen (KTH)" userId="S::kth_conscia.com#ext#@telenorgroup.onmicrosoft.com::f8a0f255-21b8-4c53-aace-7d9a45a4c72e" providerId="AD" clId="Web-{BCCE81AE-AA33-5A90-7DDA-D0AFCC3DB5E6}" dt="2024-09-04T08:31:02.905" v="1603" actId="14100"/>
          <ac:spMkLst>
            <pc:docMk/>
            <pc:sldMk cId="1071966877" sldId="1046"/>
            <ac:spMk id="22" creationId="{B1D87E0E-E163-136C-50EF-3353BEB5CE4F}"/>
          </ac:spMkLst>
        </pc:spChg>
        <pc:spChg chg="mod">
          <ac:chgData name="Kjetil Teigen Hansen (KTH)" userId="S::kth_conscia.com#ext#@telenorgroup.onmicrosoft.com::f8a0f255-21b8-4c53-aace-7d9a45a4c72e" providerId="AD" clId="Web-{BCCE81AE-AA33-5A90-7DDA-D0AFCC3DB5E6}" dt="2024-09-04T11:08:16.842" v="2172" actId="1076"/>
          <ac:spMkLst>
            <pc:docMk/>
            <pc:sldMk cId="1071966877" sldId="1046"/>
            <ac:spMk id="34" creationId="{3A1CF6D8-F588-D165-D9CC-BB832925A285}"/>
          </ac:spMkLst>
        </pc:spChg>
      </pc:sldChg>
      <pc:sldChg chg="modSp add del ord replId">
        <pc:chgData name="Kjetil Teigen Hansen (KTH)" userId="S::kth_conscia.com#ext#@telenorgroup.onmicrosoft.com::f8a0f255-21b8-4c53-aace-7d9a45a4c72e" providerId="AD" clId="Web-{BCCE81AE-AA33-5A90-7DDA-D0AFCC3DB5E6}" dt="2024-09-04T08:24:02.033" v="1491"/>
        <pc:sldMkLst>
          <pc:docMk/>
          <pc:sldMk cId="46249401" sldId="1047"/>
        </pc:sldMkLst>
        <pc:spChg chg="mod">
          <ac:chgData name="Kjetil Teigen Hansen (KTH)" userId="S::kth_conscia.com#ext#@telenorgroup.onmicrosoft.com::f8a0f255-21b8-4c53-aace-7d9a45a4c72e" providerId="AD" clId="Web-{BCCE81AE-AA33-5A90-7DDA-D0AFCC3DB5E6}" dt="2024-09-04T08:07:20.034" v="1195" actId="1076"/>
          <ac:spMkLst>
            <pc:docMk/>
            <pc:sldMk cId="46249401" sldId="1047"/>
            <ac:spMk id="5" creationId="{00E1F5B3-1484-766D-1E22-9E733F769AAF}"/>
          </ac:spMkLst>
        </pc:spChg>
        <pc:spChg chg="mod">
          <ac:chgData name="Kjetil Teigen Hansen (KTH)" userId="S::kth_conscia.com#ext#@telenorgroup.onmicrosoft.com::f8a0f255-21b8-4c53-aace-7d9a45a4c72e" providerId="AD" clId="Web-{BCCE81AE-AA33-5A90-7DDA-D0AFCC3DB5E6}" dt="2024-09-04T08:07:22.628" v="1197" actId="20577"/>
          <ac:spMkLst>
            <pc:docMk/>
            <pc:sldMk cId="46249401" sldId="1047"/>
            <ac:spMk id="6" creationId="{5485B025-69EF-89C1-6489-284E2DAA1110}"/>
          </ac:spMkLst>
        </pc:spChg>
        <pc:spChg chg="mod">
          <ac:chgData name="Kjetil Teigen Hansen (KTH)" userId="S::kth_conscia.com#ext#@telenorgroup.onmicrosoft.com::f8a0f255-21b8-4c53-aace-7d9a45a4c72e" providerId="AD" clId="Web-{BCCE81AE-AA33-5A90-7DDA-D0AFCC3DB5E6}" dt="2024-09-04T08:07:27.253" v="1198" actId="1076"/>
          <ac:spMkLst>
            <pc:docMk/>
            <pc:sldMk cId="46249401" sldId="1047"/>
            <ac:spMk id="11" creationId="{2D539C48-4CCB-9354-C904-1A35366D90C5}"/>
          </ac:spMkLst>
        </pc:spChg>
        <pc:spChg chg="mod">
          <ac:chgData name="Kjetil Teigen Hansen (KTH)" userId="S::kth_conscia.com#ext#@telenorgroup.onmicrosoft.com::f8a0f255-21b8-4c53-aace-7d9a45a4c72e" providerId="AD" clId="Web-{BCCE81AE-AA33-5A90-7DDA-D0AFCC3DB5E6}" dt="2024-09-04T07:11:47.841" v="74" actId="20577"/>
          <ac:spMkLst>
            <pc:docMk/>
            <pc:sldMk cId="46249401" sldId="1047"/>
            <ac:spMk id="24" creationId="{45E9A616-4247-B02C-A519-9265B9C7694C}"/>
          </ac:spMkLst>
        </pc:spChg>
        <pc:spChg chg="mod">
          <ac:chgData name="Kjetil Teigen Hansen (KTH)" userId="S::kth_conscia.com#ext#@telenorgroup.onmicrosoft.com::f8a0f255-21b8-4c53-aace-7d9a45a4c72e" providerId="AD" clId="Web-{BCCE81AE-AA33-5A90-7DDA-D0AFCC3DB5E6}" dt="2024-09-04T08:01:10.351" v="1189" actId="20577"/>
          <ac:spMkLst>
            <pc:docMk/>
            <pc:sldMk cId="46249401" sldId="1047"/>
            <ac:spMk id="180" creationId="{00000000-0000-0000-0000-000000000000}"/>
          </ac:spMkLst>
        </pc:spChg>
      </pc:sldChg>
      <pc:sldChg chg="addSp delSp modSp add replId">
        <pc:chgData name="Kjetil Teigen Hansen (KTH)" userId="S::kth_conscia.com#ext#@telenorgroup.onmicrosoft.com::f8a0f255-21b8-4c53-aace-7d9a45a4c72e" providerId="AD" clId="Web-{BCCE81AE-AA33-5A90-7DDA-D0AFCC3DB5E6}" dt="2024-09-04T08:27:59.478" v="1569" actId="20577"/>
        <pc:sldMkLst>
          <pc:docMk/>
          <pc:sldMk cId="1859925297" sldId="1048"/>
        </pc:sldMkLst>
        <pc:spChg chg="add mod">
          <ac:chgData name="Kjetil Teigen Hansen (KTH)" userId="S::kth_conscia.com#ext#@telenorgroup.onmicrosoft.com::f8a0f255-21b8-4c53-aace-7d9a45a4c72e" providerId="AD" clId="Web-{BCCE81AE-AA33-5A90-7DDA-D0AFCC3DB5E6}" dt="2024-09-04T08:11:49.370" v="1237" actId="20577"/>
          <ac:spMkLst>
            <pc:docMk/>
            <pc:sldMk cId="1859925297" sldId="1048"/>
            <ac:spMk id="5" creationId="{B369A2B1-F9F4-366B-0FB5-12E0EEA13082}"/>
          </ac:spMkLst>
        </pc:spChg>
        <pc:spChg chg="del">
          <ac:chgData name="Kjetil Teigen Hansen (KTH)" userId="S::kth_conscia.com#ext#@telenorgroup.onmicrosoft.com::f8a0f255-21b8-4c53-aace-7d9a45a4c72e" providerId="AD" clId="Web-{BCCE81AE-AA33-5A90-7DDA-D0AFCC3DB5E6}" dt="2024-09-04T07:15:45.254" v="118"/>
          <ac:spMkLst>
            <pc:docMk/>
            <pc:sldMk cId="1859925297" sldId="1048"/>
            <ac:spMk id="7" creationId="{09A20890-2FF6-48B1-61C4-4497CEDCF140}"/>
          </ac:spMkLst>
        </pc:spChg>
        <pc:spChg chg="mod">
          <ac:chgData name="Kjetil Teigen Hansen (KTH)" userId="S::kth_conscia.com#ext#@telenorgroup.onmicrosoft.com::f8a0f255-21b8-4c53-aace-7d9a45a4c72e" providerId="AD" clId="Web-{BCCE81AE-AA33-5A90-7DDA-D0AFCC3DB5E6}" dt="2024-09-04T07:15:50.254" v="120" actId="20577"/>
          <ac:spMkLst>
            <pc:docMk/>
            <pc:sldMk cId="1859925297" sldId="1048"/>
            <ac:spMk id="9" creationId="{B66C70C0-D173-ED33-D98B-8B27F37F9FD3}"/>
          </ac:spMkLst>
        </pc:spChg>
        <pc:spChg chg="add mod">
          <ac:chgData name="Kjetil Teigen Hansen (KTH)" userId="S::kth_conscia.com#ext#@telenorgroup.onmicrosoft.com::f8a0f255-21b8-4c53-aace-7d9a45a4c72e" providerId="AD" clId="Web-{BCCE81AE-AA33-5A90-7DDA-D0AFCC3DB5E6}" dt="2024-09-04T08:27:59.478" v="1569" actId="20577"/>
          <ac:spMkLst>
            <pc:docMk/>
            <pc:sldMk cId="1859925297" sldId="1048"/>
            <ac:spMk id="11" creationId="{C721C041-8862-0D84-2115-A62F64AE6AC1}"/>
          </ac:spMkLst>
        </pc:spChg>
        <pc:spChg chg="del">
          <ac:chgData name="Kjetil Teigen Hansen (KTH)" userId="S::kth_conscia.com#ext#@telenorgroup.onmicrosoft.com::f8a0f255-21b8-4c53-aace-7d9a45a4c72e" providerId="AD" clId="Web-{BCCE81AE-AA33-5A90-7DDA-D0AFCC3DB5E6}" dt="2024-09-04T07:15:43.926" v="117"/>
          <ac:spMkLst>
            <pc:docMk/>
            <pc:sldMk cId="1859925297" sldId="1048"/>
            <ac:spMk id="14" creationId="{28E34A08-B319-0484-B666-1844E85C4B34}"/>
          </ac:spMkLst>
        </pc:spChg>
        <pc:spChg chg="del">
          <ac:chgData name="Kjetil Teigen Hansen (KTH)" userId="S::kth_conscia.com#ext#@telenorgroup.onmicrosoft.com::f8a0f255-21b8-4c53-aace-7d9a45a4c72e" providerId="AD" clId="Web-{BCCE81AE-AA33-5A90-7DDA-D0AFCC3DB5E6}" dt="2024-09-04T07:15:42.629" v="116"/>
          <ac:spMkLst>
            <pc:docMk/>
            <pc:sldMk cId="1859925297" sldId="1048"/>
            <ac:spMk id="15" creationId="{BFF971EF-33DC-E3FC-3B05-D7DF2FA742CB}"/>
          </ac:spMkLst>
        </pc:spChg>
        <pc:spChg chg="del mod">
          <ac:chgData name="Kjetil Teigen Hansen (KTH)" userId="S::kth_conscia.com#ext#@telenorgroup.onmicrosoft.com::f8a0f255-21b8-4c53-aace-7d9a45a4c72e" providerId="AD" clId="Web-{BCCE81AE-AA33-5A90-7DDA-D0AFCC3DB5E6}" dt="2024-09-04T07:15:40.363" v="115"/>
          <ac:spMkLst>
            <pc:docMk/>
            <pc:sldMk cId="1859925297" sldId="1048"/>
            <ac:spMk id="16" creationId="{C2EAE385-2A94-5930-31ED-C38133D818F6}"/>
          </ac:spMkLst>
        </pc:spChg>
        <pc:picChg chg="del">
          <ac:chgData name="Kjetil Teigen Hansen (KTH)" userId="S::kth_conscia.com#ext#@telenorgroup.onmicrosoft.com::f8a0f255-21b8-4c53-aace-7d9a45a4c72e" providerId="AD" clId="Web-{BCCE81AE-AA33-5A90-7DDA-D0AFCC3DB5E6}" dt="2024-09-04T07:15:38.754" v="112"/>
          <ac:picMkLst>
            <pc:docMk/>
            <pc:sldMk cId="1859925297" sldId="1048"/>
            <ac:picMk id="3" creationId="{C1103531-CD2A-899D-77D8-0F3237536242}"/>
          </ac:picMkLst>
        </pc:picChg>
        <pc:picChg chg="add del mod">
          <ac:chgData name="Kjetil Teigen Hansen (KTH)" userId="S::kth_conscia.com#ext#@telenorgroup.onmicrosoft.com::f8a0f255-21b8-4c53-aace-7d9a45a4c72e" providerId="AD" clId="Web-{BCCE81AE-AA33-5A90-7DDA-D0AFCC3DB5E6}" dt="2024-09-04T08:11:11.432" v="1220"/>
          <ac:picMkLst>
            <pc:docMk/>
            <pc:sldMk cId="1859925297" sldId="1048"/>
            <ac:picMk id="6" creationId="{B53B5126-FC3B-DE32-704F-453541A7FAAA}"/>
          </ac:picMkLst>
        </pc:picChg>
        <pc:picChg chg="add del mod">
          <ac:chgData name="Kjetil Teigen Hansen (KTH)" userId="S::kth_conscia.com#ext#@telenorgroup.onmicrosoft.com::f8a0f255-21b8-4c53-aace-7d9a45a4c72e" providerId="AD" clId="Web-{BCCE81AE-AA33-5A90-7DDA-D0AFCC3DB5E6}" dt="2024-09-04T08:27:43.446" v="1560"/>
          <ac:picMkLst>
            <pc:docMk/>
            <pc:sldMk cId="1859925297" sldId="1048"/>
            <ac:picMk id="12" creationId="{2C960C69-F22E-2EA9-1283-CF13A0C9F366}"/>
          </ac:picMkLst>
        </pc:picChg>
        <pc:picChg chg="add mod">
          <ac:chgData name="Kjetil Teigen Hansen (KTH)" userId="S::kth_conscia.com#ext#@telenorgroup.onmicrosoft.com::f8a0f255-21b8-4c53-aace-7d9a45a4c72e" providerId="AD" clId="Web-{BCCE81AE-AA33-5A90-7DDA-D0AFCC3DB5E6}" dt="2024-09-04T08:27:46.792" v="1562" actId="1076"/>
          <ac:picMkLst>
            <pc:docMk/>
            <pc:sldMk cId="1859925297" sldId="1048"/>
            <ac:picMk id="13" creationId="{53C9511D-2F85-6991-19B8-A5A4B5622953}"/>
          </ac:picMkLst>
        </pc:picChg>
        <pc:picChg chg="del">
          <ac:chgData name="Kjetil Teigen Hansen (KTH)" userId="S::kth_conscia.com#ext#@telenorgroup.onmicrosoft.com::f8a0f255-21b8-4c53-aace-7d9a45a4c72e" providerId="AD" clId="Web-{BCCE81AE-AA33-5A90-7DDA-D0AFCC3DB5E6}" dt="2024-09-04T07:15:38.035" v="110"/>
          <ac:picMkLst>
            <pc:docMk/>
            <pc:sldMk cId="1859925297" sldId="1048"/>
            <ac:picMk id="1028" creationId="{ABB3A1EB-5D5E-1068-2C1A-A6CA3820C42D}"/>
          </ac:picMkLst>
        </pc:picChg>
        <pc:picChg chg="del">
          <ac:chgData name="Kjetil Teigen Hansen (KTH)" userId="S::kth_conscia.com#ext#@telenorgroup.onmicrosoft.com::f8a0f255-21b8-4c53-aace-7d9a45a4c72e" providerId="AD" clId="Web-{BCCE81AE-AA33-5A90-7DDA-D0AFCC3DB5E6}" dt="2024-09-04T07:15:38.629" v="111"/>
          <ac:picMkLst>
            <pc:docMk/>
            <pc:sldMk cId="1859925297" sldId="1048"/>
            <ac:picMk id="1030" creationId="{FFC20655-F26E-16FB-82F9-B528DCA19FAA}"/>
          </ac:picMkLst>
        </pc:picChg>
      </pc:sldChg>
      <pc:sldChg chg="modSp add del replId">
        <pc:chgData name="Kjetil Teigen Hansen (KTH)" userId="S::kth_conscia.com#ext#@telenorgroup.onmicrosoft.com::f8a0f255-21b8-4c53-aace-7d9a45a4c72e" providerId="AD" clId="Web-{BCCE81AE-AA33-5A90-7DDA-D0AFCC3DB5E6}" dt="2024-09-04T07:45:42.979" v="714"/>
        <pc:sldMkLst>
          <pc:docMk/>
          <pc:sldMk cId="906394033" sldId="1049"/>
        </pc:sldMkLst>
        <pc:spChg chg="mod">
          <ac:chgData name="Kjetil Teigen Hansen (KTH)" userId="S::kth_conscia.com#ext#@telenorgroup.onmicrosoft.com::f8a0f255-21b8-4c53-aace-7d9a45a4c72e" providerId="AD" clId="Web-{BCCE81AE-AA33-5A90-7DDA-D0AFCC3DB5E6}" dt="2024-09-04T07:44:49.228" v="697" actId="20577"/>
          <ac:spMkLst>
            <pc:docMk/>
            <pc:sldMk cId="906394033" sldId="1049"/>
            <ac:spMk id="3" creationId="{5A9E3B6B-8E0E-D6F1-2A9E-5AF13DE2E6CB}"/>
          </ac:spMkLst>
        </pc:spChg>
        <pc:spChg chg="mod">
          <ac:chgData name="Kjetil Teigen Hansen (KTH)" userId="S::kth_conscia.com#ext#@telenorgroup.onmicrosoft.com::f8a0f255-21b8-4c53-aace-7d9a45a4c72e" providerId="AD" clId="Web-{BCCE81AE-AA33-5A90-7DDA-D0AFCC3DB5E6}" dt="2024-09-04T07:44:33.477" v="693" actId="20577"/>
          <ac:spMkLst>
            <pc:docMk/>
            <pc:sldMk cId="906394033" sldId="1049"/>
            <ac:spMk id="180" creationId="{00000000-0000-0000-0000-000000000000}"/>
          </ac:spMkLst>
        </pc:spChg>
      </pc:sldChg>
      <pc:sldChg chg="new del">
        <pc:chgData name="Kjetil Teigen Hansen (KTH)" userId="S::kth_conscia.com#ext#@telenorgroup.onmicrosoft.com::f8a0f255-21b8-4c53-aace-7d9a45a4c72e" providerId="AD" clId="Web-{BCCE81AE-AA33-5A90-7DDA-D0AFCC3DB5E6}" dt="2024-09-04T07:41:53.004" v="688"/>
        <pc:sldMkLst>
          <pc:docMk/>
          <pc:sldMk cId="1382849750" sldId="1049"/>
        </pc:sldMkLst>
      </pc:sldChg>
      <pc:sldChg chg="modSp add del replId">
        <pc:chgData name="Kjetil Teigen Hansen (KTH)" userId="S::kth_conscia.com#ext#@telenorgroup.onmicrosoft.com::f8a0f255-21b8-4c53-aace-7d9a45a4c72e" providerId="AD" clId="Web-{BCCE81AE-AA33-5A90-7DDA-D0AFCC3DB5E6}" dt="2024-09-04T07:46:28.871" v="718"/>
        <pc:sldMkLst>
          <pc:docMk/>
          <pc:sldMk cId="3282078408" sldId="1049"/>
        </pc:sldMkLst>
        <pc:spChg chg="mod">
          <ac:chgData name="Kjetil Teigen Hansen (KTH)" userId="S::kth_conscia.com#ext#@telenorgroup.onmicrosoft.com::f8a0f255-21b8-4c53-aace-7d9a45a4c72e" providerId="AD" clId="Web-{BCCE81AE-AA33-5A90-7DDA-D0AFCC3DB5E6}" dt="2024-09-04T07:45:48.323" v="717" actId="20577"/>
          <ac:spMkLst>
            <pc:docMk/>
            <pc:sldMk cId="3282078408" sldId="1049"/>
            <ac:spMk id="180" creationId="{00000000-0000-0000-0000-000000000000}"/>
          </ac:spMkLst>
        </pc:spChg>
      </pc:sldChg>
      <pc:sldChg chg="add del replId">
        <pc:chgData name="Kjetil Teigen Hansen (KTH)" userId="S::kth_conscia.com#ext#@telenorgroup.onmicrosoft.com::f8a0f255-21b8-4c53-aace-7d9a45a4c72e" providerId="AD" clId="Web-{BCCE81AE-AA33-5A90-7DDA-D0AFCC3DB5E6}" dt="2024-09-04T07:42:03.223" v="690"/>
        <pc:sldMkLst>
          <pc:docMk/>
          <pc:sldMk cId="3313933932" sldId="1049"/>
        </pc:sldMkLst>
      </pc:sldChg>
      <pc:sldChg chg="addSp delSp modSp add replId">
        <pc:chgData name="Kjetil Teigen Hansen (KTH)" userId="S::kth_conscia.com#ext#@telenorgroup.onmicrosoft.com::f8a0f255-21b8-4c53-aace-7d9a45a4c72e" providerId="AD" clId="Web-{BCCE81AE-AA33-5A90-7DDA-D0AFCC3DB5E6}" dt="2024-09-04T11:07:51.841" v="2170" actId="14100"/>
        <pc:sldMkLst>
          <pc:docMk/>
          <pc:sldMk cId="3806701195" sldId="1049"/>
        </pc:sldMkLst>
        <pc:spChg chg="mod">
          <ac:chgData name="Kjetil Teigen Hansen (KTH)" userId="S::kth_conscia.com#ext#@telenorgroup.onmicrosoft.com::f8a0f255-21b8-4c53-aace-7d9a45a4c72e" providerId="AD" clId="Web-{BCCE81AE-AA33-5A90-7DDA-D0AFCC3DB5E6}" dt="2024-09-04T08:23:35.267" v="1485" actId="20577"/>
          <ac:spMkLst>
            <pc:docMk/>
            <pc:sldMk cId="3806701195" sldId="1049"/>
            <ac:spMk id="3" creationId="{5A9E3B6B-8E0E-D6F1-2A9E-5AF13DE2E6CB}"/>
          </ac:spMkLst>
        </pc:spChg>
        <pc:spChg chg="add mod ord">
          <ac:chgData name="Kjetil Teigen Hansen (KTH)" userId="S::kth_conscia.com#ext#@telenorgroup.onmicrosoft.com::f8a0f255-21b8-4c53-aace-7d9a45a4c72e" providerId="AD" clId="Web-{BCCE81AE-AA33-5A90-7DDA-D0AFCC3DB5E6}" dt="2024-09-04T08:23:44.408" v="1488" actId="1076"/>
          <ac:spMkLst>
            <pc:docMk/>
            <pc:sldMk cId="3806701195" sldId="1049"/>
            <ac:spMk id="19" creationId="{B00C9C0D-A74C-C8B9-C4C6-9A81210CDDC6}"/>
          </ac:spMkLst>
        </pc:spChg>
        <pc:spChg chg="add mod">
          <ac:chgData name="Kjetil Teigen Hansen (KTH)" userId="S::kth_conscia.com#ext#@telenorgroup.onmicrosoft.com::f8a0f255-21b8-4c53-aace-7d9a45a4c72e" providerId="AD" clId="Web-{BCCE81AE-AA33-5A90-7DDA-D0AFCC3DB5E6}" dt="2024-09-04T08:23:48.470" v="1489" actId="14100"/>
          <ac:spMkLst>
            <pc:docMk/>
            <pc:sldMk cId="3806701195" sldId="1049"/>
            <ac:spMk id="22" creationId="{B9F86895-5DB8-C946-D3BA-8B4BE45AC6F5}"/>
          </ac:spMkLst>
        </pc:spChg>
        <pc:spChg chg="del">
          <ac:chgData name="Kjetil Teigen Hansen (KTH)" userId="S::kth_conscia.com#ext#@telenorgroup.onmicrosoft.com::f8a0f255-21b8-4c53-aace-7d9a45a4c72e" providerId="AD" clId="Web-{BCCE81AE-AA33-5A90-7DDA-D0AFCC3DB5E6}" dt="2024-09-04T07:49:35.892" v="820"/>
          <ac:spMkLst>
            <pc:docMk/>
            <pc:sldMk cId="3806701195" sldId="1049"/>
            <ac:spMk id="47" creationId="{E73EBDE1-2D35-7655-0B90-DC5D0B8A8228}"/>
          </ac:spMkLst>
        </pc:spChg>
        <pc:spChg chg="mod">
          <ac:chgData name="Kjetil Teigen Hansen (KTH)" userId="S::kth_conscia.com#ext#@telenorgroup.onmicrosoft.com::f8a0f255-21b8-4c53-aace-7d9a45a4c72e" providerId="AD" clId="Web-{BCCE81AE-AA33-5A90-7DDA-D0AFCC3DB5E6}" dt="2024-09-04T07:49:54.034" v="843" actId="20577"/>
          <ac:spMkLst>
            <pc:docMk/>
            <pc:sldMk cId="3806701195" sldId="1049"/>
            <ac:spMk id="180" creationId="{00000000-0000-0000-0000-000000000000}"/>
          </ac:spMkLst>
        </pc:spChg>
        <pc:picChg chg="add mod">
          <ac:chgData name="Kjetil Teigen Hansen (KTH)" userId="S::kth_conscia.com#ext#@telenorgroup.onmicrosoft.com::f8a0f255-21b8-4c53-aace-7d9a45a4c72e" providerId="AD" clId="Web-{BCCE81AE-AA33-5A90-7DDA-D0AFCC3DB5E6}" dt="2024-09-04T07:55:36.263" v="1030" actId="1076"/>
          <ac:picMkLst>
            <pc:docMk/>
            <pc:sldMk cId="3806701195" sldId="1049"/>
            <ac:picMk id="5" creationId="{147E8A58-FC88-9BDA-6DFF-FB57437A6EB7}"/>
          </ac:picMkLst>
        </pc:picChg>
        <pc:picChg chg="del">
          <ac:chgData name="Kjetil Teigen Hansen (KTH)" userId="S::kth_conscia.com#ext#@telenorgroup.onmicrosoft.com::f8a0f255-21b8-4c53-aace-7d9a45a4c72e" providerId="AD" clId="Web-{BCCE81AE-AA33-5A90-7DDA-D0AFCC3DB5E6}" dt="2024-09-04T08:00:15.646" v="1173"/>
          <ac:picMkLst>
            <pc:docMk/>
            <pc:sldMk cId="3806701195" sldId="1049"/>
            <ac:picMk id="7" creationId="{3C857F34-5C13-FCB8-9E11-C086613D8A15}"/>
          </ac:picMkLst>
        </pc:picChg>
        <pc:picChg chg="add mod">
          <ac:chgData name="Kjetil Teigen Hansen (KTH)" userId="S::kth_conscia.com#ext#@telenorgroup.onmicrosoft.com::f8a0f255-21b8-4c53-aace-7d9a45a4c72e" providerId="AD" clId="Web-{BCCE81AE-AA33-5A90-7DDA-D0AFCC3DB5E6}" dt="2024-09-04T07:55:29.419" v="1028" actId="1076"/>
          <ac:picMkLst>
            <pc:docMk/>
            <pc:sldMk cId="3806701195" sldId="1049"/>
            <ac:picMk id="9" creationId="{EA7BE2A4-BFED-8742-2C8B-D0630DFA0209}"/>
          </ac:picMkLst>
        </pc:picChg>
        <pc:picChg chg="del">
          <ac:chgData name="Kjetil Teigen Hansen (KTH)" userId="S::kth_conscia.com#ext#@telenorgroup.onmicrosoft.com::f8a0f255-21b8-4c53-aace-7d9a45a4c72e" providerId="AD" clId="Web-{BCCE81AE-AA33-5A90-7DDA-D0AFCC3DB5E6}" dt="2024-09-04T07:49:31.111" v="812"/>
          <ac:picMkLst>
            <pc:docMk/>
            <pc:sldMk cId="3806701195" sldId="1049"/>
            <ac:picMk id="10" creationId="{8C2FD0B4-7879-AC7D-DB51-821ABA8E93D1}"/>
          </ac:picMkLst>
        </pc:picChg>
        <pc:picChg chg="add mod">
          <ac:chgData name="Kjetil Teigen Hansen (KTH)" userId="S::kth_conscia.com#ext#@telenorgroup.onmicrosoft.com::f8a0f255-21b8-4c53-aace-7d9a45a4c72e" providerId="AD" clId="Web-{BCCE81AE-AA33-5A90-7DDA-D0AFCC3DB5E6}" dt="2024-09-04T07:59:18.379" v="1168" actId="14100"/>
          <ac:picMkLst>
            <pc:docMk/>
            <pc:sldMk cId="3806701195" sldId="1049"/>
            <ac:picMk id="12" creationId="{5C768D0B-CA19-7C27-6FB0-0F4864831C23}"/>
          </ac:picMkLst>
        </pc:picChg>
        <pc:picChg chg="del">
          <ac:chgData name="Kjetil Teigen Hansen (KTH)" userId="S::kth_conscia.com#ext#@telenorgroup.onmicrosoft.com::f8a0f255-21b8-4c53-aace-7d9a45a4c72e" providerId="AD" clId="Web-{BCCE81AE-AA33-5A90-7DDA-D0AFCC3DB5E6}" dt="2024-09-04T07:49:31.564" v="813"/>
          <ac:picMkLst>
            <pc:docMk/>
            <pc:sldMk cId="3806701195" sldId="1049"/>
            <ac:picMk id="13" creationId="{133F996D-2423-67C7-620D-CF91CE079A75}"/>
          </ac:picMkLst>
        </pc:picChg>
        <pc:picChg chg="add mod">
          <ac:chgData name="Kjetil Teigen Hansen (KTH)" userId="S::kth_conscia.com#ext#@telenorgroup.onmicrosoft.com::f8a0f255-21b8-4c53-aace-7d9a45a4c72e" providerId="AD" clId="Web-{BCCE81AE-AA33-5A90-7DDA-D0AFCC3DB5E6}" dt="2024-09-04T08:21:55.889" v="1434" actId="1076"/>
          <ac:picMkLst>
            <pc:docMk/>
            <pc:sldMk cId="3806701195" sldId="1049"/>
            <ac:picMk id="16" creationId="{A6E69542-C2BF-79F4-594D-F04A0C89AD0A}"/>
          </ac:picMkLst>
        </pc:picChg>
        <pc:picChg chg="del">
          <ac:chgData name="Kjetil Teigen Hansen (KTH)" userId="S::kth_conscia.com#ext#@telenorgroup.onmicrosoft.com::f8a0f255-21b8-4c53-aace-7d9a45a4c72e" providerId="AD" clId="Web-{BCCE81AE-AA33-5A90-7DDA-D0AFCC3DB5E6}" dt="2024-09-04T07:49:32.033" v="814"/>
          <ac:picMkLst>
            <pc:docMk/>
            <pc:sldMk cId="3806701195" sldId="1049"/>
            <ac:picMk id="21" creationId="{1B41037F-FBED-FC8D-7C83-E534B8FCF426}"/>
          </ac:picMkLst>
        </pc:picChg>
        <pc:picChg chg="add del mod">
          <ac:chgData name="Kjetil Teigen Hansen (KTH)" userId="S::kth_conscia.com#ext#@telenorgroup.onmicrosoft.com::f8a0f255-21b8-4c53-aace-7d9a45a4c72e" providerId="AD" clId="Web-{BCCE81AE-AA33-5A90-7DDA-D0AFCC3DB5E6}" dt="2024-09-04T08:26:28.756" v="1550"/>
          <ac:picMkLst>
            <pc:docMk/>
            <pc:sldMk cId="3806701195" sldId="1049"/>
            <ac:picMk id="23" creationId="{33D1192A-FD6A-B7E0-A0D6-61A149653602}"/>
          </ac:picMkLst>
        </pc:picChg>
        <pc:picChg chg="add mod ord">
          <ac:chgData name="Kjetil Teigen Hansen (KTH)" userId="S::kth_conscia.com#ext#@telenorgroup.onmicrosoft.com::f8a0f255-21b8-4c53-aace-7d9a45a4c72e" providerId="AD" clId="Web-{BCCE81AE-AA33-5A90-7DDA-D0AFCC3DB5E6}" dt="2024-09-04T11:07:39.325" v="2169" actId="1076"/>
          <ac:picMkLst>
            <pc:docMk/>
            <pc:sldMk cId="3806701195" sldId="1049"/>
            <ac:picMk id="25" creationId="{9C5147E4-CEF8-1AB8-AF5C-DA1DDEC71598}"/>
          </ac:picMkLst>
        </pc:picChg>
        <pc:picChg chg="add del mod">
          <ac:chgData name="Kjetil Teigen Hansen (KTH)" userId="S::kth_conscia.com#ext#@telenorgroup.onmicrosoft.com::f8a0f255-21b8-4c53-aace-7d9a45a4c72e" providerId="AD" clId="Web-{BCCE81AE-AA33-5A90-7DDA-D0AFCC3DB5E6}" dt="2024-09-04T08:27:07.820" v="1554"/>
          <ac:picMkLst>
            <pc:docMk/>
            <pc:sldMk cId="3806701195" sldId="1049"/>
            <ac:picMk id="27" creationId="{8965EFA7-41AE-B802-F912-FDE9A871A2A2}"/>
          </ac:picMkLst>
        </pc:picChg>
        <pc:picChg chg="add del mod">
          <ac:chgData name="Kjetil Teigen Hansen (KTH)" userId="S::kth_conscia.com#ext#@telenorgroup.onmicrosoft.com::f8a0f255-21b8-4c53-aace-7d9a45a4c72e" providerId="AD" clId="Web-{BCCE81AE-AA33-5A90-7DDA-D0AFCC3DB5E6}" dt="2024-09-04T08:52:45.241" v="2146"/>
          <ac:picMkLst>
            <pc:docMk/>
            <pc:sldMk cId="3806701195" sldId="1049"/>
            <ac:picMk id="28" creationId="{ED7F8151-F18F-50DB-37D4-7E048FE2140B}"/>
          </ac:picMkLst>
        </pc:picChg>
        <pc:picChg chg="add mod ord">
          <ac:chgData name="Kjetil Teigen Hansen (KTH)" userId="S::kth_conscia.com#ext#@telenorgroup.onmicrosoft.com::f8a0f255-21b8-4c53-aace-7d9a45a4c72e" providerId="AD" clId="Web-{BCCE81AE-AA33-5A90-7DDA-D0AFCC3DB5E6}" dt="2024-09-04T08:52:55.366" v="2151"/>
          <ac:picMkLst>
            <pc:docMk/>
            <pc:sldMk cId="3806701195" sldId="1049"/>
            <ac:picMk id="29" creationId="{40058FF4-271D-35B1-5E92-1A9A9854A0F9}"/>
          </ac:picMkLst>
        </pc:picChg>
        <pc:picChg chg="del">
          <ac:chgData name="Kjetil Teigen Hansen (KTH)" userId="S::kth_conscia.com#ext#@telenorgroup.onmicrosoft.com::f8a0f255-21b8-4c53-aace-7d9a45a4c72e" providerId="AD" clId="Web-{BCCE81AE-AA33-5A90-7DDA-D0AFCC3DB5E6}" dt="2024-09-04T07:49:34.596" v="819"/>
          <ac:picMkLst>
            <pc:docMk/>
            <pc:sldMk cId="3806701195" sldId="1049"/>
            <ac:picMk id="40" creationId="{19ED2AF1-B2F5-0EE1-3C29-A2C403C88407}"/>
          </ac:picMkLst>
        </pc:picChg>
        <pc:picChg chg="del">
          <ac:chgData name="Kjetil Teigen Hansen (KTH)" userId="S::kth_conscia.com#ext#@telenorgroup.onmicrosoft.com::f8a0f255-21b8-4c53-aace-7d9a45a4c72e" providerId="AD" clId="Web-{BCCE81AE-AA33-5A90-7DDA-D0AFCC3DB5E6}" dt="2024-09-04T07:49:33.721" v="817"/>
          <ac:picMkLst>
            <pc:docMk/>
            <pc:sldMk cId="3806701195" sldId="1049"/>
            <ac:picMk id="46" creationId="{D2A8875C-4212-DA16-7237-B314D2DDACFA}"/>
          </ac:picMkLst>
        </pc:picChg>
        <pc:picChg chg="del">
          <ac:chgData name="Kjetil Teigen Hansen (KTH)" userId="S::kth_conscia.com#ext#@telenorgroup.onmicrosoft.com::f8a0f255-21b8-4c53-aace-7d9a45a4c72e" providerId="AD" clId="Web-{BCCE81AE-AA33-5A90-7DDA-D0AFCC3DB5E6}" dt="2024-09-04T07:49:36.299" v="821"/>
          <ac:picMkLst>
            <pc:docMk/>
            <pc:sldMk cId="3806701195" sldId="1049"/>
            <ac:picMk id="49" creationId="{C11A4833-644F-48ED-DC54-A2C17B31AD15}"/>
          </ac:picMkLst>
        </pc:picChg>
        <pc:cxnChg chg="add mod">
          <ac:chgData name="Kjetil Teigen Hansen (KTH)" userId="S::kth_conscia.com#ext#@telenorgroup.onmicrosoft.com::f8a0f255-21b8-4c53-aace-7d9a45a4c72e" providerId="AD" clId="Web-{BCCE81AE-AA33-5A90-7DDA-D0AFCC3DB5E6}" dt="2024-09-04T08:23:37.689" v="1486" actId="14100"/>
          <ac:cxnSpMkLst>
            <pc:docMk/>
            <pc:sldMk cId="3806701195" sldId="1049"/>
            <ac:cxnSpMk id="8" creationId="{66F6F4C9-4FC9-F557-4D95-08848EFC4C13}"/>
          </ac:cxnSpMkLst>
        </pc:cxnChg>
        <pc:cxnChg chg="add mod">
          <ac:chgData name="Kjetil Teigen Hansen (KTH)" userId="S::kth_conscia.com#ext#@telenorgroup.onmicrosoft.com::f8a0f255-21b8-4c53-aace-7d9a45a4c72e" providerId="AD" clId="Web-{BCCE81AE-AA33-5A90-7DDA-D0AFCC3DB5E6}" dt="2024-09-04T07:55:24.965" v="1027" actId="14100"/>
          <ac:cxnSpMkLst>
            <pc:docMk/>
            <pc:sldMk cId="3806701195" sldId="1049"/>
            <ac:cxnSpMk id="11" creationId="{4711ECB8-40B0-3B21-B75E-DC8A5D882D61}"/>
          </ac:cxnSpMkLst>
        </pc:cxnChg>
        <pc:cxnChg chg="del">
          <ac:chgData name="Kjetil Teigen Hansen (KTH)" userId="S::kth_conscia.com#ext#@telenorgroup.onmicrosoft.com::f8a0f255-21b8-4c53-aace-7d9a45a4c72e" providerId="AD" clId="Web-{BCCE81AE-AA33-5A90-7DDA-D0AFCC3DB5E6}" dt="2024-09-04T07:49:32.720" v="815"/>
          <ac:cxnSpMkLst>
            <pc:docMk/>
            <pc:sldMk cId="3806701195" sldId="1049"/>
            <ac:cxnSpMk id="14" creationId="{FD37C567-66E8-B223-3CDF-32ACDFB03A55}"/>
          </ac:cxnSpMkLst>
        </pc:cxnChg>
        <pc:cxnChg chg="add mod">
          <ac:chgData name="Kjetil Teigen Hansen (KTH)" userId="S::kth_conscia.com#ext#@telenorgroup.onmicrosoft.com::f8a0f255-21b8-4c53-aace-7d9a45a4c72e" providerId="AD" clId="Web-{BCCE81AE-AA33-5A90-7DDA-D0AFCC3DB5E6}" dt="2024-09-04T07:54:56.527" v="1021" actId="14100"/>
          <ac:cxnSpMkLst>
            <pc:docMk/>
            <pc:sldMk cId="3806701195" sldId="1049"/>
            <ac:cxnSpMk id="15" creationId="{C2B12254-BE50-31BD-38B4-7D81E9001FF4}"/>
          </ac:cxnSpMkLst>
        </pc:cxnChg>
        <pc:cxnChg chg="add mod">
          <ac:chgData name="Kjetil Teigen Hansen (KTH)" userId="S::kth_conscia.com#ext#@telenorgroup.onmicrosoft.com::f8a0f255-21b8-4c53-aace-7d9a45a4c72e" providerId="AD" clId="Web-{BCCE81AE-AA33-5A90-7DDA-D0AFCC3DB5E6}" dt="2024-09-04T08:22:08.295" v="1439" actId="14100"/>
          <ac:cxnSpMkLst>
            <pc:docMk/>
            <pc:sldMk cId="3806701195" sldId="1049"/>
            <ac:cxnSpMk id="17" creationId="{0C164E95-069B-EAB4-39BE-020CCB5DB9CE}"/>
          </ac:cxnSpMkLst>
        </pc:cxnChg>
        <pc:cxnChg chg="del">
          <ac:chgData name="Kjetil Teigen Hansen (KTH)" userId="S::kth_conscia.com#ext#@telenorgroup.onmicrosoft.com::f8a0f255-21b8-4c53-aace-7d9a45a4c72e" providerId="AD" clId="Web-{BCCE81AE-AA33-5A90-7DDA-D0AFCC3DB5E6}" dt="2024-09-04T07:49:33.361" v="816"/>
          <ac:cxnSpMkLst>
            <pc:docMk/>
            <pc:sldMk cId="3806701195" sldId="1049"/>
            <ac:cxnSpMk id="18" creationId="{55979E7A-7A41-3CA5-0A5E-315CDBE9D32E}"/>
          </ac:cxnSpMkLst>
        </pc:cxnChg>
        <pc:cxnChg chg="add mod ord">
          <ac:chgData name="Kjetil Teigen Hansen (KTH)" userId="S::kth_conscia.com#ext#@telenorgroup.onmicrosoft.com::f8a0f255-21b8-4c53-aace-7d9a45a4c72e" providerId="AD" clId="Web-{BCCE81AE-AA33-5A90-7DDA-D0AFCC3DB5E6}" dt="2024-09-04T11:07:51.841" v="2170" actId="14100"/>
          <ac:cxnSpMkLst>
            <pc:docMk/>
            <pc:sldMk cId="3806701195" sldId="1049"/>
            <ac:cxnSpMk id="24" creationId="{E6D6A3E5-6A88-AF18-00BA-8ED5929756FA}"/>
          </ac:cxnSpMkLst>
        </pc:cxnChg>
        <pc:cxnChg chg="add mod">
          <ac:chgData name="Kjetil Teigen Hansen (KTH)" userId="S::kth_conscia.com#ext#@telenorgroup.onmicrosoft.com::f8a0f255-21b8-4c53-aace-7d9a45a4c72e" providerId="AD" clId="Web-{BCCE81AE-AA33-5A90-7DDA-D0AFCC3DB5E6}" dt="2024-09-04T08:21:50.357" v="1433" actId="14100"/>
          <ac:cxnSpMkLst>
            <pc:docMk/>
            <pc:sldMk cId="3806701195" sldId="1049"/>
            <ac:cxnSpMk id="26" creationId="{82A9D7FE-1644-3898-E601-CFA5686049D6}"/>
          </ac:cxnSpMkLst>
        </pc:cxnChg>
        <pc:cxnChg chg="add mod">
          <ac:chgData name="Kjetil Teigen Hansen (KTH)" userId="S::kth_conscia.com#ext#@telenorgroup.onmicrosoft.com::f8a0f255-21b8-4c53-aace-7d9a45a4c72e" providerId="AD" clId="Web-{BCCE81AE-AA33-5A90-7DDA-D0AFCC3DB5E6}" dt="2024-09-04T08:53:56.134" v="2158" actId="14100"/>
          <ac:cxnSpMkLst>
            <pc:docMk/>
            <pc:sldMk cId="3806701195" sldId="1049"/>
            <ac:cxnSpMk id="30" creationId="{899A19DF-105A-C37B-8A73-0DA14D814D1F}"/>
          </ac:cxnSpMkLst>
        </pc:cxnChg>
        <pc:cxnChg chg="del">
          <ac:chgData name="Kjetil Teigen Hansen (KTH)" userId="S::kth_conscia.com#ext#@telenorgroup.onmicrosoft.com::f8a0f255-21b8-4c53-aace-7d9a45a4c72e" providerId="AD" clId="Web-{BCCE81AE-AA33-5A90-7DDA-D0AFCC3DB5E6}" dt="2024-09-04T07:49:34.267" v="818"/>
          <ac:cxnSpMkLst>
            <pc:docMk/>
            <pc:sldMk cId="3806701195" sldId="1049"/>
            <ac:cxnSpMk id="37" creationId="{05D9458F-2075-2F1E-E375-5E9E6AE804E8}"/>
          </ac:cxnSpMkLst>
        </pc:cxnChg>
        <pc:cxnChg chg="del">
          <ac:chgData name="Kjetil Teigen Hansen (KTH)" userId="S::kth_conscia.com#ext#@telenorgroup.onmicrosoft.com::f8a0f255-21b8-4c53-aace-7d9a45a4c72e" providerId="AD" clId="Web-{BCCE81AE-AA33-5A90-7DDA-D0AFCC3DB5E6}" dt="2024-09-04T07:49:40.127" v="822"/>
          <ac:cxnSpMkLst>
            <pc:docMk/>
            <pc:sldMk cId="3806701195" sldId="1049"/>
            <ac:cxnSpMk id="50" creationId="{FC875C6D-E8E3-00F1-F830-2F2E5089C3AE}"/>
          </ac:cxnSpMkLst>
        </pc:cxnChg>
      </pc:sldChg>
      <pc:sldChg chg="addSp delSp modSp add replId">
        <pc:chgData name="Kjetil Teigen Hansen (KTH)" userId="S::kth_conscia.com#ext#@telenorgroup.onmicrosoft.com::f8a0f255-21b8-4c53-aace-7d9a45a4c72e" providerId="AD" clId="Web-{BCCE81AE-AA33-5A90-7DDA-D0AFCC3DB5E6}" dt="2024-09-04T08:46:16.792" v="2143" actId="20577"/>
        <pc:sldMkLst>
          <pc:docMk/>
          <pc:sldMk cId="1831509774" sldId="1050"/>
        </pc:sldMkLst>
        <pc:spChg chg="del">
          <ac:chgData name="Kjetil Teigen Hansen (KTH)" userId="S::kth_conscia.com#ext#@telenorgroup.onmicrosoft.com::f8a0f255-21b8-4c53-aace-7d9a45a4c72e" providerId="AD" clId="Web-{BCCE81AE-AA33-5A90-7DDA-D0AFCC3DB5E6}" dt="2024-09-04T08:33:30.253" v="1639"/>
          <ac:spMkLst>
            <pc:docMk/>
            <pc:sldMk cId="1831509774" sldId="1050"/>
            <ac:spMk id="3" creationId="{7C4943DC-9626-BF29-EAB2-96D55331C1F8}"/>
          </ac:spMkLst>
        </pc:spChg>
        <pc:spChg chg="del">
          <ac:chgData name="Kjetil Teigen Hansen (KTH)" userId="S::kth_conscia.com#ext#@telenorgroup.onmicrosoft.com::f8a0f255-21b8-4c53-aace-7d9a45a4c72e" providerId="AD" clId="Web-{BCCE81AE-AA33-5A90-7DDA-D0AFCC3DB5E6}" dt="2024-09-04T08:33:04.831" v="1632"/>
          <ac:spMkLst>
            <pc:docMk/>
            <pc:sldMk cId="1831509774" sldId="1050"/>
            <ac:spMk id="9" creationId="{1332ADAB-347F-B30A-F36B-957ADACDE929}"/>
          </ac:spMkLst>
        </pc:spChg>
        <pc:spChg chg="mod">
          <ac:chgData name="Kjetil Teigen Hansen (KTH)" userId="S::kth_conscia.com#ext#@telenorgroup.onmicrosoft.com::f8a0f255-21b8-4c53-aace-7d9a45a4c72e" providerId="AD" clId="Web-{BCCE81AE-AA33-5A90-7DDA-D0AFCC3DB5E6}" dt="2024-09-04T08:46:16.792" v="2143" actId="20577"/>
          <ac:spMkLst>
            <pc:docMk/>
            <pc:sldMk cId="1831509774" sldId="1050"/>
            <ac:spMk id="11" creationId="{62FA55CE-01F5-4692-0488-ACAD670507AE}"/>
          </ac:spMkLst>
        </pc:spChg>
        <pc:spChg chg="add del">
          <ac:chgData name="Kjetil Teigen Hansen (KTH)" userId="S::kth_conscia.com#ext#@telenorgroup.onmicrosoft.com::f8a0f255-21b8-4c53-aace-7d9a45a4c72e" providerId="AD" clId="Web-{BCCE81AE-AA33-5A90-7DDA-D0AFCC3DB5E6}" dt="2024-09-04T08:33:10.518" v="1636"/>
          <ac:spMkLst>
            <pc:docMk/>
            <pc:sldMk cId="1831509774" sldId="1050"/>
            <ac:spMk id="15" creationId="{747DAAB1-F1E9-424E-D9AE-D30775FA2B2B}"/>
          </ac:spMkLst>
        </pc:spChg>
        <pc:spChg chg="add del mod">
          <ac:chgData name="Kjetil Teigen Hansen (KTH)" userId="S::kth_conscia.com#ext#@telenorgroup.onmicrosoft.com::f8a0f255-21b8-4c53-aace-7d9a45a4c72e" providerId="AD" clId="Web-{BCCE81AE-AA33-5A90-7DDA-D0AFCC3DB5E6}" dt="2024-09-04T08:40:42.719" v="2007"/>
          <ac:spMkLst>
            <pc:docMk/>
            <pc:sldMk cId="1831509774" sldId="1050"/>
            <ac:spMk id="17" creationId="{8998B7F9-5813-B36E-AB93-27B88CE57229}"/>
          </ac:spMkLst>
        </pc:spChg>
        <pc:spChg chg="del mod">
          <ac:chgData name="Kjetil Teigen Hansen (KTH)" userId="S::kth_conscia.com#ext#@telenorgroup.onmicrosoft.com::f8a0f255-21b8-4c53-aace-7d9a45a4c72e" providerId="AD" clId="Web-{BCCE81AE-AA33-5A90-7DDA-D0AFCC3DB5E6}" dt="2024-09-04T08:33:08.674" v="1635"/>
          <ac:spMkLst>
            <pc:docMk/>
            <pc:sldMk cId="1831509774" sldId="1050"/>
            <ac:spMk id="21" creationId="{4119A563-2F37-7403-6BAD-F26AB7CE80F4}"/>
          </ac:spMkLst>
        </pc:spChg>
        <pc:spChg chg="del mod">
          <ac:chgData name="Kjetil Teigen Hansen (KTH)" userId="S::kth_conscia.com#ext#@telenorgroup.onmicrosoft.com::f8a0f255-21b8-4c53-aace-7d9a45a4c72e" providerId="AD" clId="Web-{BCCE81AE-AA33-5A90-7DDA-D0AFCC3DB5E6}" dt="2024-09-04T08:45:24.212" v="2119"/>
          <ac:spMkLst>
            <pc:docMk/>
            <pc:sldMk cId="1831509774" sldId="1050"/>
            <ac:spMk id="26" creationId="{6DD954AE-4A7A-87D9-E0A0-E4131CFAEC33}"/>
          </ac:spMkLst>
        </pc:spChg>
        <pc:picChg chg="del mod">
          <ac:chgData name="Kjetil Teigen Hansen (KTH)" userId="S::kth_conscia.com#ext#@telenorgroup.onmicrosoft.com::f8a0f255-21b8-4c53-aace-7d9a45a4c72e" providerId="AD" clId="Web-{BCCE81AE-AA33-5A90-7DDA-D0AFCC3DB5E6}" dt="2024-09-04T08:44:14.319" v="2088"/>
          <ac:picMkLst>
            <pc:docMk/>
            <pc:sldMk cId="1831509774" sldId="1050"/>
            <ac:picMk id="5" creationId="{F0306D17-8C3C-4CD2-D033-20B35DF039B5}"/>
          </ac:picMkLst>
        </pc:picChg>
        <pc:picChg chg="del">
          <ac:chgData name="Kjetil Teigen Hansen (KTH)" userId="S::kth_conscia.com#ext#@telenorgroup.onmicrosoft.com::f8a0f255-21b8-4c53-aace-7d9a45a4c72e" providerId="AD" clId="Web-{BCCE81AE-AA33-5A90-7DDA-D0AFCC3DB5E6}" dt="2024-09-04T08:32:56.158" v="1627"/>
          <ac:picMkLst>
            <pc:docMk/>
            <pc:sldMk cId="1831509774" sldId="1050"/>
            <ac:picMk id="6" creationId="{CC73AC75-19E6-0AF9-0F10-B690BC285BB3}"/>
          </ac:picMkLst>
        </pc:picChg>
        <pc:picChg chg="add mod">
          <ac:chgData name="Kjetil Teigen Hansen (KTH)" userId="S::kth_conscia.com#ext#@telenorgroup.onmicrosoft.com::f8a0f255-21b8-4c53-aace-7d9a45a4c72e" providerId="AD" clId="Web-{BCCE81AE-AA33-5A90-7DDA-D0AFCC3DB5E6}" dt="2024-09-04T08:36:13.055" v="1848" actId="14100"/>
          <ac:picMkLst>
            <pc:docMk/>
            <pc:sldMk cId="1831509774" sldId="1050"/>
            <ac:picMk id="8" creationId="{72CD1017-5474-DFCF-C28A-2C8AFD0792CA}"/>
          </ac:picMkLst>
        </pc:picChg>
        <pc:picChg chg="del">
          <ac:chgData name="Kjetil Teigen Hansen (KTH)" userId="S::kth_conscia.com#ext#@telenorgroup.onmicrosoft.com::f8a0f255-21b8-4c53-aace-7d9a45a4c72e" providerId="AD" clId="Web-{BCCE81AE-AA33-5A90-7DDA-D0AFCC3DB5E6}" dt="2024-09-04T08:32:56.612" v="1628"/>
          <ac:picMkLst>
            <pc:docMk/>
            <pc:sldMk cId="1831509774" sldId="1050"/>
            <ac:picMk id="10" creationId="{43AEA5ED-03B0-7195-45A5-1FCFCF9865EC}"/>
          </ac:picMkLst>
        </pc:picChg>
        <pc:picChg chg="del">
          <ac:chgData name="Kjetil Teigen Hansen (KTH)" userId="S::kth_conscia.com#ext#@telenorgroup.onmicrosoft.com::f8a0f255-21b8-4c53-aace-7d9a45a4c72e" providerId="AD" clId="Web-{BCCE81AE-AA33-5A90-7DDA-D0AFCC3DB5E6}" dt="2024-09-04T08:32:57.299" v="1629"/>
          <ac:picMkLst>
            <pc:docMk/>
            <pc:sldMk cId="1831509774" sldId="1050"/>
            <ac:picMk id="14" creationId="{9CDE1F3A-8C79-CEB4-BD85-D3F824F94AE5}"/>
          </ac:picMkLst>
        </pc:picChg>
        <pc:picChg chg="add mod">
          <ac:chgData name="Kjetil Teigen Hansen (KTH)" userId="S::kth_conscia.com#ext#@telenorgroup.onmicrosoft.com::f8a0f255-21b8-4c53-aace-7d9a45a4c72e" providerId="AD" clId="Web-{BCCE81AE-AA33-5A90-7DDA-D0AFCC3DB5E6}" dt="2024-09-04T08:44:26.867" v="2093" actId="1076"/>
          <ac:picMkLst>
            <pc:docMk/>
            <pc:sldMk cId="1831509774" sldId="1050"/>
            <ac:picMk id="18" creationId="{6364EDE5-9DD9-14DC-1760-5A5CE9A97999}"/>
          </ac:picMkLst>
        </pc:picChg>
        <pc:picChg chg="mod">
          <ac:chgData name="Kjetil Teigen Hansen (KTH)" userId="S::kth_conscia.com#ext#@telenorgroup.onmicrosoft.com::f8a0f255-21b8-4c53-aace-7d9a45a4c72e" providerId="AD" clId="Web-{BCCE81AE-AA33-5A90-7DDA-D0AFCC3DB5E6}" dt="2024-09-04T08:40:33.188" v="2004" actId="1076"/>
          <ac:picMkLst>
            <pc:docMk/>
            <pc:sldMk cId="1831509774" sldId="1050"/>
            <ac:picMk id="19" creationId="{B812BEAF-A7EB-25FB-A2E9-03119B97C9B7}"/>
          </ac:picMkLst>
        </pc:picChg>
        <pc:picChg chg="mod">
          <ac:chgData name="Kjetil Teigen Hansen (KTH)" userId="S::kth_conscia.com#ext#@telenorgroup.onmicrosoft.com::f8a0f255-21b8-4c53-aace-7d9a45a4c72e" providerId="AD" clId="Web-{BCCE81AE-AA33-5A90-7DDA-D0AFCC3DB5E6}" dt="2024-09-04T08:45:38.853" v="2124" actId="1076"/>
          <ac:picMkLst>
            <pc:docMk/>
            <pc:sldMk cId="1831509774" sldId="1050"/>
            <ac:picMk id="28" creationId="{5C7BF652-D2B4-C4CF-CD86-5060405B7809}"/>
          </ac:picMkLst>
        </pc:picChg>
        <pc:cxnChg chg="add mod">
          <ac:chgData name="Kjetil Teigen Hansen (KTH)" userId="S::kth_conscia.com#ext#@telenorgroup.onmicrosoft.com::f8a0f255-21b8-4c53-aace-7d9a45a4c72e" providerId="AD" clId="Web-{BCCE81AE-AA33-5A90-7DDA-D0AFCC3DB5E6}" dt="2024-09-04T08:41:08.017" v="2038" actId="14100"/>
          <ac:cxnSpMkLst>
            <pc:docMk/>
            <pc:sldMk cId="1831509774" sldId="1050"/>
            <ac:cxnSpMk id="7" creationId="{5F3CDCDE-890D-BC1A-4E92-246088DBAD25}"/>
          </ac:cxnSpMkLst>
        </pc:cxnChg>
        <pc:cxnChg chg="add mod">
          <ac:chgData name="Kjetil Teigen Hansen (KTH)" userId="S::kth_conscia.com#ext#@telenorgroup.onmicrosoft.com::f8a0f255-21b8-4c53-aace-7d9a45a4c72e" providerId="AD" clId="Web-{BCCE81AE-AA33-5A90-7DDA-D0AFCC3DB5E6}" dt="2024-09-04T08:37:30.385" v="1913" actId="14100"/>
          <ac:cxnSpMkLst>
            <pc:docMk/>
            <pc:sldMk cId="1831509774" sldId="1050"/>
            <ac:cxnSpMk id="12" creationId="{80EDEE92-BA68-D6C4-3F43-CC4116FA20AB}"/>
          </ac:cxnSpMkLst>
        </pc:cxnChg>
        <pc:cxnChg chg="add mod">
          <ac:chgData name="Kjetil Teigen Hansen (KTH)" userId="S::kth_conscia.com#ext#@telenorgroup.onmicrosoft.com::f8a0f255-21b8-4c53-aace-7d9a45a4c72e" providerId="AD" clId="Web-{BCCE81AE-AA33-5A90-7DDA-D0AFCC3DB5E6}" dt="2024-09-04T08:41:10.626" v="2039" actId="14100"/>
          <ac:cxnSpMkLst>
            <pc:docMk/>
            <pc:sldMk cId="1831509774" sldId="1050"/>
            <ac:cxnSpMk id="13" creationId="{BB4F7C16-274D-0BC5-9FFE-1330F6DF4FA9}"/>
          </ac:cxnSpMkLst>
        </pc:cxnChg>
        <pc:cxnChg chg="mod">
          <ac:chgData name="Kjetil Teigen Hansen (KTH)" userId="S::kth_conscia.com#ext#@telenorgroup.onmicrosoft.com::f8a0f255-21b8-4c53-aace-7d9a45a4c72e" providerId="AD" clId="Web-{BCCE81AE-AA33-5A90-7DDA-D0AFCC3DB5E6}" dt="2024-09-04T08:45:41.041" v="2125" actId="14100"/>
          <ac:cxnSpMkLst>
            <pc:docMk/>
            <pc:sldMk cId="1831509774" sldId="1050"/>
            <ac:cxnSpMk id="23" creationId="{D5B766C6-F903-83AD-F8DD-2017BBF8697A}"/>
          </ac:cxnSpMkLst>
        </pc:cxnChg>
      </pc:sldChg>
      <pc:sldChg chg="addSp delSp modSp add del replId">
        <pc:chgData name="Kjetil Teigen Hansen (KTH)" userId="S::kth_conscia.com#ext#@telenorgroup.onmicrosoft.com::f8a0f255-21b8-4c53-aace-7d9a45a4c72e" providerId="AD" clId="Web-{BCCE81AE-AA33-5A90-7DDA-D0AFCC3DB5E6}" dt="2024-09-04T08:25:58.568" v="1549"/>
        <pc:sldMkLst>
          <pc:docMk/>
          <pc:sldMk cId="3282695384" sldId="1050"/>
        </pc:sldMkLst>
        <pc:spChg chg="mod">
          <ac:chgData name="Kjetil Teigen Hansen (KTH)" userId="S::kth_conscia.com#ext#@telenorgroup.onmicrosoft.com::f8a0f255-21b8-4c53-aace-7d9a45a4c72e" providerId="AD" clId="Web-{BCCE81AE-AA33-5A90-7DDA-D0AFCC3DB5E6}" dt="2024-09-04T08:25:29.036" v="1533" actId="20577"/>
          <ac:spMkLst>
            <pc:docMk/>
            <pc:sldMk cId="3282695384" sldId="1050"/>
            <ac:spMk id="3" creationId="{5A9E3B6B-8E0E-D6F1-2A9E-5AF13DE2E6CB}"/>
          </ac:spMkLst>
        </pc:spChg>
        <pc:spChg chg="add mod">
          <ac:chgData name="Kjetil Teigen Hansen (KTH)" userId="S::kth_conscia.com#ext#@telenorgroup.onmicrosoft.com::f8a0f255-21b8-4c53-aace-7d9a45a4c72e" providerId="AD" clId="Web-{BCCE81AE-AA33-5A90-7DDA-D0AFCC3DB5E6}" dt="2024-09-04T08:25:58.302" v="1548" actId="20577"/>
          <ac:spMkLst>
            <pc:docMk/>
            <pc:sldMk cId="3282695384" sldId="1050"/>
            <ac:spMk id="7" creationId="{A729E173-CEF0-4334-B94A-09684357A50D}"/>
          </ac:spMkLst>
        </pc:spChg>
        <pc:spChg chg="del">
          <ac:chgData name="Kjetil Teigen Hansen (KTH)" userId="S::kth_conscia.com#ext#@telenorgroup.onmicrosoft.com::f8a0f255-21b8-4c53-aace-7d9a45a4c72e" providerId="AD" clId="Web-{BCCE81AE-AA33-5A90-7DDA-D0AFCC3DB5E6}" dt="2024-09-04T08:25:31.630" v="1534"/>
          <ac:spMkLst>
            <pc:docMk/>
            <pc:sldMk cId="3282695384" sldId="1050"/>
            <ac:spMk id="19" creationId="{B00C9C0D-A74C-C8B9-C4C6-9A81210CDDC6}"/>
          </ac:spMkLst>
        </pc:spChg>
        <pc:spChg chg="del">
          <ac:chgData name="Kjetil Teigen Hansen (KTH)" userId="S::kth_conscia.com#ext#@telenorgroup.onmicrosoft.com::f8a0f255-21b8-4c53-aace-7d9a45a4c72e" providerId="AD" clId="Web-{BCCE81AE-AA33-5A90-7DDA-D0AFCC3DB5E6}" dt="2024-09-04T08:25:04.394" v="1515"/>
          <ac:spMkLst>
            <pc:docMk/>
            <pc:sldMk cId="3282695384" sldId="1050"/>
            <ac:spMk id="22" creationId="{B9F86895-5DB8-C946-D3BA-8B4BE45AC6F5}"/>
          </ac:spMkLst>
        </pc:spChg>
        <pc:spChg chg="mod">
          <ac:chgData name="Kjetil Teigen Hansen (KTH)" userId="S::kth_conscia.com#ext#@telenorgroup.onmicrosoft.com::f8a0f255-21b8-4c53-aace-7d9a45a4c72e" providerId="AD" clId="Web-{BCCE81AE-AA33-5A90-7DDA-D0AFCC3DB5E6}" dt="2024-09-04T08:25:00.050" v="1511" actId="20577"/>
          <ac:spMkLst>
            <pc:docMk/>
            <pc:sldMk cId="3282695384" sldId="1050"/>
            <ac:spMk id="180" creationId="{00000000-0000-0000-0000-000000000000}"/>
          </ac:spMkLst>
        </pc:spChg>
        <pc:picChg chg="del">
          <ac:chgData name="Kjetil Teigen Hansen (KTH)" userId="S::kth_conscia.com#ext#@telenorgroup.onmicrosoft.com::f8a0f255-21b8-4c53-aace-7d9a45a4c72e" providerId="AD" clId="Web-{BCCE81AE-AA33-5A90-7DDA-D0AFCC3DB5E6}" dt="2024-09-04T08:25:02.426" v="1512"/>
          <ac:picMkLst>
            <pc:docMk/>
            <pc:sldMk cId="3282695384" sldId="1050"/>
            <ac:picMk id="5" creationId="{147E8A58-FC88-9BDA-6DFF-FB57437A6EB7}"/>
          </ac:picMkLst>
        </pc:picChg>
        <pc:picChg chg="del">
          <ac:chgData name="Kjetil Teigen Hansen (KTH)" userId="S::kth_conscia.com#ext#@telenorgroup.onmicrosoft.com::f8a0f255-21b8-4c53-aace-7d9a45a4c72e" providerId="AD" clId="Web-{BCCE81AE-AA33-5A90-7DDA-D0AFCC3DB5E6}" dt="2024-09-04T08:25:03.472" v="1514"/>
          <ac:picMkLst>
            <pc:docMk/>
            <pc:sldMk cId="3282695384" sldId="1050"/>
            <ac:picMk id="9" creationId="{EA7BE2A4-BFED-8742-2C8B-D0630DFA0209}"/>
          </ac:picMkLst>
        </pc:picChg>
        <pc:picChg chg="del">
          <ac:chgData name="Kjetil Teigen Hansen (KTH)" userId="S::kth_conscia.com#ext#@telenorgroup.onmicrosoft.com::f8a0f255-21b8-4c53-aace-7d9a45a4c72e" providerId="AD" clId="Web-{BCCE81AE-AA33-5A90-7DDA-D0AFCC3DB5E6}" dt="2024-09-04T08:25:08.051" v="1517"/>
          <ac:picMkLst>
            <pc:docMk/>
            <pc:sldMk cId="3282695384" sldId="1050"/>
            <ac:picMk id="12" creationId="{5C768D0B-CA19-7C27-6FB0-0F4864831C23}"/>
          </ac:picMkLst>
        </pc:picChg>
        <pc:picChg chg="del">
          <ac:chgData name="Kjetil Teigen Hansen (KTH)" userId="S::kth_conscia.com#ext#@telenorgroup.onmicrosoft.com::f8a0f255-21b8-4c53-aace-7d9a45a4c72e" providerId="AD" clId="Web-{BCCE81AE-AA33-5A90-7DDA-D0AFCC3DB5E6}" dt="2024-09-04T08:25:03.051" v="1513"/>
          <ac:picMkLst>
            <pc:docMk/>
            <pc:sldMk cId="3282695384" sldId="1050"/>
            <ac:picMk id="16" creationId="{A6E69542-C2BF-79F4-594D-F04A0C89AD0A}"/>
          </ac:picMkLst>
        </pc:picChg>
        <pc:picChg chg="del">
          <ac:chgData name="Kjetil Teigen Hansen (KTH)" userId="S::kth_conscia.com#ext#@telenorgroup.onmicrosoft.com::f8a0f255-21b8-4c53-aace-7d9a45a4c72e" providerId="AD" clId="Web-{BCCE81AE-AA33-5A90-7DDA-D0AFCC3DB5E6}" dt="2024-09-04T08:25:15.082" v="1521"/>
          <ac:picMkLst>
            <pc:docMk/>
            <pc:sldMk cId="3282695384" sldId="1050"/>
            <ac:picMk id="25" creationId="{9C5147E4-CEF8-1AB8-AF5C-DA1DDEC71598}"/>
          </ac:picMkLst>
        </pc:picChg>
        <pc:cxnChg chg="del">
          <ac:chgData name="Kjetil Teigen Hansen (KTH)" userId="S::kth_conscia.com#ext#@telenorgroup.onmicrosoft.com::f8a0f255-21b8-4c53-aace-7d9a45a4c72e" providerId="AD" clId="Web-{BCCE81AE-AA33-5A90-7DDA-D0AFCC3DB5E6}" dt="2024-09-04T08:25:13.473" v="1520"/>
          <ac:cxnSpMkLst>
            <pc:docMk/>
            <pc:sldMk cId="3282695384" sldId="1050"/>
            <ac:cxnSpMk id="8" creationId="{66F6F4C9-4FC9-F557-4D95-08848EFC4C13}"/>
          </ac:cxnSpMkLst>
        </pc:cxnChg>
        <pc:cxnChg chg="del">
          <ac:chgData name="Kjetil Teigen Hansen (KTH)" userId="S::kth_conscia.com#ext#@telenorgroup.onmicrosoft.com::f8a0f255-21b8-4c53-aace-7d9a45a4c72e" providerId="AD" clId="Web-{BCCE81AE-AA33-5A90-7DDA-D0AFCC3DB5E6}" dt="2024-09-04T08:25:11.691" v="1519"/>
          <ac:cxnSpMkLst>
            <pc:docMk/>
            <pc:sldMk cId="3282695384" sldId="1050"/>
            <ac:cxnSpMk id="11" creationId="{4711ECB8-40B0-3B21-B75E-DC8A5D882D61}"/>
          </ac:cxnSpMkLst>
        </pc:cxnChg>
        <pc:cxnChg chg="del">
          <ac:chgData name="Kjetil Teigen Hansen (KTH)" userId="S::kth_conscia.com#ext#@telenorgroup.onmicrosoft.com::f8a0f255-21b8-4c53-aace-7d9a45a4c72e" providerId="AD" clId="Web-{BCCE81AE-AA33-5A90-7DDA-D0AFCC3DB5E6}" dt="2024-09-04T08:25:09.910" v="1518"/>
          <ac:cxnSpMkLst>
            <pc:docMk/>
            <pc:sldMk cId="3282695384" sldId="1050"/>
            <ac:cxnSpMk id="15" creationId="{C2B12254-BE50-31BD-38B4-7D81E9001FF4}"/>
          </ac:cxnSpMkLst>
        </pc:cxnChg>
        <pc:cxnChg chg="del">
          <ac:chgData name="Kjetil Teigen Hansen (KTH)" userId="S::kth_conscia.com#ext#@telenorgroup.onmicrosoft.com::f8a0f255-21b8-4c53-aace-7d9a45a4c72e" providerId="AD" clId="Web-{BCCE81AE-AA33-5A90-7DDA-D0AFCC3DB5E6}" dt="2024-09-04T08:25:05.347" v="1516"/>
          <ac:cxnSpMkLst>
            <pc:docMk/>
            <pc:sldMk cId="3282695384" sldId="1050"/>
            <ac:cxnSpMk id="17" creationId="{0C164E95-069B-EAB4-39BE-020CCB5DB9CE}"/>
          </ac:cxnSpMkLst>
        </pc:cxnChg>
        <pc:cxnChg chg="del">
          <ac:chgData name="Kjetil Teigen Hansen (KTH)" userId="S::kth_conscia.com#ext#@telenorgroup.onmicrosoft.com::f8a0f255-21b8-4c53-aace-7d9a45a4c72e" providerId="AD" clId="Web-{BCCE81AE-AA33-5A90-7DDA-D0AFCC3DB5E6}" dt="2024-09-04T08:25:16.145" v="1522"/>
          <ac:cxnSpMkLst>
            <pc:docMk/>
            <pc:sldMk cId="3282695384" sldId="1050"/>
            <ac:cxnSpMk id="24" creationId="{E6D6A3E5-6A88-AF18-00BA-8ED5929756FA}"/>
          </ac:cxnSpMkLst>
        </pc:cxnChg>
      </pc:sldChg>
      <pc:sldChg chg="new del">
        <pc:chgData name="Kjetil Teigen Hansen (KTH)" userId="S::kth_conscia.com#ext#@telenorgroup.onmicrosoft.com::f8a0f255-21b8-4c53-aace-7d9a45a4c72e" providerId="AD" clId="Web-{BCCE81AE-AA33-5A90-7DDA-D0AFCC3DB5E6}" dt="2024-09-04T07:41:52.566" v="687"/>
        <pc:sldMkLst>
          <pc:docMk/>
          <pc:sldMk cId="3764383421" sldId="1050"/>
        </pc:sldMkLst>
      </pc:sldChg>
    </pc:docChg>
  </pc:docChgLst>
  <pc:docChgLst>
    <pc:chgData name="Koksrud Andreas" userId="9d9beba6-c052-407a-8599-c781a677a996" providerId="ADAL" clId="{48A7DA74-46DF-41F4-B014-4ED8B1955498}"/>
    <pc:docChg chg="modSld">
      <pc:chgData name="Koksrud Andreas" userId="9d9beba6-c052-407a-8599-c781a677a996" providerId="ADAL" clId="{48A7DA74-46DF-41F4-B014-4ED8B1955498}" dt="2022-10-12T21:01:08.327" v="115" actId="404"/>
      <pc:docMkLst>
        <pc:docMk/>
      </pc:docMkLst>
      <pc:sldChg chg="modSp mod">
        <pc:chgData name="Koksrud Andreas" userId="9d9beba6-c052-407a-8599-c781a677a996" providerId="ADAL" clId="{48A7DA74-46DF-41F4-B014-4ED8B1955498}" dt="2022-10-12T21:01:08.327" v="115" actId="404"/>
        <pc:sldMkLst>
          <pc:docMk/>
          <pc:sldMk cId="697137886" sldId="679"/>
        </pc:sldMkLst>
        <pc:spChg chg="mod">
          <ac:chgData name="Koksrud Andreas" userId="9d9beba6-c052-407a-8599-c781a677a996" providerId="ADAL" clId="{48A7DA74-46DF-41F4-B014-4ED8B1955498}" dt="2022-10-12T21:01:08.327" v="115" actId="404"/>
          <ac:spMkLst>
            <pc:docMk/>
            <pc:sldMk cId="697137886" sldId="679"/>
            <ac:spMk id="2" creationId="{00000000-0000-0000-0000-000000000000}"/>
          </ac:spMkLst>
        </pc:spChg>
      </pc:sldChg>
    </pc:docChg>
  </pc:docChgLst>
  <pc:docChgLst>
    <pc:chgData name="Koksrud Andreas" userId="9d9beba6-c052-407a-8599-c781a677a996" providerId="ADAL" clId="{4C89AD2D-B60A-479F-9F95-9D423A06FAEA}"/>
    <pc:docChg chg="undo custSel modSld">
      <pc:chgData name="Koksrud Andreas" userId="9d9beba6-c052-407a-8599-c781a677a996" providerId="ADAL" clId="{4C89AD2D-B60A-479F-9F95-9D423A06FAEA}" dt="2024-07-13T21:48:53.843" v="10" actId="1076"/>
      <pc:docMkLst>
        <pc:docMk/>
      </pc:docMkLst>
      <pc:sldChg chg="addSp modSp mod">
        <pc:chgData name="Koksrud Andreas" userId="9d9beba6-c052-407a-8599-c781a677a996" providerId="ADAL" clId="{4C89AD2D-B60A-479F-9F95-9D423A06FAEA}" dt="2024-07-13T21:48:53.843" v="10" actId="1076"/>
        <pc:sldMkLst>
          <pc:docMk/>
          <pc:sldMk cId="3094626849" sldId="986"/>
        </pc:sldMkLst>
        <pc:spChg chg="mod">
          <ac:chgData name="Koksrud Andreas" userId="9d9beba6-c052-407a-8599-c781a677a996" providerId="ADAL" clId="{4C89AD2D-B60A-479F-9F95-9D423A06FAEA}" dt="2024-07-13T21:48:45.835" v="8" actId="14100"/>
          <ac:spMkLst>
            <pc:docMk/>
            <pc:sldMk cId="3094626849" sldId="986"/>
            <ac:spMk id="181" creationId="{00000000-0000-0000-0000-000000000000}"/>
          </ac:spMkLst>
        </pc:spChg>
        <pc:picChg chg="add mod">
          <ac:chgData name="Koksrud Andreas" userId="9d9beba6-c052-407a-8599-c781a677a996" providerId="ADAL" clId="{4C89AD2D-B60A-479F-9F95-9D423A06FAEA}" dt="2024-07-13T21:48:53.843" v="10" actId="1076"/>
          <ac:picMkLst>
            <pc:docMk/>
            <pc:sldMk cId="3094626849" sldId="986"/>
            <ac:picMk id="9" creationId="{BD346BB7-E46A-4DB8-B19A-C2B7F990ABC7}"/>
          </ac:picMkLst>
        </pc:picChg>
      </pc:sldChg>
    </pc:docChg>
  </pc:docChgLst>
  <pc:docChgLst>
    <pc:chgData name="Kjetil Teigen Hansen (KTH)" userId="S::kth_conscia.com#ext#@telenorgroup.onmicrosoft.com::f8a0f255-21b8-4c53-aace-7d9a45a4c72e" providerId="AD" clId="Web-{DBE54246-0C98-76F2-6F00-744236DE8C59}"/>
    <pc:docChg chg="modSld">
      <pc:chgData name="Kjetil Teigen Hansen (KTH)" userId="S::kth_conscia.com#ext#@telenorgroup.onmicrosoft.com::f8a0f255-21b8-4c53-aace-7d9a45a4c72e" providerId="AD" clId="Web-{DBE54246-0C98-76F2-6F00-744236DE8C59}" dt="2024-09-06T06:54:52.342" v="25" actId="1076"/>
      <pc:docMkLst>
        <pc:docMk/>
      </pc:docMkLst>
      <pc:sldChg chg="addSp delSp modSp">
        <pc:chgData name="Kjetil Teigen Hansen (KTH)" userId="S::kth_conscia.com#ext#@telenorgroup.onmicrosoft.com::f8a0f255-21b8-4c53-aace-7d9a45a4c72e" providerId="AD" clId="Web-{DBE54246-0C98-76F2-6F00-744236DE8C59}" dt="2024-09-06T06:54:52.342" v="25" actId="1076"/>
        <pc:sldMkLst>
          <pc:docMk/>
          <pc:sldMk cId="2014202690" sldId="1030"/>
        </pc:sldMkLst>
        <pc:spChg chg="add mod">
          <ac:chgData name="Kjetil Teigen Hansen (KTH)" userId="S::kth_conscia.com#ext#@telenorgroup.onmicrosoft.com::f8a0f255-21b8-4c53-aace-7d9a45a4c72e" providerId="AD" clId="Web-{DBE54246-0C98-76F2-6F00-744236DE8C59}" dt="2024-09-06T06:54:52.342" v="25" actId="1076"/>
          <ac:spMkLst>
            <pc:docMk/>
            <pc:sldMk cId="2014202690" sldId="1030"/>
            <ac:spMk id="5" creationId="{AC488030-F70D-583F-595B-31F08E56436A}"/>
          </ac:spMkLst>
        </pc:spChg>
        <pc:spChg chg="add del mod">
          <ac:chgData name="Kjetil Teigen Hansen (KTH)" userId="S::kth_conscia.com#ext#@telenorgroup.onmicrosoft.com::f8a0f255-21b8-4c53-aace-7d9a45a4c72e" providerId="AD" clId="Web-{DBE54246-0C98-76F2-6F00-744236DE8C59}" dt="2024-09-06T06:54:46.498" v="23" actId="1076"/>
          <ac:spMkLst>
            <pc:docMk/>
            <pc:sldMk cId="2014202690" sldId="1030"/>
            <ac:spMk id="24" creationId="{45E9A616-4247-B02C-A519-9265B9C7694C}"/>
          </ac:spMkLst>
        </pc:spChg>
      </pc:sldChg>
    </pc:docChg>
  </pc:docChgLst>
  <pc:docChgLst>
    <pc:chgData name="Kjetil Teigen Hansen (KTH)" userId="b00e1467-cd04-4012-9851-f763aaf02a55" providerId="ADAL" clId="{BB1F599B-2BF9-4FCC-85D2-0A2494CB7A37}"/>
    <pc:docChg chg="undo custSel addSld delSld modSld modSection">
      <pc:chgData name="Kjetil Teigen Hansen (KTH)" userId="b00e1467-cd04-4012-9851-f763aaf02a55" providerId="ADAL" clId="{BB1F599B-2BF9-4FCC-85D2-0A2494CB7A37}" dt="2024-09-21T06:59:26.194" v="247" actId="47"/>
      <pc:docMkLst>
        <pc:docMk/>
      </pc:docMkLst>
      <pc:sldChg chg="delSp mod">
        <pc:chgData name="Kjetil Teigen Hansen (KTH)" userId="b00e1467-cd04-4012-9851-f763aaf02a55" providerId="ADAL" clId="{BB1F599B-2BF9-4FCC-85D2-0A2494CB7A37}" dt="2024-09-21T06:48:37.015" v="0" actId="478"/>
        <pc:sldMkLst>
          <pc:docMk/>
          <pc:sldMk cId="835930409" sldId="1038"/>
        </pc:sldMkLst>
        <pc:spChg chg="del">
          <ac:chgData name="Kjetil Teigen Hansen (KTH)" userId="b00e1467-cd04-4012-9851-f763aaf02a55" providerId="ADAL" clId="{BB1F599B-2BF9-4FCC-85D2-0A2494CB7A37}" dt="2024-09-21T06:48:37.015" v="0" actId="478"/>
          <ac:spMkLst>
            <pc:docMk/>
            <pc:sldMk cId="835930409" sldId="1038"/>
            <ac:spMk id="7" creationId="{C51C24B9-EBAB-3B96-995C-E4969E4EEE43}"/>
          </ac:spMkLst>
        </pc:spChg>
      </pc:sldChg>
      <pc:sldChg chg="addSp delSp modSp mod">
        <pc:chgData name="Kjetil Teigen Hansen (KTH)" userId="b00e1467-cd04-4012-9851-f763aaf02a55" providerId="ADAL" clId="{BB1F599B-2BF9-4FCC-85D2-0A2494CB7A37}" dt="2024-09-21T06:50:38.972" v="28" actId="478"/>
        <pc:sldMkLst>
          <pc:docMk/>
          <pc:sldMk cId="2180325670" sldId="1039"/>
        </pc:sldMkLst>
        <pc:spChg chg="del mod">
          <ac:chgData name="Kjetil Teigen Hansen (KTH)" userId="b00e1467-cd04-4012-9851-f763aaf02a55" providerId="ADAL" clId="{BB1F599B-2BF9-4FCC-85D2-0A2494CB7A37}" dt="2024-09-21T06:50:28.743" v="22" actId="478"/>
          <ac:spMkLst>
            <pc:docMk/>
            <pc:sldMk cId="2180325670" sldId="1039"/>
            <ac:spMk id="9" creationId="{D2350C88-03F8-1AEC-4A39-1A5D5934C9CE}"/>
          </ac:spMkLst>
        </pc:spChg>
        <pc:picChg chg="add del mod">
          <ac:chgData name="Kjetil Teigen Hansen (KTH)" userId="b00e1467-cd04-4012-9851-f763aaf02a55" providerId="ADAL" clId="{BB1F599B-2BF9-4FCC-85D2-0A2494CB7A37}" dt="2024-09-21T06:50:38.972" v="28" actId="478"/>
          <ac:picMkLst>
            <pc:docMk/>
            <pc:sldMk cId="2180325670" sldId="1039"/>
            <ac:picMk id="10" creationId="{09985F8E-DD60-AF3C-2592-37AF8F6452A4}"/>
          </ac:picMkLst>
        </pc:picChg>
        <pc:picChg chg="del">
          <ac:chgData name="Kjetil Teigen Hansen (KTH)" userId="b00e1467-cd04-4012-9851-f763aaf02a55" providerId="ADAL" clId="{BB1F599B-2BF9-4FCC-85D2-0A2494CB7A37}" dt="2024-09-21T06:50:29.425" v="23" actId="478"/>
          <ac:picMkLst>
            <pc:docMk/>
            <pc:sldMk cId="2180325670" sldId="1039"/>
            <ac:picMk id="11" creationId="{05BA75F7-6F67-65B1-1A84-CE6D84A38A7F}"/>
          </ac:picMkLst>
        </pc:picChg>
      </pc:sldChg>
      <pc:sldChg chg="modSp mod">
        <pc:chgData name="Kjetil Teigen Hansen (KTH)" userId="b00e1467-cd04-4012-9851-f763aaf02a55" providerId="ADAL" clId="{BB1F599B-2BF9-4FCC-85D2-0A2494CB7A37}" dt="2024-09-21T06:48:54.299" v="20" actId="20577"/>
        <pc:sldMkLst>
          <pc:docMk/>
          <pc:sldMk cId="3079092685" sldId="1055"/>
        </pc:sldMkLst>
        <pc:spChg chg="mod">
          <ac:chgData name="Kjetil Teigen Hansen (KTH)" userId="b00e1467-cd04-4012-9851-f763aaf02a55" providerId="ADAL" clId="{BB1F599B-2BF9-4FCC-85D2-0A2494CB7A37}" dt="2024-09-21T06:48:54.299" v="20" actId="20577"/>
          <ac:spMkLst>
            <pc:docMk/>
            <pc:sldMk cId="3079092685" sldId="1055"/>
            <ac:spMk id="6" creationId="{C9EDCB52-19F7-8070-2D0F-55F7ED455CD2}"/>
          </ac:spMkLst>
        </pc:spChg>
      </pc:sldChg>
      <pc:sldChg chg="addSp delSp modSp add mod">
        <pc:chgData name="Kjetil Teigen Hansen (KTH)" userId="b00e1467-cd04-4012-9851-f763aaf02a55" providerId="ADAL" clId="{BB1F599B-2BF9-4FCC-85D2-0A2494CB7A37}" dt="2024-09-21T06:55:17.624" v="231" actId="14100"/>
        <pc:sldMkLst>
          <pc:docMk/>
          <pc:sldMk cId="1761467169" sldId="1061"/>
        </pc:sldMkLst>
        <pc:spChg chg="add mod">
          <ac:chgData name="Kjetil Teigen Hansen (KTH)" userId="b00e1467-cd04-4012-9851-f763aaf02a55" providerId="ADAL" clId="{BB1F599B-2BF9-4FCC-85D2-0A2494CB7A37}" dt="2024-09-21T06:55:10.459" v="228" actId="20577"/>
          <ac:spMkLst>
            <pc:docMk/>
            <pc:sldMk cId="1761467169" sldId="1061"/>
            <ac:spMk id="9" creationId="{9CB3148F-8967-BB32-E42F-C7A24334C2F6}"/>
          </ac:spMkLst>
        </pc:spChg>
        <pc:spChg chg="del">
          <ac:chgData name="Kjetil Teigen Hansen (KTH)" userId="b00e1467-cd04-4012-9851-f763aaf02a55" providerId="ADAL" clId="{BB1F599B-2BF9-4FCC-85D2-0A2494CB7A37}" dt="2024-09-21T06:50:53.701" v="32" actId="478"/>
          <ac:spMkLst>
            <pc:docMk/>
            <pc:sldMk cId="1761467169" sldId="1061"/>
            <ac:spMk id="15" creationId="{16BE2A3B-C7B7-E67C-A166-C1AB23396548}"/>
          </ac:spMkLst>
        </pc:spChg>
        <pc:spChg chg="del">
          <ac:chgData name="Kjetil Teigen Hansen (KTH)" userId="b00e1467-cd04-4012-9851-f763aaf02a55" providerId="ADAL" clId="{BB1F599B-2BF9-4FCC-85D2-0A2494CB7A37}" dt="2024-09-21T06:50:55.198" v="33" actId="478"/>
          <ac:spMkLst>
            <pc:docMk/>
            <pc:sldMk cId="1761467169" sldId="1061"/>
            <ac:spMk id="181" creationId="{00000000-0000-0000-0000-000000000000}"/>
          </ac:spMkLst>
        </pc:spChg>
        <pc:picChg chg="del mod">
          <ac:chgData name="Kjetil Teigen Hansen (KTH)" userId="b00e1467-cd04-4012-9851-f763aaf02a55" providerId="ADAL" clId="{BB1F599B-2BF9-4FCC-85D2-0A2494CB7A37}" dt="2024-09-21T06:51:42.465" v="89" actId="478"/>
          <ac:picMkLst>
            <pc:docMk/>
            <pc:sldMk cId="1761467169" sldId="1061"/>
            <ac:picMk id="5" creationId="{53587A43-55F7-A37C-8C73-E5F4128EB575}"/>
          </ac:picMkLst>
        </pc:picChg>
        <pc:picChg chg="del">
          <ac:chgData name="Kjetil Teigen Hansen (KTH)" userId="b00e1467-cd04-4012-9851-f763aaf02a55" providerId="ADAL" clId="{BB1F599B-2BF9-4FCC-85D2-0A2494CB7A37}" dt="2024-09-21T06:50:52.033" v="31" actId="478"/>
          <ac:picMkLst>
            <pc:docMk/>
            <pc:sldMk cId="1761467169" sldId="1061"/>
            <ac:picMk id="6" creationId="{3383F2EE-95A7-59EE-906A-61050911BCDD}"/>
          </ac:picMkLst>
        </pc:picChg>
        <pc:picChg chg="del">
          <ac:chgData name="Kjetil Teigen Hansen (KTH)" userId="b00e1467-cd04-4012-9851-f763aaf02a55" providerId="ADAL" clId="{BB1F599B-2BF9-4FCC-85D2-0A2494CB7A37}" dt="2024-09-21T06:50:51.418" v="30" actId="478"/>
          <ac:picMkLst>
            <pc:docMk/>
            <pc:sldMk cId="1761467169" sldId="1061"/>
            <ac:picMk id="8" creationId="{92279F5A-4E6F-EFB7-4788-CA1620B9D12E}"/>
          </ac:picMkLst>
        </pc:picChg>
        <pc:picChg chg="add mod">
          <ac:chgData name="Kjetil Teigen Hansen (KTH)" userId="b00e1467-cd04-4012-9851-f763aaf02a55" providerId="ADAL" clId="{BB1F599B-2BF9-4FCC-85D2-0A2494CB7A37}" dt="2024-09-21T06:51:55.857" v="93" actId="1076"/>
          <ac:picMkLst>
            <pc:docMk/>
            <pc:sldMk cId="1761467169" sldId="1061"/>
            <ac:picMk id="11" creationId="{9E43F5D6-7D54-C91C-8F3C-DCF06C04E72E}"/>
          </ac:picMkLst>
        </pc:picChg>
        <pc:picChg chg="add mod">
          <ac:chgData name="Kjetil Teigen Hansen (KTH)" userId="b00e1467-cd04-4012-9851-f763aaf02a55" providerId="ADAL" clId="{BB1F599B-2BF9-4FCC-85D2-0A2494CB7A37}" dt="2024-09-21T06:54:33.527" v="212" actId="14100"/>
          <ac:picMkLst>
            <pc:docMk/>
            <pc:sldMk cId="1761467169" sldId="1061"/>
            <ac:picMk id="22" creationId="{A83D75D9-2A04-5C6B-C8A0-C47585958862}"/>
          </ac:picMkLst>
        </pc:picChg>
        <pc:picChg chg="add mod">
          <ac:chgData name="Kjetil Teigen Hansen (KTH)" userId="b00e1467-cd04-4012-9851-f763aaf02a55" providerId="ADAL" clId="{BB1F599B-2BF9-4FCC-85D2-0A2494CB7A37}" dt="2024-09-21T06:54:27.976" v="209" actId="1076"/>
          <ac:picMkLst>
            <pc:docMk/>
            <pc:sldMk cId="1761467169" sldId="1061"/>
            <ac:picMk id="24" creationId="{3418784B-9AB4-25B3-68C7-B82F0DA9AD1F}"/>
          </ac:picMkLst>
        </pc:picChg>
        <pc:cxnChg chg="mod">
          <ac:chgData name="Kjetil Teigen Hansen (KTH)" userId="b00e1467-cd04-4012-9851-f763aaf02a55" providerId="ADAL" clId="{BB1F599B-2BF9-4FCC-85D2-0A2494CB7A37}" dt="2024-09-21T06:55:06.211" v="220" actId="1076"/>
          <ac:cxnSpMkLst>
            <pc:docMk/>
            <pc:sldMk cId="1761467169" sldId="1061"/>
            <ac:cxnSpMk id="7" creationId="{84E02731-ADC5-1910-407C-B1C622789F71}"/>
          </ac:cxnSpMkLst>
        </pc:cxnChg>
        <pc:cxnChg chg="add del mod">
          <ac:chgData name="Kjetil Teigen Hansen (KTH)" userId="b00e1467-cd04-4012-9851-f763aaf02a55" providerId="ADAL" clId="{BB1F599B-2BF9-4FCC-85D2-0A2494CB7A37}" dt="2024-09-21T06:55:02.591" v="219" actId="478"/>
          <ac:cxnSpMkLst>
            <pc:docMk/>
            <pc:sldMk cId="1761467169" sldId="1061"/>
            <ac:cxnSpMk id="16" creationId="{CBBC7315-7068-F642-C86F-E1D0885FB3FD}"/>
          </ac:cxnSpMkLst>
        </pc:cxnChg>
        <pc:cxnChg chg="add mod">
          <ac:chgData name="Kjetil Teigen Hansen (KTH)" userId="b00e1467-cd04-4012-9851-f763aaf02a55" providerId="ADAL" clId="{BB1F599B-2BF9-4FCC-85D2-0A2494CB7A37}" dt="2024-09-21T06:53:22.572" v="198" actId="14100"/>
          <ac:cxnSpMkLst>
            <pc:docMk/>
            <pc:sldMk cId="1761467169" sldId="1061"/>
            <ac:cxnSpMk id="18" creationId="{02FBC91B-F087-85D0-D44F-5DA79BF0BEFE}"/>
          </ac:cxnSpMkLst>
        </pc:cxnChg>
        <pc:cxnChg chg="add mod">
          <ac:chgData name="Kjetil Teigen Hansen (KTH)" userId="b00e1467-cd04-4012-9851-f763aaf02a55" providerId="ADAL" clId="{BB1F599B-2BF9-4FCC-85D2-0A2494CB7A37}" dt="2024-09-21T06:54:42.218" v="216" actId="14100"/>
          <ac:cxnSpMkLst>
            <pc:docMk/>
            <pc:sldMk cId="1761467169" sldId="1061"/>
            <ac:cxnSpMk id="25" creationId="{8A02824E-4815-8401-90CF-5BF0A44953AA}"/>
          </ac:cxnSpMkLst>
        </pc:cxnChg>
        <pc:cxnChg chg="add mod">
          <ac:chgData name="Kjetil Teigen Hansen (KTH)" userId="b00e1467-cd04-4012-9851-f763aaf02a55" providerId="ADAL" clId="{BB1F599B-2BF9-4FCC-85D2-0A2494CB7A37}" dt="2024-09-21T06:55:17.624" v="231" actId="14100"/>
          <ac:cxnSpMkLst>
            <pc:docMk/>
            <pc:sldMk cId="1761467169" sldId="1061"/>
            <ac:cxnSpMk id="28" creationId="{9AACB0BE-F521-D02C-7A03-53C135141BBC}"/>
          </ac:cxnSpMkLst>
        </pc:cxnChg>
      </pc:sldChg>
      <pc:sldChg chg="delSp add del mod">
        <pc:chgData name="Kjetil Teigen Hansen (KTH)" userId="b00e1467-cd04-4012-9851-f763aaf02a55" providerId="ADAL" clId="{BB1F599B-2BF9-4FCC-85D2-0A2494CB7A37}" dt="2024-09-21T06:59:26.194" v="247" actId="47"/>
        <pc:sldMkLst>
          <pc:docMk/>
          <pc:sldMk cId="461279370" sldId="1062"/>
        </pc:sldMkLst>
        <pc:spChg chg="del">
          <ac:chgData name="Kjetil Teigen Hansen (KTH)" userId="b00e1467-cd04-4012-9851-f763aaf02a55" providerId="ADAL" clId="{BB1F599B-2BF9-4FCC-85D2-0A2494CB7A37}" dt="2024-09-21T06:57:12.093" v="241" actId="478"/>
          <ac:spMkLst>
            <pc:docMk/>
            <pc:sldMk cId="461279370" sldId="1062"/>
            <ac:spMk id="5" creationId="{3B006967-3918-C146-5936-796B5F5CE6AE}"/>
          </ac:spMkLst>
        </pc:spChg>
        <pc:spChg chg="del">
          <ac:chgData name="Kjetil Teigen Hansen (KTH)" userId="b00e1467-cd04-4012-9851-f763aaf02a55" providerId="ADAL" clId="{BB1F599B-2BF9-4FCC-85D2-0A2494CB7A37}" dt="2024-09-21T06:57:13.588" v="242" actId="478"/>
          <ac:spMkLst>
            <pc:docMk/>
            <pc:sldMk cId="461279370" sldId="1062"/>
            <ac:spMk id="13" creationId="{9BA6C978-19CF-7181-4570-4FCE9A0BD06B}"/>
          </ac:spMkLst>
        </pc:spChg>
        <pc:picChg chg="del">
          <ac:chgData name="Kjetil Teigen Hansen (KTH)" userId="b00e1467-cd04-4012-9851-f763aaf02a55" providerId="ADAL" clId="{BB1F599B-2BF9-4FCC-85D2-0A2494CB7A37}" dt="2024-09-21T06:57:11.025" v="240" actId="478"/>
          <ac:picMkLst>
            <pc:docMk/>
            <pc:sldMk cId="461279370" sldId="1062"/>
            <ac:picMk id="6" creationId="{6829674F-A9C1-BA29-C8C3-493E32F46454}"/>
          </ac:picMkLst>
        </pc:picChg>
        <pc:picChg chg="del">
          <ac:chgData name="Kjetil Teigen Hansen (KTH)" userId="b00e1467-cd04-4012-9851-f763aaf02a55" providerId="ADAL" clId="{BB1F599B-2BF9-4FCC-85D2-0A2494CB7A37}" dt="2024-09-21T06:57:14.015" v="243" actId="478"/>
          <ac:picMkLst>
            <pc:docMk/>
            <pc:sldMk cId="461279370" sldId="1062"/>
            <ac:picMk id="10" creationId="{91C4617E-CC8F-D1EE-409C-0A209576574F}"/>
          </ac:picMkLst>
        </pc:picChg>
        <pc:picChg chg="del">
          <ac:chgData name="Kjetil Teigen Hansen (KTH)" userId="b00e1467-cd04-4012-9851-f763aaf02a55" providerId="ADAL" clId="{BB1F599B-2BF9-4FCC-85D2-0A2494CB7A37}" dt="2024-09-21T06:57:15.781" v="246" actId="478"/>
          <ac:picMkLst>
            <pc:docMk/>
            <pc:sldMk cId="461279370" sldId="1062"/>
            <ac:picMk id="22" creationId="{BA2B4A87-62B5-A836-446D-351C6F3B608C}"/>
          </ac:picMkLst>
        </pc:picChg>
        <pc:cxnChg chg="del">
          <ac:chgData name="Kjetil Teigen Hansen (KTH)" userId="b00e1467-cd04-4012-9851-f763aaf02a55" providerId="ADAL" clId="{BB1F599B-2BF9-4FCC-85D2-0A2494CB7A37}" dt="2024-09-21T06:57:14.569" v="244" actId="478"/>
          <ac:cxnSpMkLst>
            <pc:docMk/>
            <pc:sldMk cId="461279370" sldId="1062"/>
            <ac:cxnSpMk id="14" creationId="{466727A5-B254-D890-8C16-39F965848203}"/>
          </ac:cxnSpMkLst>
        </pc:cxnChg>
        <pc:cxnChg chg="del">
          <ac:chgData name="Kjetil Teigen Hansen (KTH)" userId="b00e1467-cd04-4012-9851-f763aaf02a55" providerId="ADAL" clId="{BB1F599B-2BF9-4FCC-85D2-0A2494CB7A37}" dt="2024-09-21T06:57:15.210" v="245" actId="478"/>
          <ac:cxnSpMkLst>
            <pc:docMk/>
            <pc:sldMk cId="461279370" sldId="1062"/>
            <ac:cxnSpMk id="18" creationId="{98F99124-07DC-2C0B-D455-83617720A8D8}"/>
          </ac:cxnSpMkLst>
        </pc:cxnChg>
      </pc:sldChg>
      <pc:sldChg chg="new del">
        <pc:chgData name="Kjetil Teigen Hansen (KTH)" userId="b00e1467-cd04-4012-9851-f763aaf02a55" providerId="ADAL" clId="{BB1F599B-2BF9-4FCC-85D2-0A2494CB7A37}" dt="2024-09-21T06:57:05.577" v="238" actId="47"/>
        <pc:sldMkLst>
          <pc:docMk/>
          <pc:sldMk cId="1531490388" sldId="1062"/>
        </pc:sldMkLst>
      </pc:sldChg>
      <pc:sldChg chg="modSp add del mod">
        <pc:chgData name="Kjetil Teigen Hansen (KTH)" userId="b00e1467-cd04-4012-9851-f763aaf02a55" providerId="ADAL" clId="{BB1F599B-2BF9-4FCC-85D2-0A2494CB7A37}" dt="2024-09-21T06:56:21.276" v="236" actId="47"/>
        <pc:sldMkLst>
          <pc:docMk/>
          <pc:sldMk cId="3458565194" sldId="1062"/>
        </pc:sldMkLst>
        <pc:spChg chg="mod">
          <ac:chgData name="Kjetil Teigen Hansen (KTH)" userId="b00e1467-cd04-4012-9851-f763aaf02a55" providerId="ADAL" clId="{BB1F599B-2BF9-4FCC-85D2-0A2494CB7A37}" dt="2024-09-21T06:56:19.250" v="235" actId="20577"/>
          <ac:spMkLst>
            <pc:docMk/>
            <pc:sldMk cId="3458565194" sldId="1062"/>
            <ac:spMk id="3" creationId="{50E6E05E-D759-39DF-4A3C-A48ED2CBDA8B}"/>
          </ac:spMkLst>
        </pc:spChg>
      </pc:sldChg>
    </pc:docChg>
  </pc:docChgLst>
  <pc:docChgLst>
    <pc:chgData name="Koksrud Andreas" userId="9d9beba6-c052-407a-8599-c781a677a996" providerId="ADAL" clId="{4C03B8BE-ED6C-47DA-A194-101B46B7832B}"/>
    <pc:docChg chg="undo redo custSel addSld delSld modSld sldOrd modSection">
      <pc:chgData name="Koksrud Andreas" userId="9d9beba6-c052-407a-8599-c781a677a996" providerId="ADAL" clId="{4C03B8BE-ED6C-47DA-A194-101B46B7832B}" dt="2024-02-02T10:18:46.071" v="6818" actId="20577"/>
      <pc:docMkLst>
        <pc:docMk/>
      </pc:docMkLst>
      <pc:sldChg chg="add">
        <pc:chgData name="Koksrud Andreas" userId="9d9beba6-c052-407a-8599-c781a677a996" providerId="ADAL" clId="{4C03B8BE-ED6C-47DA-A194-101B46B7832B}" dt="2024-01-29T12:33:14.270" v="4246"/>
        <pc:sldMkLst>
          <pc:docMk/>
          <pc:sldMk cId="0" sldId="269"/>
        </pc:sldMkLst>
      </pc:sldChg>
      <pc:sldChg chg="modSp mod">
        <pc:chgData name="Koksrud Andreas" userId="9d9beba6-c052-407a-8599-c781a677a996" providerId="ADAL" clId="{4C03B8BE-ED6C-47DA-A194-101B46B7832B}" dt="2024-01-29T13:13:14.874" v="4640" actId="6549"/>
        <pc:sldMkLst>
          <pc:docMk/>
          <pc:sldMk cId="2087783305" sldId="730"/>
        </pc:sldMkLst>
        <pc:spChg chg="mod">
          <ac:chgData name="Koksrud Andreas" userId="9d9beba6-c052-407a-8599-c781a677a996" providerId="ADAL" clId="{4C03B8BE-ED6C-47DA-A194-101B46B7832B}" dt="2024-01-29T13:13:14.874" v="4640" actId="6549"/>
          <ac:spMkLst>
            <pc:docMk/>
            <pc:sldMk cId="2087783305" sldId="730"/>
            <ac:spMk id="2" creationId="{E83F8947-299D-4698-B80E-56B8E23125F0}"/>
          </ac:spMkLst>
        </pc:spChg>
      </pc:sldChg>
      <pc:sldChg chg="modSp mod">
        <pc:chgData name="Koksrud Andreas" userId="9d9beba6-c052-407a-8599-c781a677a996" providerId="ADAL" clId="{4C03B8BE-ED6C-47DA-A194-101B46B7832B}" dt="2024-02-02T08:16:43.721" v="6652" actId="20577"/>
        <pc:sldMkLst>
          <pc:docMk/>
          <pc:sldMk cId="4184721091" sldId="775"/>
        </pc:sldMkLst>
        <pc:spChg chg="mod">
          <ac:chgData name="Koksrud Andreas" userId="9d9beba6-c052-407a-8599-c781a677a996" providerId="ADAL" clId="{4C03B8BE-ED6C-47DA-A194-101B46B7832B}" dt="2024-02-02T08:16:43.721" v="6652" actId="20577"/>
          <ac:spMkLst>
            <pc:docMk/>
            <pc:sldMk cId="4184721091" sldId="775"/>
            <ac:spMk id="181" creationId="{00000000-0000-0000-0000-000000000000}"/>
          </ac:spMkLst>
        </pc:spChg>
      </pc:sldChg>
      <pc:sldChg chg="addSp delSp modSp mod">
        <pc:chgData name="Koksrud Andreas" userId="9d9beba6-c052-407a-8599-c781a677a996" providerId="ADAL" clId="{4C03B8BE-ED6C-47DA-A194-101B46B7832B}" dt="2024-02-02T08:56:05.287" v="6703" actId="478"/>
        <pc:sldMkLst>
          <pc:docMk/>
          <pc:sldMk cId="590634226" sldId="798"/>
        </pc:sldMkLst>
        <pc:spChg chg="add mod">
          <ac:chgData name="Koksrud Andreas" userId="9d9beba6-c052-407a-8599-c781a677a996" providerId="ADAL" clId="{4C03B8BE-ED6C-47DA-A194-101B46B7832B}" dt="2024-01-29T16:47:07.066" v="5144" actId="571"/>
          <ac:spMkLst>
            <pc:docMk/>
            <pc:sldMk cId="590634226" sldId="798"/>
            <ac:spMk id="4" creationId="{76EC6CAD-A0FB-F729-EAF3-09620E5AB75A}"/>
          </ac:spMkLst>
        </pc:spChg>
        <pc:spChg chg="add mod">
          <ac:chgData name="Koksrud Andreas" userId="9d9beba6-c052-407a-8599-c781a677a996" providerId="ADAL" clId="{4C03B8BE-ED6C-47DA-A194-101B46B7832B}" dt="2024-01-29T16:47:07.066" v="5144" actId="571"/>
          <ac:spMkLst>
            <pc:docMk/>
            <pc:sldMk cId="590634226" sldId="798"/>
            <ac:spMk id="5" creationId="{AA806066-AFA4-308F-A5CD-D298357CF30B}"/>
          </ac:spMkLst>
        </pc:spChg>
        <pc:spChg chg="add mod">
          <ac:chgData name="Koksrud Andreas" userId="9d9beba6-c052-407a-8599-c781a677a996" providerId="ADAL" clId="{4C03B8BE-ED6C-47DA-A194-101B46B7832B}" dt="2024-01-29T16:47:07.066" v="5144" actId="571"/>
          <ac:spMkLst>
            <pc:docMk/>
            <pc:sldMk cId="590634226" sldId="798"/>
            <ac:spMk id="6" creationId="{32E75601-F9A7-2CE6-7D2A-010800678BB3}"/>
          </ac:spMkLst>
        </pc:spChg>
        <pc:spChg chg="add mod">
          <ac:chgData name="Koksrud Andreas" userId="9d9beba6-c052-407a-8599-c781a677a996" providerId="ADAL" clId="{4C03B8BE-ED6C-47DA-A194-101B46B7832B}" dt="2024-01-29T16:47:07.066" v="5144" actId="571"/>
          <ac:spMkLst>
            <pc:docMk/>
            <pc:sldMk cId="590634226" sldId="798"/>
            <ac:spMk id="7" creationId="{173EE576-C978-5132-9A6C-9DC75C01B3DE}"/>
          </ac:spMkLst>
        </pc:spChg>
        <pc:spChg chg="add mod">
          <ac:chgData name="Koksrud Andreas" userId="9d9beba6-c052-407a-8599-c781a677a996" providerId="ADAL" clId="{4C03B8BE-ED6C-47DA-A194-101B46B7832B}" dt="2024-01-29T16:47:07.066" v="5144" actId="571"/>
          <ac:spMkLst>
            <pc:docMk/>
            <pc:sldMk cId="590634226" sldId="798"/>
            <ac:spMk id="8" creationId="{B81F1712-D0DA-65B6-21DE-24D1B4758BCF}"/>
          </ac:spMkLst>
        </pc:spChg>
        <pc:spChg chg="add mod">
          <ac:chgData name="Koksrud Andreas" userId="9d9beba6-c052-407a-8599-c781a677a996" providerId="ADAL" clId="{4C03B8BE-ED6C-47DA-A194-101B46B7832B}" dt="2024-01-29T16:47:07.066" v="5144" actId="571"/>
          <ac:spMkLst>
            <pc:docMk/>
            <pc:sldMk cId="590634226" sldId="798"/>
            <ac:spMk id="9" creationId="{143C0B08-8197-70C4-890A-DC75AE10E772}"/>
          </ac:spMkLst>
        </pc:spChg>
        <pc:spChg chg="add mod">
          <ac:chgData name="Koksrud Andreas" userId="9d9beba6-c052-407a-8599-c781a677a996" providerId="ADAL" clId="{4C03B8BE-ED6C-47DA-A194-101B46B7832B}" dt="2024-01-29T16:47:07.066" v="5144" actId="571"/>
          <ac:spMkLst>
            <pc:docMk/>
            <pc:sldMk cId="590634226" sldId="798"/>
            <ac:spMk id="10" creationId="{795A1E0B-DA2B-8E96-EABD-D01A1D5C7892}"/>
          </ac:spMkLst>
        </pc:spChg>
        <pc:spChg chg="add mod">
          <ac:chgData name="Koksrud Andreas" userId="9d9beba6-c052-407a-8599-c781a677a996" providerId="ADAL" clId="{4C03B8BE-ED6C-47DA-A194-101B46B7832B}" dt="2024-01-29T16:47:07.066" v="5144" actId="571"/>
          <ac:spMkLst>
            <pc:docMk/>
            <pc:sldMk cId="590634226" sldId="798"/>
            <ac:spMk id="11" creationId="{3EDD7DDA-4D30-BB94-4ED0-D3CF1A0E57BC}"/>
          </ac:spMkLst>
        </pc:spChg>
        <pc:spChg chg="add mod">
          <ac:chgData name="Koksrud Andreas" userId="9d9beba6-c052-407a-8599-c781a677a996" providerId="ADAL" clId="{4C03B8BE-ED6C-47DA-A194-101B46B7832B}" dt="2024-01-29T16:47:07.066" v="5144" actId="571"/>
          <ac:spMkLst>
            <pc:docMk/>
            <pc:sldMk cId="590634226" sldId="798"/>
            <ac:spMk id="12" creationId="{C8A9678F-A1E4-B8C4-08B4-A05C9178EAA7}"/>
          </ac:spMkLst>
        </pc:spChg>
        <pc:spChg chg="add mod">
          <ac:chgData name="Koksrud Andreas" userId="9d9beba6-c052-407a-8599-c781a677a996" providerId="ADAL" clId="{4C03B8BE-ED6C-47DA-A194-101B46B7832B}" dt="2024-01-29T16:47:07.066" v="5144" actId="571"/>
          <ac:spMkLst>
            <pc:docMk/>
            <pc:sldMk cId="590634226" sldId="798"/>
            <ac:spMk id="13" creationId="{D9DC8C95-7B23-D269-7A13-CDD3C2D98128}"/>
          </ac:spMkLst>
        </pc:spChg>
        <pc:spChg chg="add del mod">
          <ac:chgData name="Koksrud Andreas" userId="9d9beba6-c052-407a-8599-c781a677a996" providerId="ADAL" clId="{4C03B8BE-ED6C-47DA-A194-101B46B7832B}" dt="2024-01-29T16:39:08.513" v="4942" actId="478"/>
          <ac:spMkLst>
            <pc:docMk/>
            <pc:sldMk cId="590634226" sldId="798"/>
            <ac:spMk id="14" creationId="{8D9920B0-1D32-D02A-6921-ABE9ACD0AE33}"/>
          </ac:spMkLst>
        </pc:spChg>
        <pc:spChg chg="add del mod">
          <ac:chgData name="Koksrud Andreas" userId="9d9beba6-c052-407a-8599-c781a677a996" providerId="ADAL" clId="{4C03B8BE-ED6C-47DA-A194-101B46B7832B}" dt="2024-01-29T16:39:10.233" v="4943" actId="478"/>
          <ac:spMkLst>
            <pc:docMk/>
            <pc:sldMk cId="590634226" sldId="798"/>
            <ac:spMk id="15" creationId="{9FFFDC5E-95D4-4856-AC3E-4973BB1F2023}"/>
          </ac:spMkLst>
        </pc:spChg>
        <pc:spChg chg="add mod">
          <ac:chgData name="Koksrud Andreas" userId="9d9beba6-c052-407a-8599-c781a677a996" providerId="ADAL" clId="{4C03B8BE-ED6C-47DA-A194-101B46B7832B}" dt="2024-01-29T16:47:07.066" v="5144" actId="571"/>
          <ac:spMkLst>
            <pc:docMk/>
            <pc:sldMk cId="590634226" sldId="798"/>
            <ac:spMk id="16" creationId="{F5AC8282-AC0C-4362-FD4B-A2E2D13D1A1F}"/>
          </ac:spMkLst>
        </pc:spChg>
        <pc:spChg chg="add mod">
          <ac:chgData name="Koksrud Andreas" userId="9d9beba6-c052-407a-8599-c781a677a996" providerId="ADAL" clId="{4C03B8BE-ED6C-47DA-A194-101B46B7832B}" dt="2024-01-29T16:47:07.066" v="5144" actId="571"/>
          <ac:spMkLst>
            <pc:docMk/>
            <pc:sldMk cId="590634226" sldId="798"/>
            <ac:spMk id="17" creationId="{0CA6654D-39BE-7B80-3FFB-2141CE670F1C}"/>
          </ac:spMkLst>
        </pc:spChg>
        <pc:spChg chg="add mod">
          <ac:chgData name="Koksrud Andreas" userId="9d9beba6-c052-407a-8599-c781a677a996" providerId="ADAL" clId="{4C03B8BE-ED6C-47DA-A194-101B46B7832B}" dt="2024-01-29T16:47:07.066" v="5144" actId="571"/>
          <ac:spMkLst>
            <pc:docMk/>
            <pc:sldMk cId="590634226" sldId="798"/>
            <ac:spMk id="18" creationId="{E92C9186-C396-CC74-44EB-039D5312BA35}"/>
          </ac:spMkLst>
        </pc:spChg>
        <pc:spChg chg="add mod">
          <ac:chgData name="Koksrud Andreas" userId="9d9beba6-c052-407a-8599-c781a677a996" providerId="ADAL" clId="{4C03B8BE-ED6C-47DA-A194-101B46B7832B}" dt="2024-01-29T16:47:07.066" v="5144" actId="571"/>
          <ac:spMkLst>
            <pc:docMk/>
            <pc:sldMk cId="590634226" sldId="798"/>
            <ac:spMk id="19" creationId="{DA741487-A195-874A-955B-70528E9B3AAB}"/>
          </ac:spMkLst>
        </pc:spChg>
        <pc:spChg chg="add mod">
          <ac:chgData name="Koksrud Andreas" userId="9d9beba6-c052-407a-8599-c781a677a996" providerId="ADAL" clId="{4C03B8BE-ED6C-47DA-A194-101B46B7832B}" dt="2024-01-29T16:47:07.066" v="5144" actId="571"/>
          <ac:spMkLst>
            <pc:docMk/>
            <pc:sldMk cId="590634226" sldId="798"/>
            <ac:spMk id="20" creationId="{BDB90CA0-D496-47E4-97F6-BEA1BB812FDC}"/>
          </ac:spMkLst>
        </pc:spChg>
        <pc:spChg chg="add del mod">
          <ac:chgData name="Koksrud Andreas" userId="9d9beba6-c052-407a-8599-c781a677a996" providerId="ADAL" clId="{4C03B8BE-ED6C-47DA-A194-101B46B7832B}" dt="2024-01-29T16:40:37.869" v="4977" actId="478"/>
          <ac:spMkLst>
            <pc:docMk/>
            <pc:sldMk cId="590634226" sldId="798"/>
            <ac:spMk id="22" creationId="{B697C43F-A305-2805-2B1F-74EFFD75E572}"/>
          </ac:spMkLst>
        </pc:spChg>
        <pc:spChg chg="add mod ord">
          <ac:chgData name="Koksrud Andreas" userId="9d9beba6-c052-407a-8599-c781a677a996" providerId="ADAL" clId="{4C03B8BE-ED6C-47DA-A194-101B46B7832B}" dt="2024-01-29T16:43:04.604" v="5061" actId="1076"/>
          <ac:spMkLst>
            <pc:docMk/>
            <pc:sldMk cId="590634226" sldId="798"/>
            <ac:spMk id="24" creationId="{D6A143A2-6DC8-EE0A-CCB1-B424797B0848}"/>
          </ac:spMkLst>
        </pc:spChg>
        <pc:spChg chg="add mod">
          <ac:chgData name="Koksrud Andreas" userId="9d9beba6-c052-407a-8599-c781a677a996" providerId="ADAL" clId="{4C03B8BE-ED6C-47DA-A194-101B46B7832B}" dt="2024-01-29T16:43:04.604" v="5061" actId="1076"/>
          <ac:spMkLst>
            <pc:docMk/>
            <pc:sldMk cId="590634226" sldId="798"/>
            <ac:spMk id="25" creationId="{45DA5927-31D6-A6F7-3DA5-36780F427DE0}"/>
          </ac:spMkLst>
        </pc:spChg>
        <pc:spChg chg="add del mod">
          <ac:chgData name="Koksrud Andreas" userId="9d9beba6-c052-407a-8599-c781a677a996" providerId="ADAL" clId="{4C03B8BE-ED6C-47DA-A194-101B46B7832B}" dt="2024-01-29T16:42:30.303" v="5053" actId="478"/>
          <ac:spMkLst>
            <pc:docMk/>
            <pc:sldMk cId="590634226" sldId="798"/>
            <ac:spMk id="26" creationId="{56089A57-DDBE-ECBF-286F-3D409469B608}"/>
          </ac:spMkLst>
        </pc:spChg>
        <pc:spChg chg="add del mod">
          <ac:chgData name="Koksrud Andreas" userId="9d9beba6-c052-407a-8599-c781a677a996" providerId="ADAL" clId="{4C03B8BE-ED6C-47DA-A194-101B46B7832B}" dt="2024-01-29T16:42:30.303" v="5053" actId="478"/>
          <ac:spMkLst>
            <pc:docMk/>
            <pc:sldMk cId="590634226" sldId="798"/>
            <ac:spMk id="27" creationId="{A9BA73F8-6B68-5293-5DB0-B79895257530}"/>
          </ac:spMkLst>
        </pc:spChg>
        <pc:spChg chg="add mod">
          <ac:chgData name="Koksrud Andreas" userId="9d9beba6-c052-407a-8599-c781a677a996" providerId="ADAL" clId="{4C03B8BE-ED6C-47DA-A194-101B46B7832B}" dt="2024-01-29T16:43:04.604" v="5061" actId="1076"/>
          <ac:spMkLst>
            <pc:docMk/>
            <pc:sldMk cId="590634226" sldId="798"/>
            <ac:spMk id="28" creationId="{AF5CE770-A549-B9DB-E6CF-AC2EE64049DB}"/>
          </ac:spMkLst>
        </pc:spChg>
        <pc:spChg chg="add mod">
          <ac:chgData name="Koksrud Andreas" userId="9d9beba6-c052-407a-8599-c781a677a996" providerId="ADAL" clId="{4C03B8BE-ED6C-47DA-A194-101B46B7832B}" dt="2024-01-29T16:44:22.689" v="5066" actId="20577"/>
          <ac:spMkLst>
            <pc:docMk/>
            <pc:sldMk cId="590634226" sldId="798"/>
            <ac:spMk id="29" creationId="{FD8B6B09-0BAA-72A3-5069-03FB3A6F1FD3}"/>
          </ac:spMkLst>
        </pc:spChg>
        <pc:spChg chg="add mod">
          <ac:chgData name="Koksrud Andreas" userId="9d9beba6-c052-407a-8599-c781a677a996" providerId="ADAL" clId="{4C03B8BE-ED6C-47DA-A194-101B46B7832B}" dt="2024-01-29T16:43:04.604" v="5061" actId="1076"/>
          <ac:spMkLst>
            <pc:docMk/>
            <pc:sldMk cId="590634226" sldId="798"/>
            <ac:spMk id="30" creationId="{23887655-624B-D06C-224F-3506B1E8556B}"/>
          </ac:spMkLst>
        </pc:spChg>
        <pc:spChg chg="add mod">
          <ac:chgData name="Koksrud Andreas" userId="9d9beba6-c052-407a-8599-c781a677a996" providerId="ADAL" clId="{4C03B8BE-ED6C-47DA-A194-101B46B7832B}" dt="2024-01-29T16:44:30.497" v="5083" actId="20577"/>
          <ac:spMkLst>
            <pc:docMk/>
            <pc:sldMk cId="590634226" sldId="798"/>
            <ac:spMk id="31" creationId="{25298CD9-32CC-ACCF-BB55-FF61205764D4}"/>
          </ac:spMkLst>
        </pc:spChg>
        <pc:spChg chg="add mod">
          <ac:chgData name="Koksrud Andreas" userId="9d9beba6-c052-407a-8599-c781a677a996" providerId="ADAL" clId="{4C03B8BE-ED6C-47DA-A194-101B46B7832B}" dt="2024-01-29T16:43:04.604" v="5061" actId="1076"/>
          <ac:spMkLst>
            <pc:docMk/>
            <pc:sldMk cId="590634226" sldId="798"/>
            <ac:spMk id="32" creationId="{A4D8B920-98A2-F77B-D3AE-16A265F6474B}"/>
          </ac:spMkLst>
        </pc:spChg>
        <pc:spChg chg="add mod">
          <ac:chgData name="Koksrud Andreas" userId="9d9beba6-c052-407a-8599-c781a677a996" providerId="ADAL" clId="{4C03B8BE-ED6C-47DA-A194-101B46B7832B}" dt="2024-01-29T16:47:43.128" v="5209" actId="20577"/>
          <ac:spMkLst>
            <pc:docMk/>
            <pc:sldMk cId="590634226" sldId="798"/>
            <ac:spMk id="33" creationId="{F0DE4DEE-C43D-8E47-F334-0C8821CE1F9C}"/>
          </ac:spMkLst>
        </pc:spChg>
        <pc:spChg chg="add mod">
          <ac:chgData name="Koksrud Andreas" userId="9d9beba6-c052-407a-8599-c781a677a996" providerId="ADAL" clId="{4C03B8BE-ED6C-47DA-A194-101B46B7832B}" dt="2024-01-29T16:47:37.251" v="5200" actId="1076"/>
          <ac:spMkLst>
            <pc:docMk/>
            <pc:sldMk cId="590634226" sldId="798"/>
            <ac:spMk id="72" creationId="{C90AABEB-82E3-05B0-A468-8E6FC57D6DF4}"/>
          </ac:spMkLst>
        </pc:spChg>
        <pc:spChg chg="add mod">
          <ac:chgData name="Koksrud Andreas" userId="9d9beba6-c052-407a-8599-c781a677a996" providerId="ADAL" clId="{4C03B8BE-ED6C-47DA-A194-101B46B7832B}" dt="2024-01-29T16:47:17.597" v="5172" actId="14100"/>
          <ac:spMkLst>
            <pc:docMk/>
            <pc:sldMk cId="590634226" sldId="798"/>
            <ac:spMk id="73" creationId="{62EE9815-8AC9-0E40-C19D-3B634AB9D747}"/>
          </ac:spMkLst>
        </pc:spChg>
        <pc:spChg chg="mod">
          <ac:chgData name="Koksrud Andreas" userId="9d9beba6-c052-407a-8599-c781a677a996" providerId="ADAL" clId="{4C03B8BE-ED6C-47DA-A194-101B46B7832B}" dt="2024-02-02T08:52:41.679" v="6702" actId="20577"/>
          <ac:spMkLst>
            <pc:docMk/>
            <pc:sldMk cId="590634226" sldId="798"/>
            <ac:spMk id="181" creationId="{00000000-0000-0000-0000-000000000000}"/>
          </ac:spMkLst>
        </pc:spChg>
        <pc:grpChg chg="add mod">
          <ac:chgData name="Koksrud Andreas" userId="9d9beba6-c052-407a-8599-c781a677a996" providerId="ADAL" clId="{4C03B8BE-ED6C-47DA-A194-101B46B7832B}" dt="2024-01-29T16:47:07.066" v="5144" actId="571"/>
          <ac:grpSpMkLst>
            <pc:docMk/>
            <pc:sldMk cId="590634226" sldId="798"/>
            <ac:grpSpMk id="21" creationId="{C78476C5-6658-C6CA-78C4-EDCE2DF22B7A}"/>
          </ac:grpSpMkLst>
        </pc:grpChg>
        <pc:picChg chg="add mod">
          <ac:chgData name="Koksrud Andreas" userId="9d9beba6-c052-407a-8599-c781a677a996" providerId="ADAL" clId="{4C03B8BE-ED6C-47DA-A194-101B46B7832B}" dt="2024-01-29T16:40:45.576" v="4981" actId="1076"/>
          <ac:picMkLst>
            <pc:docMk/>
            <pc:sldMk cId="590634226" sldId="798"/>
            <ac:picMk id="3" creationId="{7BD3BC71-3BEA-530A-21CA-D182EFC79559}"/>
          </ac:picMkLst>
        </pc:picChg>
        <pc:picChg chg="add mod">
          <ac:chgData name="Koksrud Andreas" userId="9d9beba6-c052-407a-8599-c781a677a996" providerId="ADAL" clId="{4C03B8BE-ED6C-47DA-A194-101B46B7832B}" dt="2024-01-29T16:44:12.336" v="5063" actId="1076"/>
          <ac:picMkLst>
            <pc:docMk/>
            <pc:sldMk cId="590634226" sldId="798"/>
            <ac:picMk id="35" creationId="{3BF28389-0F1E-578C-BFF7-1482582B3988}"/>
          </ac:picMkLst>
        </pc:picChg>
        <pc:picChg chg="add mod">
          <ac:chgData name="Koksrud Andreas" userId="9d9beba6-c052-407a-8599-c781a677a996" providerId="ADAL" clId="{4C03B8BE-ED6C-47DA-A194-101B46B7832B}" dt="2024-01-29T16:44:14.876" v="5064" actId="1076"/>
          <ac:picMkLst>
            <pc:docMk/>
            <pc:sldMk cId="590634226" sldId="798"/>
            <ac:picMk id="37" creationId="{8E445EF0-DC34-C251-C08D-FB2C41C38AFF}"/>
          </ac:picMkLst>
        </pc:picChg>
        <pc:cxnChg chg="add mod">
          <ac:chgData name="Koksrud Andreas" userId="9d9beba6-c052-407a-8599-c781a677a996" providerId="ADAL" clId="{4C03B8BE-ED6C-47DA-A194-101B46B7832B}" dt="2024-01-29T16:44:53.982" v="5107" actId="13822"/>
          <ac:cxnSpMkLst>
            <pc:docMk/>
            <pc:sldMk cId="590634226" sldId="798"/>
            <ac:cxnSpMk id="39" creationId="{2CC717A9-1599-8DC4-6F65-CFC6B9B0F588}"/>
          </ac:cxnSpMkLst>
        </pc:cxnChg>
        <pc:cxnChg chg="add del mod">
          <ac:chgData name="Koksrud Andreas" userId="9d9beba6-c052-407a-8599-c781a677a996" providerId="ADAL" clId="{4C03B8BE-ED6C-47DA-A194-101B46B7832B}" dt="2024-01-29T16:45:05.399" v="5110" actId="478"/>
          <ac:cxnSpMkLst>
            <pc:docMk/>
            <pc:sldMk cId="590634226" sldId="798"/>
            <ac:cxnSpMk id="40" creationId="{D0E24163-CA8F-624C-C365-B6A57C6421BC}"/>
          </ac:cxnSpMkLst>
        </pc:cxnChg>
        <pc:cxnChg chg="add mod">
          <ac:chgData name="Koksrud Andreas" userId="9d9beba6-c052-407a-8599-c781a677a996" providerId="ADAL" clId="{4C03B8BE-ED6C-47DA-A194-101B46B7832B}" dt="2024-01-29T16:45:18.801" v="5112" actId="13822"/>
          <ac:cxnSpMkLst>
            <pc:docMk/>
            <pc:sldMk cId="590634226" sldId="798"/>
            <ac:cxnSpMk id="43" creationId="{1D40F89F-E142-BD6A-7B56-127A0B7F0D41}"/>
          </ac:cxnSpMkLst>
        </pc:cxnChg>
        <pc:cxnChg chg="add mod">
          <ac:chgData name="Koksrud Andreas" userId="9d9beba6-c052-407a-8599-c781a677a996" providerId="ADAL" clId="{4C03B8BE-ED6C-47DA-A194-101B46B7832B}" dt="2024-01-29T16:45:29.277" v="5115" actId="14100"/>
          <ac:cxnSpMkLst>
            <pc:docMk/>
            <pc:sldMk cId="590634226" sldId="798"/>
            <ac:cxnSpMk id="44" creationId="{F5E7D3CF-EE20-FBE8-5736-3CD8860A91D0}"/>
          </ac:cxnSpMkLst>
        </pc:cxnChg>
        <pc:cxnChg chg="add mod">
          <ac:chgData name="Koksrud Andreas" userId="9d9beba6-c052-407a-8599-c781a677a996" providerId="ADAL" clId="{4C03B8BE-ED6C-47DA-A194-101B46B7832B}" dt="2024-01-29T16:45:43.382" v="5122" actId="14100"/>
          <ac:cxnSpMkLst>
            <pc:docMk/>
            <pc:sldMk cId="590634226" sldId="798"/>
            <ac:cxnSpMk id="47" creationId="{5E785A8F-944D-6D70-ECB1-F5E458589A00}"/>
          </ac:cxnSpMkLst>
        </pc:cxnChg>
        <pc:cxnChg chg="add mod">
          <ac:chgData name="Koksrud Andreas" userId="9d9beba6-c052-407a-8599-c781a677a996" providerId="ADAL" clId="{4C03B8BE-ED6C-47DA-A194-101B46B7832B}" dt="2024-01-29T16:45:40.353" v="5121" actId="14100"/>
          <ac:cxnSpMkLst>
            <pc:docMk/>
            <pc:sldMk cId="590634226" sldId="798"/>
            <ac:cxnSpMk id="49" creationId="{D7165246-2A13-10B8-0614-866976B2A3EB}"/>
          </ac:cxnSpMkLst>
        </pc:cxnChg>
        <pc:cxnChg chg="add mod">
          <ac:chgData name="Koksrud Andreas" userId="9d9beba6-c052-407a-8599-c781a677a996" providerId="ADAL" clId="{4C03B8BE-ED6C-47DA-A194-101B46B7832B}" dt="2024-01-29T16:45:59.728" v="5125" actId="14100"/>
          <ac:cxnSpMkLst>
            <pc:docMk/>
            <pc:sldMk cId="590634226" sldId="798"/>
            <ac:cxnSpMk id="53" creationId="{80A07859-BE6E-4E3A-E84C-A016FA926A81}"/>
          </ac:cxnSpMkLst>
        </pc:cxnChg>
        <pc:cxnChg chg="add del mod">
          <ac:chgData name="Koksrud Andreas" userId="9d9beba6-c052-407a-8599-c781a677a996" providerId="ADAL" clId="{4C03B8BE-ED6C-47DA-A194-101B46B7832B}" dt="2024-01-29T16:46:45.005" v="5142" actId="478"/>
          <ac:cxnSpMkLst>
            <pc:docMk/>
            <pc:sldMk cId="590634226" sldId="798"/>
            <ac:cxnSpMk id="56" creationId="{AB2A5FB1-48C0-02C5-4169-9C4BB3D5F19C}"/>
          </ac:cxnSpMkLst>
        </pc:cxnChg>
        <pc:cxnChg chg="add del mod">
          <ac:chgData name="Koksrud Andreas" userId="9d9beba6-c052-407a-8599-c781a677a996" providerId="ADAL" clId="{4C03B8BE-ED6C-47DA-A194-101B46B7832B}" dt="2024-02-02T08:56:05.287" v="6703" actId="478"/>
          <ac:cxnSpMkLst>
            <pc:docMk/>
            <pc:sldMk cId="590634226" sldId="798"/>
            <ac:cxnSpMk id="59" creationId="{65745E8E-C968-BFC6-3E1B-EFBC6C45D35B}"/>
          </ac:cxnSpMkLst>
        </pc:cxnChg>
        <pc:cxnChg chg="add mod">
          <ac:chgData name="Koksrud Andreas" userId="9d9beba6-c052-407a-8599-c781a677a996" providerId="ADAL" clId="{4C03B8BE-ED6C-47DA-A194-101B46B7832B}" dt="2024-01-29T16:46:23.122" v="5134" actId="14100"/>
          <ac:cxnSpMkLst>
            <pc:docMk/>
            <pc:sldMk cId="590634226" sldId="798"/>
            <ac:cxnSpMk id="62" creationId="{0FEFA21F-8DC1-4CBA-6059-D1AB3E3BDDCD}"/>
          </ac:cxnSpMkLst>
        </pc:cxnChg>
        <pc:cxnChg chg="add mod">
          <ac:chgData name="Koksrud Andreas" userId="9d9beba6-c052-407a-8599-c781a677a996" providerId="ADAL" clId="{4C03B8BE-ED6C-47DA-A194-101B46B7832B}" dt="2024-01-29T16:46:29.223" v="5137" actId="14100"/>
          <ac:cxnSpMkLst>
            <pc:docMk/>
            <pc:sldMk cId="590634226" sldId="798"/>
            <ac:cxnSpMk id="65" creationId="{66F79FAD-868B-7830-27AC-411EE8EEEEBF}"/>
          </ac:cxnSpMkLst>
        </pc:cxnChg>
        <pc:cxnChg chg="add mod">
          <ac:chgData name="Koksrud Andreas" userId="9d9beba6-c052-407a-8599-c781a677a996" providerId="ADAL" clId="{4C03B8BE-ED6C-47DA-A194-101B46B7832B}" dt="2024-01-29T16:46:36.687" v="5140" actId="14100"/>
          <ac:cxnSpMkLst>
            <pc:docMk/>
            <pc:sldMk cId="590634226" sldId="798"/>
            <ac:cxnSpMk id="68" creationId="{4FA43706-4263-7CE9-ADAE-56DC0D8759FE}"/>
          </ac:cxnSpMkLst>
        </pc:cxnChg>
      </pc:sldChg>
      <pc:sldChg chg="modSp mod">
        <pc:chgData name="Koksrud Andreas" userId="9d9beba6-c052-407a-8599-c781a677a996" providerId="ADAL" clId="{4C03B8BE-ED6C-47DA-A194-101B46B7832B}" dt="2024-02-01T13:30:05.618" v="6304" actId="20577"/>
        <pc:sldMkLst>
          <pc:docMk/>
          <pc:sldMk cId="2075912972" sldId="800"/>
        </pc:sldMkLst>
        <pc:spChg chg="mod">
          <ac:chgData name="Koksrud Andreas" userId="9d9beba6-c052-407a-8599-c781a677a996" providerId="ADAL" clId="{4C03B8BE-ED6C-47DA-A194-101B46B7832B}" dt="2024-01-29T13:10:43.831" v="4513" actId="20577"/>
          <ac:spMkLst>
            <pc:docMk/>
            <pc:sldMk cId="2075912972" sldId="800"/>
            <ac:spMk id="4" creationId="{1F0030D3-C16D-0458-39A0-65E4C91CE228}"/>
          </ac:spMkLst>
        </pc:spChg>
        <pc:graphicFrameChg chg="mod modGraphic">
          <ac:chgData name="Koksrud Andreas" userId="9d9beba6-c052-407a-8599-c781a677a996" providerId="ADAL" clId="{4C03B8BE-ED6C-47DA-A194-101B46B7832B}" dt="2024-02-01T13:30:05.618" v="6304" actId="20577"/>
          <ac:graphicFrameMkLst>
            <pc:docMk/>
            <pc:sldMk cId="2075912972" sldId="800"/>
            <ac:graphicFrameMk id="3" creationId="{9988BFF9-164F-39C7-5576-A1BE9BB1B8AA}"/>
          </ac:graphicFrameMkLst>
        </pc:graphicFrameChg>
      </pc:sldChg>
      <pc:sldChg chg="addSp delSp modSp mod">
        <pc:chgData name="Koksrud Andreas" userId="9d9beba6-c052-407a-8599-c781a677a996" providerId="ADAL" clId="{4C03B8BE-ED6C-47DA-A194-101B46B7832B}" dt="2024-02-01T13:31:05.641" v="6337" actId="20577"/>
        <pc:sldMkLst>
          <pc:docMk/>
          <pc:sldMk cId="1335476865" sldId="813"/>
        </pc:sldMkLst>
        <pc:spChg chg="add del mod">
          <ac:chgData name="Koksrud Andreas" userId="9d9beba6-c052-407a-8599-c781a677a996" providerId="ADAL" clId="{4C03B8BE-ED6C-47DA-A194-101B46B7832B}" dt="2024-01-23T12:00:41.005" v="64" actId="478"/>
          <ac:spMkLst>
            <pc:docMk/>
            <pc:sldMk cId="1335476865" sldId="813"/>
            <ac:spMk id="4" creationId="{61A6469C-BA45-1270-DE62-9849E8AD6296}"/>
          </ac:spMkLst>
        </pc:spChg>
        <pc:spChg chg="mod">
          <ac:chgData name="Koksrud Andreas" userId="9d9beba6-c052-407a-8599-c781a677a996" providerId="ADAL" clId="{4C03B8BE-ED6C-47DA-A194-101B46B7832B}" dt="2024-02-01T13:31:05.641" v="6337" actId="20577"/>
          <ac:spMkLst>
            <pc:docMk/>
            <pc:sldMk cId="1335476865" sldId="813"/>
            <ac:spMk id="5" creationId="{4544DAF9-645F-44E3-08C5-45A5700AF33A}"/>
          </ac:spMkLst>
        </pc:spChg>
        <pc:spChg chg="mod">
          <ac:chgData name="Koksrud Andreas" userId="9d9beba6-c052-407a-8599-c781a677a996" providerId="ADAL" clId="{4C03B8BE-ED6C-47DA-A194-101B46B7832B}" dt="2024-01-23T12:10:58.377" v="131" actId="207"/>
          <ac:spMkLst>
            <pc:docMk/>
            <pc:sldMk cId="1335476865" sldId="813"/>
            <ac:spMk id="6" creationId="{8CB466B1-5D8D-577F-167C-F0D8E426E805}"/>
          </ac:spMkLst>
        </pc:spChg>
        <pc:spChg chg="mod">
          <ac:chgData name="Koksrud Andreas" userId="9d9beba6-c052-407a-8599-c781a677a996" providerId="ADAL" clId="{4C03B8BE-ED6C-47DA-A194-101B46B7832B}" dt="2024-01-23T12:10:58.377" v="131" actId="207"/>
          <ac:spMkLst>
            <pc:docMk/>
            <pc:sldMk cId="1335476865" sldId="813"/>
            <ac:spMk id="7" creationId="{0A2971D7-73A6-15C4-DF47-BE19C2977C19}"/>
          </ac:spMkLst>
        </pc:spChg>
        <pc:spChg chg="mod">
          <ac:chgData name="Koksrud Andreas" userId="9d9beba6-c052-407a-8599-c781a677a996" providerId="ADAL" clId="{4C03B8BE-ED6C-47DA-A194-101B46B7832B}" dt="2024-01-23T12:10:47.622" v="130" actId="207"/>
          <ac:spMkLst>
            <pc:docMk/>
            <pc:sldMk cId="1335476865" sldId="813"/>
            <ac:spMk id="8" creationId="{BC37532E-4FDD-8095-35D0-D09AA5F7FFD9}"/>
          </ac:spMkLst>
        </pc:spChg>
        <pc:spChg chg="add del">
          <ac:chgData name="Koksrud Andreas" userId="9d9beba6-c052-407a-8599-c781a677a996" providerId="ADAL" clId="{4C03B8BE-ED6C-47DA-A194-101B46B7832B}" dt="2024-01-23T11:57:39.052" v="7"/>
          <ac:spMkLst>
            <pc:docMk/>
            <pc:sldMk cId="1335476865" sldId="813"/>
            <ac:spMk id="9" creationId="{36012156-81F4-95F9-4738-17034626B2B5}"/>
          </ac:spMkLst>
        </pc:spChg>
        <pc:spChg chg="add del">
          <ac:chgData name="Koksrud Andreas" userId="9d9beba6-c052-407a-8599-c781a677a996" providerId="ADAL" clId="{4C03B8BE-ED6C-47DA-A194-101B46B7832B}" dt="2024-01-23T11:57:55.177" v="15" actId="478"/>
          <ac:spMkLst>
            <pc:docMk/>
            <pc:sldMk cId="1335476865" sldId="813"/>
            <ac:spMk id="11" creationId="{A5D5D2E7-DC08-6725-1F7D-50C36B906597}"/>
          </ac:spMkLst>
        </pc:spChg>
        <pc:picChg chg="add mod">
          <ac:chgData name="Koksrud Andreas" userId="9d9beba6-c052-407a-8599-c781a677a996" providerId="ADAL" clId="{4C03B8BE-ED6C-47DA-A194-101B46B7832B}" dt="2024-01-23T12:00:53.880" v="67" actId="1076"/>
          <ac:picMkLst>
            <pc:docMk/>
            <pc:sldMk cId="1335476865" sldId="813"/>
            <ac:picMk id="3" creationId="{6970F742-0D09-58BF-DB2F-BDFB50BD601B}"/>
          </ac:picMkLst>
        </pc:picChg>
        <pc:picChg chg="del">
          <ac:chgData name="Koksrud Andreas" userId="9d9beba6-c052-407a-8599-c781a677a996" providerId="ADAL" clId="{4C03B8BE-ED6C-47DA-A194-101B46B7832B}" dt="2024-01-23T12:00:49.340" v="65" actId="478"/>
          <ac:picMkLst>
            <pc:docMk/>
            <pc:sldMk cId="1335476865" sldId="813"/>
            <ac:picMk id="10" creationId="{AA68FF74-1E71-8AC5-422F-D994FA0F2BEE}"/>
          </ac:picMkLst>
        </pc:picChg>
        <pc:picChg chg="add mod">
          <ac:chgData name="Koksrud Andreas" userId="9d9beba6-c052-407a-8599-c781a677a996" providerId="ADAL" clId="{4C03B8BE-ED6C-47DA-A194-101B46B7832B}" dt="2024-01-23T12:00:51.484" v="66" actId="1076"/>
          <ac:picMkLst>
            <pc:docMk/>
            <pc:sldMk cId="1335476865" sldId="813"/>
            <ac:picMk id="14" creationId="{0B4E3063-1A03-9F60-A030-4A43E4F49DD2}"/>
          </ac:picMkLst>
        </pc:picChg>
        <pc:cxnChg chg="mod">
          <ac:chgData name="Koksrud Andreas" userId="9d9beba6-c052-407a-8599-c781a677a996" providerId="ADAL" clId="{4C03B8BE-ED6C-47DA-A194-101B46B7832B}" dt="2024-01-23T12:00:57.576" v="68" actId="14100"/>
          <ac:cxnSpMkLst>
            <pc:docMk/>
            <pc:sldMk cId="1335476865" sldId="813"/>
            <ac:cxnSpMk id="12" creationId="{571881FC-D844-8847-6B92-E6A6B16E93ED}"/>
          </ac:cxnSpMkLst>
        </pc:cxnChg>
      </pc:sldChg>
      <pc:sldChg chg="modSp mod ord">
        <pc:chgData name="Koksrud Andreas" userId="9d9beba6-c052-407a-8599-c781a677a996" providerId="ADAL" clId="{4C03B8BE-ED6C-47DA-A194-101B46B7832B}" dt="2024-02-02T10:18:46.071" v="6818" actId="20577"/>
        <pc:sldMkLst>
          <pc:docMk/>
          <pc:sldMk cId="798825500" sldId="844"/>
        </pc:sldMkLst>
        <pc:spChg chg="mod">
          <ac:chgData name="Koksrud Andreas" userId="9d9beba6-c052-407a-8599-c781a677a996" providerId="ADAL" clId="{4C03B8BE-ED6C-47DA-A194-101B46B7832B}" dt="2024-02-01T19:04:48.157" v="6384" actId="20577"/>
          <ac:spMkLst>
            <pc:docMk/>
            <pc:sldMk cId="798825500" sldId="844"/>
            <ac:spMk id="2" creationId="{244AF8B4-0676-DA57-A478-7C2D0FFFC8AA}"/>
          </ac:spMkLst>
        </pc:spChg>
        <pc:spChg chg="mod">
          <ac:chgData name="Koksrud Andreas" userId="9d9beba6-c052-407a-8599-c781a677a996" providerId="ADAL" clId="{4C03B8BE-ED6C-47DA-A194-101B46B7832B}" dt="2024-02-02T10:18:46.071" v="6818" actId="20577"/>
          <ac:spMkLst>
            <pc:docMk/>
            <pc:sldMk cId="798825500" sldId="844"/>
            <ac:spMk id="180" creationId="{00000000-0000-0000-0000-000000000000}"/>
          </ac:spMkLst>
        </pc:spChg>
      </pc:sldChg>
      <pc:sldChg chg="addSp modSp mod">
        <pc:chgData name="Koksrud Andreas" userId="9d9beba6-c052-407a-8599-c781a677a996" providerId="ADAL" clId="{4C03B8BE-ED6C-47DA-A194-101B46B7832B}" dt="2024-01-29T13:14:12.556" v="4646" actId="1076"/>
        <pc:sldMkLst>
          <pc:docMk/>
          <pc:sldMk cId="2885639092" sldId="848"/>
        </pc:sldMkLst>
        <pc:spChg chg="mod">
          <ac:chgData name="Koksrud Andreas" userId="9d9beba6-c052-407a-8599-c781a677a996" providerId="ADAL" clId="{4C03B8BE-ED6C-47DA-A194-101B46B7832B}" dt="2024-01-29T13:13:26.427" v="4644" actId="20577"/>
          <ac:spMkLst>
            <pc:docMk/>
            <pc:sldMk cId="2885639092" sldId="848"/>
            <ac:spMk id="181" creationId="{00000000-0000-0000-0000-000000000000}"/>
          </ac:spMkLst>
        </pc:spChg>
        <pc:picChg chg="add mod">
          <ac:chgData name="Koksrud Andreas" userId="9d9beba6-c052-407a-8599-c781a677a996" providerId="ADAL" clId="{4C03B8BE-ED6C-47DA-A194-101B46B7832B}" dt="2024-01-29T13:14:12.556" v="4646" actId="1076"/>
          <ac:picMkLst>
            <pc:docMk/>
            <pc:sldMk cId="2885639092" sldId="848"/>
            <ac:picMk id="3" creationId="{796F67CC-7E7B-58F2-8FAE-370A04D45567}"/>
          </ac:picMkLst>
        </pc:picChg>
      </pc:sldChg>
      <pc:sldChg chg="addSp delSp modSp mod">
        <pc:chgData name="Koksrud Andreas" userId="9d9beba6-c052-407a-8599-c781a677a996" providerId="ADAL" clId="{4C03B8BE-ED6C-47DA-A194-101B46B7832B}" dt="2024-01-31T18:50:46.555" v="5243" actId="478"/>
        <pc:sldMkLst>
          <pc:docMk/>
          <pc:sldMk cId="1110680622" sldId="849"/>
        </pc:sldMkLst>
        <pc:picChg chg="add mod">
          <ac:chgData name="Koksrud Andreas" userId="9d9beba6-c052-407a-8599-c781a677a996" providerId="ADAL" clId="{4C03B8BE-ED6C-47DA-A194-101B46B7832B}" dt="2024-01-23T12:15:09.629" v="134" actId="1076"/>
          <ac:picMkLst>
            <pc:docMk/>
            <pc:sldMk cId="1110680622" sldId="849"/>
            <ac:picMk id="3" creationId="{CABFC9CE-F4C5-4BA7-ED0C-B4AD97EF120F}"/>
          </ac:picMkLst>
        </pc:picChg>
        <pc:picChg chg="add del mod">
          <ac:chgData name="Koksrud Andreas" userId="9d9beba6-c052-407a-8599-c781a677a996" providerId="ADAL" clId="{4C03B8BE-ED6C-47DA-A194-101B46B7832B}" dt="2024-01-31T18:50:43.179" v="5241" actId="478"/>
          <ac:picMkLst>
            <pc:docMk/>
            <pc:sldMk cId="1110680622" sldId="849"/>
            <ac:picMk id="4" creationId="{B7EE2004-24E3-3E3B-5B4D-F5635B6AD06D}"/>
          </ac:picMkLst>
        </pc:picChg>
        <pc:picChg chg="add del mod">
          <ac:chgData name="Koksrud Andreas" userId="9d9beba6-c052-407a-8599-c781a677a996" providerId="ADAL" clId="{4C03B8BE-ED6C-47DA-A194-101B46B7832B}" dt="2024-01-31T18:50:44.971" v="5242" actId="478"/>
          <ac:picMkLst>
            <pc:docMk/>
            <pc:sldMk cId="1110680622" sldId="849"/>
            <ac:picMk id="6" creationId="{4B11CBC5-6722-E94E-6FB3-EDE32F457D22}"/>
          </ac:picMkLst>
        </pc:picChg>
        <pc:picChg chg="add del mod">
          <ac:chgData name="Koksrud Andreas" userId="9d9beba6-c052-407a-8599-c781a677a996" providerId="ADAL" clId="{4C03B8BE-ED6C-47DA-A194-101B46B7832B}" dt="2024-01-31T18:50:46.555" v="5243" actId="478"/>
          <ac:picMkLst>
            <pc:docMk/>
            <pc:sldMk cId="1110680622" sldId="849"/>
            <ac:picMk id="8" creationId="{6069B364-7EA3-19A5-E552-AE9B68CFE4F8}"/>
          </ac:picMkLst>
        </pc:picChg>
        <pc:picChg chg="del">
          <ac:chgData name="Koksrud Andreas" userId="9d9beba6-c052-407a-8599-c781a677a996" providerId="ADAL" clId="{4C03B8BE-ED6C-47DA-A194-101B46B7832B}" dt="2024-01-23T12:14:58.831" v="132" actId="478"/>
          <ac:picMkLst>
            <pc:docMk/>
            <pc:sldMk cId="1110680622" sldId="849"/>
            <ac:picMk id="9" creationId="{A1B7BC37-9C76-1716-BADE-08A1125AAD07}"/>
          </ac:picMkLst>
        </pc:picChg>
      </pc:sldChg>
      <pc:sldChg chg="modSp mod">
        <pc:chgData name="Koksrud Andreas" userId="9d9beba6-c052-407a-8599-c781a677a996" providerId="ADAL" clId="{4C03B8BE-ED6C-47DA-A194-101B46B7832B}" dt="2024-02-01T12:20:56.290" v="6084" actId="20577"/>
        <pc:sldMkLst>
          <pc:docMk/>
          <pc:sldMk cId="468106742" sldId="850"/>
        </pc:sldMkLst>
        <pc:spChg chg="mod">
          <ac:chgData name="Koksrud Andreas" userId="9d9beba6-c052-407a-8599-c781a677a996" providerId="ADAL" clId="{4C03B8BE-ED6C-47DA-A194-101B46B7832B}" dt="2024-02-01T12:20:56.290" v="6084" actId="20577"/>
          <ac:spMkLst>
            <pc:docMk/>
            <pc:sldMk cId="468106742" sldId="850"/>
            <ac:spMk id="180" creationId="{00000000-0000-0000-0000-000000000000}"/>
          </ac:spMkLst>
        </pc:spChg>
      </pc:sldChg>
      <pc:sldChg chg="addSp delSp modSp mod">
        <pc:chgData name="Koksrud Andreas" userId="9d9beba6-c052-407a-8599-c781a677a996" providerId="ADAL" clId="{4C03B8BE-ED6C-47DA-A194-101B46B7832B}" dt="2024-02-02T10:00:27.709" v="6781" actId="6549"/>
        <pc:sldMkLst>
          <pc:docMk/>
          <pc:sldMk cId="82959561" sldId="852"/>
        </pc:sldMkLst>
        <pc:spChg chg="mod">
          <ac:chgData name="Koksrud Andreas" userId="9d9beba6-c052-407a-8599-c781a677a996" providerId="ADAL" clId="{4C03B8BE-ED6C-47DA-A194-101B46B7832B}" dt="2024-02-02T10:00:27.709" v="6781" actId="6549"/>
          <ac:spMkLst>
            <pc:docMk/>
            <pc:sldMk cId="82959561" sldId="852"/>
            <ac:spMk id="2" creationId="{9796E8C1-5924-9DB3-B51B-75296717F89F}"/>
          </ac:spMkLst>
        </pc:spChg>
        <pc:picChg chg="add del mod">
          <ac:chgData name="Koksrud Andreas" userId="9d9beba6-c052-407a-8599-c781a677a996" providerId="ADAL" clId="{4C03B8BE-ED6C-47DA-A194-101B46B7832B}" dt="2024-01-31T18:43:58.100" v="5236" actId="478"/>
          <ac:picMkLst>
            <pc:docMk/>
            <pc:sldMk cId="82959561" sldId="852"/>
            <ac:picMk id="6" creationId="{48188449-2200-9FE6-CADB-DAF18D574FA6}"/>
          </ac:picMkLst>
        </pc:picChg>
      </pc:sldChg>
      <pc:sldChg chg="ord">
        <pc:chgData name="Koksrud Andreas" userId="9d9beba6-c052-407a-8599-c781a677a996" providerId="ADAL" clId="{4C03B8BE-ED6C-47DA-A194-101B46B7832B}" dt="2024-01-23T12:38:36.892" v="554"/>
        <pc:sldMkLst>
          <pc:docMk/>
          <pc:sldMk cId="3385289181" sldId="854"/>
        </pc:sldMkLst>
      </pc:sldChg>
      <pc:sldChg chg="modSp mod">
        <pc:chgData name="Koksrud Andreas" userId="9d9beba6-c052-407a-8599-c781a677a996" providerId="ADAL" clId="{4C03B8BE-ED6C-47DA-A194-101B46B7832B}" dt="2024-02-01T12:21:03.471" v="6085"/>
        <pc:sldMkLst>
          <pc:docMk/>
          <pc:sldMk cId="1250772557" sldId="855"/>
        </pc:sldMkLst>
        <pc:spChg chg="mod">
          <ac:chgData name="Koksrud Andreas" userId="9d9beba6-c052-407a-8599-c781a677a996" providerId="ADAL" clId="{4C03B8BE-ED6C-47DA-A194-101B46B7832B}" dt="2024-02-01T12:21:03.471" v="6085"/>
          <ac:spMkLst>
            <pc:docMk/>
            <pc:sldMk cId="1250772557" sldId="855"/>
            <ac:spMk id="180" creationId="{00000000-0000-0000-0000-000000000000}"/>
          </ac:spMkLst>
        </pc:spChg>
      </pc:sldChg>
      <pc:sldChg chg="modSp mod ord">
        <pc:chgData name="Koksrud Andreas" userId="9d9beba6-c052-407a-8599-c781a677a996" providerId="ADAL" clId="{4C03B8BE-ED6C-47DA-A194-101B46B7832B}" dt="2024-02-02T09:02:10.942" v="6735"/>
        <pc:sldMkLst>
          <pc:docMk/>
          <pc:sldMk cId="879097217" sldId="856"/>
        </pc:sldMkLst>
        <pc:spChg chg="mod">
          <ac:chgData name="Koksrud Andreas" userId="9d9beba6-c052-407a-8599-c781a677a996" providerId="ADAL" clId="{4C03B8BE-ED6C-47DA-A194-101B46B7832B}" dt="2024-02-01T12:21:14.827" v="6104" actId="20577"/>
          <ac:spMkLst>
            <pc:docMk/>
            <pc:sldMk cId="879097217" sldId="856"/>
            <ac:spMk id="180" creationId="{00000000-0000-0000-0000-000000000000}"/>
          </ac:spMkLst>
        </pc:spChg>
      </pc:sldChg>
      <pc:sldChg chg="delSp modSp mod">
        <pc:chgData name="Koksrud Andreas" userId="9d9beba6-c052-407a-8599-c781a677a996" providerId="ADAL" clId="{4C03B8BE-ED6C-47DA-A194-101B46B7832B}" dt="2024-01-23T12:31:33.586" v="485" actId="1035"/>
        <pc:sldMkLst>
          <pc:docMk/>
          <pc:sldMk cId="1987049343" sldId="858"/>
        </pc:sldMkLst>
        <pc:spChg chg="mod">
          <ac:chgData name="Koksrud Andreas" userId="9d9beba6-c052-407a-8599-c781a677a996" providerId="ADAL" clId="{4C03B8BE-ED6C-47DA-A194-101B46B7832B}" dt="2024-01-23T12:31:25.428" v="440" actId="6549"/>
          <ac:spMkLst>
            <pc:docMk/>
            <pc:sldMk cId="1987049343" sldId="858"/>
            <ac:spMk id="2" creationId="{9796E8C1-5924-9DB3-B51B-75296717F89F}"/>
          </ac:spMkLst>
        </pc:spChg>
        <pc:picChg chg="del">
          <ac:chgData name="Koksrud Andreas" userId="9d9beba6-c052-407a-8599-c781a677a996" providerId="ADAL" clId="{4C03B8BE-ED6C-47DA-A194-101B46B7832B}" dt="2024-01-23T12:31:21.948" v="437" actId="478"/>
          <ac:picMkLst>
            <pc:docMk/>
            <pc:sldMk cId="1987049343" sldId="858"/>
            <ac:picMk id="6" creationId="{78645D45-8769-81CB-2821-560F3CFF9CBE}"/>
          </ac:picMkLst>
        </pc:picChg>
        <pc:picChg chg="mod">
          <ac:chgData name="Koksrud Andreas" userId="9d9beba6-c052-407a-8599-c781a677a996" providerId="ADAL" clId="{4C03B8BE-ED6C-47DA-A194-101B46B7832B}" dt="2024-01-23T12:31:33.586" v="485" actId="1035"/>
          <ac:picMkLst>
            <pc:docMk/>
            <pc:sldMk cId="1987049343" sldId="858"/>
            <ac:picMk id="9" creationId="{C3019131-6227-C544-E712-F688CDF664B9}"/>
          </ac:picMkLst>
        </pc:picChg>
        <pc:picChg chg="mod">
          <ac:chgData name="Koksrud Andreas" userId="9d9beba6-c052-407a-8599-c781a677a996" providerId="ADAL" clId="{4C03B8BE-ED6C-47DA-A194-101B46B7832B}" dt="2024-01-23T12:31:33.586" v="485" actId="1035"/>
          <ac:picMkLst>
            <pc:docMk/>
            <pc:sldMk cId="1987049343" sldId="858"/>
            <ac:picMk id="12" creationId="{DEE12C32-E793-5A48-C960-3987827D3176}"/>
          </ac:picMkLst>
        </pc:picChg>
        <pc:picChg chg="mod">
          <ac:chgData name="Koksrud Andreas" userId="9d9beba6-c052-407a-8599-c781a677a996" providerId="ADAL" clId="{4C03B8BE-ED6C-47DA-A194-101B46B7832B}" dt="2024-01-23T12:31:33.586" v="485" actId="1035"/>
          <ac:picMkLst>
            <pc:docMk/>
            <pc:sldMk cId="1987049343" sldId="858"/>
            <ac:picMk id="15" creationId="{DD1F7884-9A7C-5891-012A-EE057168166C}"/>
          </ac:picMkLst>
        </pc:picChg>
      </pc:sldChg>
      <pc:sldChg chg="addSp delSp modSp mod">
        <pc:chgData name="Koksrud Andreas" userId="9d9beba6-c052-407a-8599-c781a677a996" providerId="ADAL" clId="{4C03B8BE-ED6C-47DA-A194-101B46B7832B}" dt="2024-01-23T12:29:26.979" v="260" actId="1076"/>
        <pc:sldMkLst>
          <pc:docMk/>
          <pc:sldMk cId="2034020006" sldId="859"/>
        </pc:sldMkLst>
        <pc:spChg chg="mod">
          <ac:chgData name="Koksrud Andreas" userId="9d9beba6-c052-407a-8599-c781a677a996" providerId="ADAL" clId="{4C03B8BE-ED6C-47DA-A194-101B46B7832B}" dt="2024-01-23T12:28:33.793" v="191" actId="6549"/>
          <ac:spMkLst>
            <pc:docMk/>
            <pc:sldMk cId="2034020006" sldId="859"/>
            <ac:spMk id="2" creationId="{9796E8C1-5924-9DB3-B51B-75296717F89F}"/>
          </ac:spMkLst>
        </pc:spChg>
        <pc:spChg chg="add mod">
          <ac:chgData name="Koksrud Andreas" userId="9d9beba6-c052-407a-8599-c781a677a996" providerId="ADAL" clId="{4C03B8BE-ED6C-47DA-A194-101B46B7832B}" dt="2024-01-23T12:29:26.979" v="260" actId="1076"/>
          <ac:spMkLst>
            <pc:docMk/>
            <pc:sldMk cId="2034020006" sldId="859"/>
            <ac:spMk id="9" creationId="{62E8A573-8FBB-4AE1-0AC8-E8D9B1DE86CE}"/>
          </ac:spMkLst>
        </pc:spChg>
        <pc:picChg chg="add del mod">
          <ac:chgData name="Koksrud Andreas" userId="9d9beba6-c052-407a-8599-c781a677a996" providerId="ADAL" clId="{4C03B8BE-ED6C-47DA-A194-101B46B7832B}" dt="2024-01-23T12:28:03.619" v="187" actId="478"/>
          <ac:picMkLst>
            <pc:docMk/>
            <pc:sldMk cId="2034020006" sldId="859"/>
            <ac:picMk id="5" creationId="{EC7C387C-757C-9338-B561-807EF2958A30}"/>
          </ac:picMkLst>
        </pc:picChg>
        <pc:picChg chg="add mod">
          <ac:chgData name="Koksrud Andreas" userId="9d9beba6-c052-407a-8599-c781a677a996" providerId="ADAL" clId="{4C03B8BE-ED6C-47DA-A194-101B46B7832B}" dt="2024-01-23T12:28:38.427" v="195" actId="1076"/>
          <ac:picMkLst>
            <pc:docMk/>
            <pc:sldMk cId="2034020006" sldId="859"/>
            <ac:picMk id="7" creationId="{B577DB5D-7727-344B-C721-E4F076F07A2D}"/>
          </ac:picMkLst>
        </pc:picChg>
        <pc:picChg chg="del mod">
          <ac:chgData name="Koksrud Andreas" userId="9d9beba6-c052-407a-8599-c781a677a996" providerId="ADAL" clId="{4C03B8BE-ED6C-47DA-A194-101B46B7832B}" dt="2024-01-23T12:28:34.690" v="192" actId="478"/>
          <ac:picMkLst>
            <pc:docMk/>
            <pc:sldMk cId="2034020006" sldId="859"/>
            <ac:picMk id="10" creationId="{89AD7208-33E1-786F-68C4-B07CE69D9B90}"/>
          </ac:picMkLst>
        </pc:picChg>
        <pc:picChg chg="del mod">
          <ac:chgData name="Koksrud Andreas" userId="9d9beba6-c052-407a-8599-c781a677a996" providerId="ADAL" clId="{4C03B8BE-ED6C-47DA-A194-101B46B7832B}" dt="2024-01-23T12:28:35.842" v="194" actId="478"/>
          <ac:picMkLst>
            <pc:docMk/>
            <pc:sldMk cId="2034020006" sldId="859"/>
            <ac:picMk id="13" creationId="{64C063CB-5F33-4B77-965C-B90C6AE27B39}"/>
          </ac:picMkLst>
        </pc:picChg>
        <pc:picChg chg="del mod">
          <ac:chgData name="Koksrud Andreas" userId="9d9beba6-c052-407a-8599-c781a677a996" providerId="ADAL" clId="{4C03B8BE-ED6C-47DA-A194-101B46B7832B}" dt="2024-01-23T12:28:35.264" v="193" actId="478"/>
          <ac:picMkLst>
            <pc:docMk/>
            <pc:sldMk cId="2034020006" sldId="859"/>
            <ac:picMk id="19" creationId="{16102E3D-30A8-E8EE-D800-B326185287B8}"/>
          </ac:picMkLst>
        </pc:picChg>
        <pc:picChg chg="del">
          <ac:chgData name="Koksrud Andreas" userId="9d9beba6-c052-407a-8599-c781a677a996" providerId="ADAL" clId="{4C03B8BE-ED6C-47DA-A194-101B46B7832B}" dt="2024-01-23T12:22:21.854" v="135" actId="478"/>
          <ac:picMkLst>
            <pc:docMk/>
            <pc:sldMk cId="2034020006" sldId="859"/>
            <ac:picMk id="21" creationId="{F22CFF74-063D-C7C7-71BA-43C9544244B5}"/>
          </ac:picMkLst>
        </pc:picChg>
        <pc:cxnChg chg="mod ord">
          <ac:chgData name="Koksrud Andreas" userId="9d9beba6-c052-407a-8599-c781a677a996" providerId="ADAL" clId="{4C03B8BE-ED6C-47DA-A194-101B46B7832B}" dt="2024-01-23T12:28:48.459" v="199" actId="1076"/>
          <ac:cxnSpMkLst>
            <pc:docMk/>
            <pc:sldMk cId="2034020006" sldId="859"/>
            <ac:cxnSpMk id="14" creationId="{EBD79003-BA5F-9EC4-AB1E-B169474A75BA}"/>
          </ac:cxnSpMkLst>
        </pc:cxnChg>
        <pc:cxnChg chg="del mod">
          <ac:chgData name="Koksrud Andreas" userId="9d9beba6-c052-407a-8599-c781a677a996" providerId="ADAL" clId="{4C03B8BE-ED6C-47DA-A194-101B46B7832B}" dt="2024-01-23T12:28:51.447" v="200" actId="478"/>
          <ac:cxnSpMkLst>
            <pc:docMk/>
            <pc:sldMk cId="2034020006" sldId="859"/>
            <ac:cxnSpMk id="22" creationId="{21009E25-D8DE-E975-55FA-12227386461E}"/>
          </ac:cxnSpMkLst>
        </pc:cxnChg>
        <pc:cxnChg chg="del">
          <ac:chgData name="Koksrud Andreas" userId="9d9beba6-c052-407a-8599-c781a677a996" providerId="ADAL" clId="{4C03B8BE-ED6C-47DA-A194-101B46B7832B}" dt="2024-01-23T12:22:22.873" v="136" actId="478"/>
          <ac:cxnSpMkLst>
            <pc:docMk/>
            <pc:sldMk cId="2034020006" sldId="859"/>
            <ac:cxnSpMk id="25" creationId="{F5E02325-17FA-2F47-48A7-150B22E29FA9}"/>
          </ac:cxnSpMkLst>
        </pc:cxnChg>
      </pc:sldChg>
      <pc:sldChg chg="addSp delSp modSp del mod">
        <pc:chgData name="Koksrud Andreas" userId="9d9beba6-c052-407a-8599-c781a677a996" providerId="ADAL" clId="{4C03B8BE-ED6C-47DA-A194-101B46B7832B}" dt="2024-02-01T12:20:20.506" v="6064" actId="47"/>
        <pc:sldMkLst>
          <pc:docMk/>
          <pc:sldMk cId="1439612205" sldId="860"/>
        </pc:sldMkLst>
        <pc:spChg chg="mod">
          <ac:chgData name="Koksrud Andreas" userId="9d9beba6-c052-407a-8599-c781a677a996" providerId="ADAL" clId="{4C03B8BE-ED6C-47DA-A194-101B46B7832B}" dt="2024-01-23T12:33:51.379" v="536" actId="20577"/>
          <ac:spMkLst>
            <pc:docMk/>
            <pc:sldMk cId="1439612205" sldId="860"/>
            <ac:spMk id="16" creationId="{0BF20D48-2782-8A09-2215-91CD21C56EFC}"/>
          </ac:spMkLst>
        </pc:spChg>
        <pc:picChg chg="add mod">
          <ac:chgData name="Koksrud Andreas" userId="9d9beba6-c052-407a-8599-c781a677a996" providerId="ADAL" clId="{4C03B8BE-ED6C-47DA-A194-101B46B7832B}" dt="2024-01-23T12:34:41.099" v="552" actId="14100"/>
          <ac:picMkLst>
            <pc:docMk/>
            <pc:sldMk cId="1439612205" sldId="860"/>
            <ac:picMk id="4" creationId="{45A4FD79-9975-1FDF-E136-F306B853AFD0}"/>
          </ac:picMkLst>
        </pc:picChg>
        <pc:picChg chg="del">
          <ac:chgData name="Koksrud Andreas" userId="9d9beba6-c052-407a-8599-c781a677a996" providerId="ADAL" clId="{4C03B8BE-ED6C-47DA-A194-101B46B7832B}" dt="2024-01-23T12:33:58.027" v="537" actId="478"/>
          <ac:picMkLst>
            <pc:docMk/>
            <pc:sldMk cId="1439612205" sldId="860"/>
            <ac:picMk id="23" creationId="{A92DC332-3E85-1F8C-ED9A-B06A412AF841}"/>
          </ac:picMkLst>
        </pc:picChg>
        <pc:cxnChg chg="ord">
          <ac:chgData name="Koksrud Andreas" userId="9d9beba6-c052-407a-8599-c781a677a996" providerId="ADAL" clId="{4C03B8BE-ED6C-47DA-A194-101B46B7832B}" dt="2024-01-23T12:34:23.888" v="542" actId="170"/>
          <ac:cxnSpMkLst>
            <pc:docMk/>
            <pc:sldMk cId="1439612205" sldId="860"/>
            <ac:cxnSpMk id="8" creationId="{87407839-F583-F4F8-6870-7596EB34EDF4}"/>
          </ac:cxnSpMkLst>
        </pc:cxnChg>
      </pc:sldChg>
      <pc:sldChg chg="addSp delSp modSp mod ord">
        <pc:chgData name="Koksrud Andreas" userId="9d9beba6-c052-407a-8599-c781a677a996" providerId="ADAL" clId="{4C03B8BE-ED6C-47DA-A194-101B46B7832B}" dt="2024-02-02T09:03:26.554" v="6739"/>
        <pc:sldMkLst>
          <pc:docMk/>
          <pc:sldMk cId="2554802186" sldId="861"/>
        </pc:sldMkLst>
        <pc:spChg chg="mod">
          <ac:chgData name="Koksrud Andreas" userId="9d9beba6-c052-407a-8599-c781a677a996" providerId="ADAL" clId="{4C03B8BE-ED6C-47DA-A194-101B46B7832B}" dt="2024-01-29T08:28:32.034" v="2969" actId="20577"/>
          <ac:spMkLst>
            <pc:docMk/>
            <pc:sldMk cId="2554802186" sldId="861"/>
            <ac:spMk id="2" creationId="{9796E8C1-5924-9DB3-B51B-75296717F89F}"/>
          </ac:spMkLst>
        </pc:spChg>
        <pc:spChg chg="mod">
          <ac:chgData name="Koksrud Andreas" userId="9d9beba6-c052-407a-8599-c781a677a996" providerId="ADAL" clId="{4C03B8BE-ED6C-47DA-A194-101B46B7832B}" dt="2024-02-02T09:01:04.389" v="6733" actId="20577"/>
          <ac:spMkLst>
            <pc:docMk/>
            <pc:sldMk cId="2554802186" sldId="861"/>
            <ac:spMk id="180" creationId="{00000000-0000-0000-0000-000000000000}"/>
          </ac:spMkLst>
        </pc:spChg>
        <pc:picChg chg="mod">
          <ac:chgData name="Koksrud Andreas" userId="9d9beba6-c052-407a-8599-c781a677a996" providerId="ADAL" clId="{4C03B8BE-ED6C-47DA-A194-101B46B7832B}" dt="2024-01-29T08:28:21.261" v="2937" actId="1076"/>
          <ac:picMkLst>
            <pc:docMk/>
            <pc:sldMk cId="2554802186" sldId="861"/>
            <ac:picMk id="5" creationId="{BA0F6610-8D6A-ACFB-0475-F273EB8CF5F9}"/>
          </ac:picMkLst>
        </pc:picChg>
        <pc:picChg chg="add mod">
          <ac:chgData name="Koksrud Andreas" userId="9d9beba6-c052-407a-8599-c781a677a996" providerId="ADAL" clId="{4C03B8BE-ED6C-47DA-A194-101B46B7832B}" dt="2024-01-29T08:28:13.547" v="2931" actId="1076"/>
          <ac:picMkLst>
            <pc:docMk/>
            <pc:sldMk cId="2554802186" sldId="861"/>
            <ac:picMk id="6" creationId="{9E113B21-20FD-72C4-7760-43E1A6BC93F4}"/>
          </ac:picMkLst>
        </pc:picChg>
        <pc:picChg chg="del mod">
          <ac:chgData name="Koksrud Andreas" userId="9d9beba6-c052-407a-8599-c781a677a996" providerId="ADAL" clId="{4C03B8BE-ED6C-47DA-A194-101B46B7832B}" dt="2024-01-29T08:30:46.954" v="2981" actId="478"/>
          <ac:picMkLst>
            <pc:docMk/>
            <pc:sldMk cId="2554802186" sldId="861"/>
            <ac:picMk id="7" creationId="{FF286106-3A39-9208-0739-1F2684C004C5}"/>
          </ac:picMkLst>
        </pc:picChg>
        <pc:picChg chg="add del mod">
          <ac:chgData name="Koksrud Andreas" userId="9d9beba6-c052-407a-8599-c781a677a996" providerId="ADAL" clId="{4C03B8BE-ED6C-47DA-A194-101B46B7832B}" dt="2024-01-29T08:30:47.731" v="2982" actId="478"/>
          <ac:picMkLst>
            <pc:docMk/>
            <pc:sldMk cId="2554802186" sldId="861"/>
            <ac:picMk id="13" creationId="{5BA62FD9-DB5C-3DA2-4CA6-0819449ABA49}"/>
          </ac:picMkLst>
        </pc:picChg>
        <pc:picChg chg="add del mod">
          <ac:chgData name="Koksrud Andreas" userId="9d9beba6-c052-407a-8599-c781a677a996" providerId="ADAL" clId="{4C03B8BE-ED6C-47DA-A194-101B46B7832B}" dt="2024-01-29T08:30:48.622" v="2983" actId="478"/>
          <ac:picMkLst>
            <pc:docMk/>
            <pc:sldMk cId="2554802186" sldId="861"/>
            <ac:picMk id="15" creationId="{65A91A88-A2B8-A386-B7CD-797868696192}"/>
          </ac:picMkLst>
        </pc:picChg>
        <pc:picChg chg="add mod">
          <ac:chgData name="Koksrud Andreas" userId="9d9beba6-c052-407a-8599-c781a677a996" providerId="ADAL" clId="{4C03B8BE-ED6C-47DA-A194-101B46B7832B}" dt="2024-01-29T08:30:55.708" v="2986" actId="14100"/>
          <ac:picMkLst>
            <pc:docMk/>
            <pc:sldMk cId="2554802186" sldId="861"/>
            <ac:picMk id="18" creationId="{4909D0B2-92A8-C4D4-AA92-F48B2FB211AC}"/>
          </ac:picMkLst>
        </pc:picChg>
        <pc:cxnChg chg="mod">
          <ac:chgData name="Koksrud Andreas" userId="9d9beba6-c052-407a-8599-c781a677a996" providerId="ADAL" clId="{4C03B8BE-ED6C-47DA-A194-101B46B7832B}" dt="2024-01-29T08:31:11.250" v="2990" actId="14100"/>
          <ac:cxnSpMkLst>
            <pc:docMk/>
            <pc:sldMk cId="2554802186" sldId="861"/>
            <ac:cxnSpMk id="8" creationId="{87407839-F583-F4F8-6870-7596EB34EDF4}"/>
          </ac:cxnSpMkLst>
        </pc:cxnChg>
        <pc:cxnChg chg="add mod ord">
          <ac:chgData name="Koksrud Andreas" userId="9d9beba6-c052-407a-8599-c781a677a996" providerId="ADAL" clId="{4C03B8BE-ED6C-47DA-A194-101B46B7832B}" dt="2024-01-29T08:31:05.556" v="2989" actId="170"/>
          <ac:cxnSpMkLst>
            <pc:docMk/>
            <pc:sldMk cId="2554802186" sldId="861"/>
            <ac:cxnSpMk id="10" creationId="{114731E6-C0B6-42E8-0546-511317D59522}"/>
          </ac:cxnSpMkLst>
        </pc:cxnChg>
      </pc:sldChg>
      <pc:sldChg chg="addSp delSp modSp mod">
        <pc:chgData name="Koksrud Andreas" userId="9d9beba6-c052-407a-8599-c781a677a996" providerId="ADAL" clId="{4C03B8BE-ED6C-47DA-A194-101B46B7832B}" dt="2024-01-31T20:35:28.422" v="5381" actId="207"/>
        <pc:sldMkLst>
          <pc:docMk/>
          <pc:sldMk cId="575130139" sldId="862"/>
        </pc:sldMkLst>
        <pc:spChg chg="mod">
          <ac:chgData name="Koksrud Andreas" userId="9d9beba6-c052-407a-8599-c781a677a996" providerId="ADAL" clId="{4C03B8BE-ED6C-47DA-A194-101B46B7832B}" dt="2024-01-31T20:35:28.422" v="5381" actId="207"/>
          <ac:spMkLst>
            <pc:docMk/>
            <pc:sldMk cId="575130139" sldId="862"/>
            <ac:spMk id="4" creationId="{FEFDFE44-611E-8625-FC2E-FCBBCCD3961B}"/>
          </ac:spMkLst>
        </pc:spChg>
        <pc:spChg chg="add del mod">
          <ac:chgData name="Koksrud Andreas" userId="9d9beba6-c052-407a-8599-c781a677a996" providerId="ADAL" clId="{4C03B8BE-ED6C-47DA-A194-101B46B7832B}" dt="2024-01-23T12:42:29.085" v="559" actId="478"/>
          <ac:spMkLst>
            <pc:docMk/>
            <pc:sldMk cId="575130139" sldId="862"/>
            <ac:spMk id="5" creationId="{460CE102-52B8-E991-3994-B0754FC7F223}"/>
          </ac:spMkLst>
        </pc:spChg>
        <pc:spChg chg="add mod">
          <ac:chgData name="Koksrud Andreas" userId="9d9beba6-c052-407a-8599-c781a677a996" providerId="ADAL" clId="{4C03B8BE-ED6C-47DA-A194-101B46B7832B}" dt="2024-01-31T20:32:21.160" v="5334" actId="20577"/>
          <ac:spMkLst>
            <pc:docMk/>
            <pc:sldMk cId="575130139" sldId="862"/>
            <ac:spMk id="5" creationId="{72A763FC-DC10-4832-8C21-6FA3B51F3B55}"/>
          </ac:spMkLst>
        </pc:spChg>
        <pc:spChg chg="add del mod">
          <ac:chgData name="Koksrud Andreas" userId="9d9beba6-c052-407a-8599-c781a677a996" providerId="ADAL" clId="{4C03B8BE-ED6C-47DA-A194-101B46B7832B}" dt="2024-01-23T12:45:15.434" v="694" actId="20577"/>
          <ac:spMkLst>
            <pc:docMk/>
            <pc:sldMk cId="575130139" sldId="862"/>
            <ac:spMk id="6" creationId="{D33A7F7C-0CFF-12D8-D3F9-55EA11817DA1}"/>
          </ac:spMkLst>
        </pc:spChg>
        <pc:spChg chg="add del mod">
          <ac:chgData name="Koksrud Andreas" userId="9d9beba6-c052-407a-8599-c781a677a996" providerId="ADAL" clId="{4C03B8BE-ED6C-47DA-A194-101B46B7832B}" dt="2024-01-23T12:44:01.544" v="645" actId="478"/>
          <ac:spMkLst>
            <pc:docMk/>
            <pc:sldMk cId="575130139" sldId="862"/>
            <ac:spMk id="8" creationId="{106E427E-0DF5-E114-898B-749A673C63E5}"/>
          </ac:spMkLst>
        </pc:spChg>
        <pc:spChg chg="add del mod">
          <ac:chgData name="Koksrud Andreas" userId="9d9beba6-c052-407a-8599-c781a677a996" providerId="ADAL" clId="{4C03B8BE-ED6C-47DA-A194-101B46B7832B}" dt="2024-01-23T12:51:26.223" v="708" actId="478"/>
          <ac:spMkLst>
            <pc:docMk/>
            <pc:sldMk cId="575130139" sldId="862"/>
            <ac:spMk id="20" creationId="{33705953-2E5D-8C41-17ED-79BFF166E945}"/>
          </ac:spMkLst>
        </pc:spChg>
        <pc:picChg chg="add del mod">
          <ac:chgData name="Koksrud Andreas" userId="9d9beba6-c052-407a-8599-c781a677a996" providerId="ADAL" clId="{4C03B8BE-ED6C-47DA-A194-101B46B7832B}" dt="2024-01-23T12:44:08.109" v="647" actId="478"/>
          <ac:picMkLst>
            <pc:docMk/>
            <pc:sldMk cId="575130139" sldId="862"/>
            <ac:picMk id="3" creationId="{69D77B8A-4FA7-4964-7495-CAD87DC9C7F5}"/>
          </ac:picMkLst>
        </pc:picChg>
        <pc:picChg chg="add mod">
          <ac:chgData name="Koksrud Andreas" userId="9d9beba6-c052-407a-8599-c781a677a996" providerId="ADAL" clId="{4C03B8BE-ED6C-47DA-A194-101B46B7832B}" dt="2024-01-31T18:56:51.802" v="5246" actId="1076"/>
          <ac:picMkLst>
            <pc:docMk/>
            <pc:sldMk cId="575130139" sldId="862"/>
            <ac:picMk id="3" creationId="{CEA94C2A-7124-90B5-BD0D-FE7DFCC6748C}"/>
          </ac:picMkLst>
        </pc:picChg>
        <pc:picChg chg="add mod">
          <ac:chgData name="Koksrud Andreas" userId="9d9beba6-c052-407a-8599-c781a677a996" providerId="ADAL" clId="{4C03B8BE-ED6C-47DA-A194-101B46B7832B}" dt="2024-01-23T12:44:14.964" v="649" actId="1076"/>
          <ac:picMkLst>
            <pc:docMk/>
            <pc:sldMk cId="575130139" sldId="862"/>
            <ac:picMk id="10" creationId="{34DA4BD7-43C8-285E-A933-AFFCFCCD0C8D}"/>
          </ac:picMkLst>
        </pc:picChg>
        <pc:picChg chg="add mod modCrop">
          <ac:chgData name="Koksrud Andreas" userId="9d9beba6-c052-407a-8599-c781a677a996" providerId="ADAL" clId="{4C03B8BE-ED6C-47DA-A194-101B46B7832B}" dt="2024-01-23T12:45:08.404" v="665" actId="732"/>
          <ac:picMkLst>
            <pc:docMk/>
            <pc:sldMk cId="575130139" sldId="862"/>
            <ac:picMk id="12" creationId="{82C26A6F-F9E2-CFED-E2BC-87AC1923226C}"/>
          </ac:picMkLst>
        </pc:picChg>
        <pc:picChg chg="add mod">
          <ac:chgData name="Koksrud Andreas" userId="9d9beba6-c052-407a-8599-c781a677a996" providerId="ADAL" clId="{4C03B8BE-ED6C-47DA-A194-101B46B7832B}" dt="2024-01-23T12:45:33.900" v="696" actId="1076"/>
          <ac:picMkLst>
            <pc:docMk/>
            <pc:sldMk cId="575130139" sldId="862"/>
            <ac:picMk id="14" creationId="{CD2EAEF4-7CED-79FD-7BDE-3E6B250D91FB}"/>
          </ac:picMkLst>
        </pc:picChg>
        <pc:picChg chg="add del mod">
          <ac:chgData name="Koksrud Andreas" userId="9d9beba6-c052-407a-8599-c781a677a996" providerId="ADAL" clId="{4C03B8BE-ED6C-47DA-A194-101B46B7832B}" dt="2024-01-23T12:46:18.093" v="699" actId="478"/>
          <ac:picMkLst>
            <pc:docMk/>
            <pc:sldMk cId="575130139" sldId="862"/>
            <ac:picMk id="16" creationId="{AC3C32E7-E954-4868-2AC4-0E85CC97D3D1}"/>
          </ac:picMkLst>
        </pc:picChg>
        <pc:picChg chg="add del mod">
          <ac:chgData name="Koksrud Andreas" userId="9d9beba6-c052-407a-8599-c781a677a996" providerId="ADAL" clId="{4C03B8BE-ED6C-47DA-A194-101B46B7832B}" dt="2024-01-31T18:56:21.625" v="5244" actId="478"/>
          <ac:picMkLst>
            <pc:docMk/>
            <pc:sldMk cId="575130139" sldId="862"/>
            <ac:picMk id="18" creationId="{9E91CC1E-2113-0C28-D2B5-695D6996BC5A}"/>
          </ac:picMkLst>
        </pc:picChg>
      </pc:sldChg>
      <pc:sldChg chg="modSp mod">
        <pc:chgData name="Koksrud Andreas" userId="9d9beba6-c052-407a-8599-c781a677a996" providerId="ADAL" clId="{4C03B8BE-ED6C-47DA-A194-101B46B7832B}" dt="2024-01-23T13:11:22.966" v="873" actId="1035"/>
        <pc:sldMkLst>
          <pc:docMk/>
          <pc:sldMk cId="3027998341" sldId="863"/>
        </pc:sldMkLst>
        <pc:picChg chg="mod">
          <ac:chgData name="Koksrud Andreas" userId="9d9beba6-c052-407a-8599-c781a677a996" providerId="ADAL" clId="{4C03B8BE-ED6C-47DA-A194-101B46B7832B}" dt="2024-01-23T13:11:22.966" v="873" actId="1035"/>
          <ac:picMkLst>
            <pc:docMk/>
            <pc:sldMk cId="3027998341" sldId="863"/>
            <ac:picMk id="9" creationId="{B39AEE37-E5E1-FD33-5317-53FB4A2C1415}"/>
          </ac:picMkLst>
        </pc:picChg>
        <pc:picChg chg="mod">
          <ac:chgData name="Koksrud Andreas" userId="9d9beba6-c052-407a-8599-c781a677a996" providerId="ADAL" clId="{4C03B8BE-ED6C-47DA-A194-101B46B7832B}" dt="2024-01-23T13:08:28.603" v="851" actId="1036"/>
          <ac:picMkLst>
            <pc:docMk/>
            <pc:sldMk cId="3027998341" sldId="863"/>
            <ac:picMk id="10" creationId="{D53ABFBC-DDEE-E0B1-EBD7-A03E15A1AD96}"/>
          </ac:picMkLst>
        </pc:picChg>
        <pc:picChg chg="mod">
          <ac:chgData name="Koksrud Andreas" userId="9d9beba6-c052-407a-8599-c781a677a996" providerId="ADAL" clId="{4C03B8BE-ED6C-47DA-A194-101B46B7832B}" dt="2024-01-23T13:11:08.228" v="855" actId="14100"/>
          <ac:picMkLst>
            <pc:docMk/>
            <pc:sldMk cId="3027998341" sldId="863"/>
            <ac:picMk id="12" creationId="{36E36D84-4DF4-898C-B0E4-F15DFC15B501}"/>
          </ac:picMkLst>
        </pc:picChg>
      </pc:sldChg>
      <pc:sldChg chg="addSp delSp modSp mod">
        <pc:chgData name="Koksrud Andreas" userId="9d9beba6-c052-407a-8599-c781a677a996" providerId="ADAL" clId="{4C03B8BE-ED6C-47DA-A194-101B46B7832B}" dt="2024-02-01T19:18:19.548" v="6590" actId="1076"/>
        <pc:sldMkLst>
          <pc:docMk/>
          <pc:sldMk cId="2970237999" sldId="864"/>
        </pc:sldMkLst>
        <pc:spChg chg="add mod">
          <ac:chgData name="Koksrud Andreas" userId="9d9beba6-c052-407a-8599-c781a677a996" providerId="ADAL" clId="{4C03B8BE-ED6C-47DA-A194-101B46B7832B}" dt="2024-02-01T19:18:19.548" v="6590" actId="1076"/>
          <ac:spMkLst>
            <pc:docMk/>
            <pc:sldMk cId="2970237999" sldId="864"/>
            <ac:spMk id="4" creationId="{573949ED-BBE9-BE91-D23E-060B19D06828}"/>
          </ac:spMkLst>
        </pc:spChg>
        <pc:spChg chg="add mod">
          <ac:chgData name="Koksrud Andreas" userId="9d9beba6-c052-407a-8599-c781a677a996" providerId="ADAL" clId="{4C03B8BE-ED6C-47DA-A194-101B46B7832B}" dt="2024-02-01T19:18:17.071" v="6589" actId="1076"/>
          <ac:spMkLst>
            <pc:docMk/>
            <pc:sldMk cId="2970237999" sldId="864"/>
            <ac:spMk id="6" creationId="{AFC032CF-68CF-022B-D3ED-67C34FCA9DA6}"/>
          </ac:spMkLst>
        </pc:spChg>
        <pc:spChg chg="add del mod">
          <ac:chgData name="Koksrud Andreas" userId="9d9beba6-c052-407a-8599-c781a677a996" providerId="ADAL" clId="{4C03B8BE-ED6C-47DA-A194-101B46B7832B}" dt="2024-02-01T19:15:40.554" v="6434" actId="478"/>
          <ac:spMkLst>
            <pc:docMk/>
            <pc:sldMk cId="2970237999" sldId="864"/>
            <ac:spMk id="7" creationId="{93146DE2-306B-342B-E020-F85EB8C104D5}"/>
          </ac:spMkLst>
        </pc:spChg>
        <pc:spChg chg="add del">
          <ac:chgData name="Koksrud Andreas" userId="9d9beba6-c052-407a-8599-c781a677a996" providerId="ADAL" clId="{4C03B8BE-ED6C-47DA-A194-101B46B7832B}" dt="2024-02-01T13:26:09.035" v="6212"/>
          <ac:spMkLst>
            <pc:docMk/>
            <pc:sldMk cId="2970237999" sldId="864"/>
            <ac:spMk id="9" creationId="{F1525D4A-A27D-903E-3B40-E54F7399CED3}"/>
          </ac:spMkLst>
        </pc:spChg>
        <pc:spChg chg="add mod">
          <ac:chgData name="Koksrud Andreas" userId="9d9beba6-c052-407a-8599-c781a677a996" providerId="ADAL" clId="{4C03B8BE-ED6C-47DA-A194-101B46B7832B}" dt="2024-02-01T19:18:13.357" v="6588" actId="1036"/>
          <ac:spMkLst>
            <pc:docMk/>
            <pc:sldMk cId="2970237999" sldId="864"/>
            <ac:spMk id="10" creationId="{2C5B1494-1D58-BF1C-FD1F-05B2284547CD}"/>
          </ac:spMkLst>
        </pc:spChg>
        <pc:spChg chg="add mod">
          <ac:chgData name="Koksrud Andreas" userId="9d9beba6-c052-407a-8599-c781a677a996" providerId="ADAL" clId="{4C03B8BE-ED6C-47DA-A194-101B46B7832B}" dt="2024-02-01T19:18:13.357" v="6588" actId="1036"/>
          <ac:spMkLst>
            <pc:docMk/>
            <pc:sldMk cId="2970237999" sldId="864"/>
            <ac:spMk id="11" creationId="{A033C1BF-07A1-0CE1-77A7-B916038F8BFB}"/>
          </ac:spMkLst>
        </pc:spChg>
        <pc:spChg chg="mod">
          <ac:chgData name="Koksrud Andreas" userId="9d9beba6-c052-407a-8599-c781a677a996" providerId="ADAL" clId="{4C03B8BE-ED6C-47DA-A194-101B46B7832B}" dt="2024-02-01T19:15:22.131" v="6400" actId="20577"/>
          <ac:spMkLst>
            <pc:docMk/>
            <pc:sldMk cId="2970237999" sldId="864"/>
            <ac:spMk id="14" creationId="{C85A9E99-AA4E-C194-FF2A-6C5AC5C1CF94}"/>
          </ac:spMkLst>
        </pc:spChg>
        <pc:picChg chg="del">
          <ac:chgData name="Koksrud Andreas" userId="9d9beba6-c052-407a-8599-c781a677a996" providerId="ADAL" clId="{4C03B8BE-ED6C-47DA-A194-101B46B7832B}" dt="2024-01-23T13:12:59.203" v="876" actId="478"/>
          <ac:picMkLst>
            <pc:docMk/>
            <pc:sldMk cId="2970237999" sldId="864"/>
            <ac:picMk id="3" creationId="{08CDF2F7-7F69-D3A5-6F46-C3549070755D}"/>
          </ac:picMkLst>
        </pc:picChg>
        <pc:picChg chg="add mod modCrop">
          <ac:chgData name="Koksrud Andreas" userId="9d9beba6-c052-407a-8599-c781a677a996" providerId="ADAL" clId="{4C03B8BE-ED6C-47DA-A194-101B46B7832B}" dt="2024-01-31T19:10:32.436" v="5280" actId="14100"/>
          <ac:picMkLst>
            <pc:docMk/>
            <pc:sldMk cId="2970237999" sldId="864"/>
            <ac:picMk id="3" creationId="{C73A5D59-A3A1-B1EB-7D4C-49EAFDDF8D35}"/>
          </ac:picMkLst>
        </pc:picChg>
        <pc:picChg chg="add del mod">
          <ac:chgData name="Koksrud Andreas" userId="9d9beba6-c052-407a-8599-c781a677a996" providerId="ADAL" clId="{4C03B8BE-ED6C-47DA-A194-101B46B7832B}" dt="2024-01-31T19:01:20.732" v="5249" actId="478"/>
          <ac:picMkLst>
            <pc:docMk/>
            <pc:sldMk cId="2970237999" sldId="864"/>
            <ac:picMk id="4" creationId="{3A799265-D65A-D424-ED4C-EA283AEFACFC}"/>
          </ac:picMkLst>
        </pc:picChg>
        <pc:picChg chg="add del mod">
          <ac:chgData name="Koksrud Andreas" userId="9d9beba6-c052-407a-8599-c781a677a996" providerId="ADAL" clId="{4C03B8BE-ED6C-47DA-A194-101B46B7832B}" dt="2024-01-23T13:13:31.968" v="882" actId="478"/>
          <ac:picMkLst>
            <pc:docMk/>
            <pc:sldMk cId="2970237999" sldId="864"/>
            <ac:picMk id="6" creationId="{9C1B6C72-C3CE-E135-2C7A-7AAA8B7A9A22}"/>
          </ac:picMkLst>
        </pc:picChg>
        <pc:picChg chg="add del mod modCrop">
          <ac:chgData name="Koksrud Andreas" userId="9d9beba6-c052-407a-8599-c781a677a996" providerId="ADAL" clId="{4C03B8BE-ED6C-47DA-A194-101B46B7832B}" dt="2024-02-01T13:24:37.619" v="6178" actId="478"/>
          <ac:picMkLst>
            <pc:docMk/>
            <pc:sldMk cId="2970237999" sldId="864"/>
            <ac:picMk id="8" creationId="{3923B4BF-8D0D-0409-742B-3ED9E2DCFF10}"/>
          </ac:picMkLst>
        </pc:picChg>
      </pc:sldChg>
      <pc:sldChg chg="addSp delSp modSp mod">
        <pc:chgData name="Koksrud Andreas" userId="9d9beba6-c052-407a-8599-c781a677a996" providerId="ADAL" clId="{4C03B8BE-ED6C-47DA-A194-101B46B7832B}" dt="2024-01-23T13:15:01.340" v="890" actId="1076"/>
        <pc:sldMkLst>
          <pc:docMk/>
          <pc:sldMk cId="1445178992" sldId="865"/>
        </pc:sldMkLst>
        <pc:picChg chg="add mod modCrop">
          <ac:chgData name="Koksrud Andreas" userId="9d9beba6-c052-407a-8599-c781a677a996" providerId="ADAL" clId="{4C03B8BE-ED6C-47DA-A194-101B46B7832B}" dt="2024-01-23T13:15:01.340" v="890" actId="1076"/>
          <ac:picMkLst>
            <pc:docMk/>
            <pc:sldMk cId="1445178992" sldId="865"/>
            <ac:picMk id="3" creationId="{5CDD4ADA-7AE8-6882-B49C-4834CA98ED6E}"/>
          </ac:picMkLst>
        </pc:picChg>
        <pc:picChg chg="del">
          <ac:chgData name="Koksrud Andreas" userId="9d9beba6-c052-407a-8599-c781a677a996" providerId="ADAL" clId="{4C03B8BE-ED6C-47DA-A194-101B46B7832B}" dt="2024-01-23T13:14:34.456" v="887" actId="478"/>
          <ac:picMkLst>
            <pc:docMk/>
            <pc:sldMk cId="1445178992" sldId="865"/>
            <ac:picMk id="4" creationId="{0EDB0BA9-55B4-EA3B-1D41-37B08DC75373}"/>
          </ac:picMkLst>
        </pc:picChg>
      </pc:sldChg>
      <pc:sldChg chg="addSp delSp modSp mod">
        <pc:chgData name="Koksrud Andreas" userId="9d9beba6-c052-407a-8599-c781a677a996" providerId="ADAL" clId="{4C03B8BE-ED6C-47DA-A194-101B46B7832B}" dt="2024-01-31T20:27:59.824" v="5308" actId="1076"/>
        <pc:sldMkLst>
          <pc:docMk/>
          <pc:sldMk cId="141793938" sldId="866"/>
        </pc:sldMkLst>
        <pc:spChg chg="add del mod">
          <ac:chgData name="Koksrud Andreas" userId="9d9beba6-c052-407a-8599-c781a677a996" providerId="ADAL" clId="{4C03B8BE-ED6C-47DA-A194-101B46B7832B}" dt="2024-01-23T13:50:31.536" v="967" actId="478"/>
          <ac:spMkLst>
            <pc:docMk/>
            <pc:sldMk cId="141793938" sldId="866"/>
            <ac:spMk id="2" creationId="{0C578A6C-5215-9DFE-51D6-8AA7A3E4A34A}"/>
          </ac:spMkLst>
        </pc:spChg>
        <pc:spChg chg="mod">
          <ac:chgData name="Koksrud Andreas" userId="9d9beba6-c052-407a-8599-c781a677a996" providerId="ADAL" clId="{4C03B8BE-ED6C-47DA-A194-101B46B7832B}" dt="2024-01-23T13:32:27.666" v="916" actId="20577"/>
          <ac:spMkLst>
            <pc:docMk/>
            <pc:sldMk cId="141793938" sldId="866"/>
            <ac:spMk id="14" creationId="{C85A9E99-AA4E-C194-FF2A-6C5AC5C1CF94}"/>
          </ac:spMkLst>
        </pc:spChg>
        <pc:picChg chg="add mod">
          <ac:chgData name="Koksrud Andreas" userId="9d9beba6-c052-407a-8599-c781a677a996" providerId="ADAL" clId="{4C03B8BE-ED6C-47DA-A194-101B46B7832B}" dt="2024-01-31T20:27:59.824" v="5308" actId="1076"/>
          <ac:picMkLst>
            <pc:docMk/>
            <pc:sldMk cId="141793938" sldId="866"/>
            <ac:picMk id="3" creationId="{8C84CAAC-0A77-69FB-8421-BF5474BDA8A2}"/>
          </ac:picMkLst>
        </pc:picChg>
        <pc:picChg chg="add mod">
          <ac:chgData name="Koksrud Andreas" userId="9d9beba6-c052-407a-8599-c781a677a996" providerId="ADAL" clId="{4C03B8BE-ED6C-47DA-A194-101B46B7832B}" dt="2024-01-23T13:33:14.709" v="956" actId="1076"/>
          <ac:picMkLst>
            <pc:docMk/>
            <pc:sldMk cId="141793938" sldId="866"/>
            <ac:picMk id="4" creationId="{776FF432-3812-8AE6-C259-0DD1DB35CB36}"/>
          </ac:picMkLst>
        </pc:picChg>
        <pc:picChg chg="add del mod">
          <ac:chgData name="Koksrud Andreas" userId="9d9beba6-c052-407a-8599-c781a677a996" providerId="ADAL" clId="{4C03B8BE-ED6C-47DA-A194-101B46B7832B}" dt="2024-01-23T13:50:32.506" v="968" actId="478"/>
          <ac:picMkLst>
            <pc:docMk/>
            <pc:sldMk cId="141793938" sldId="866"/>
            <ac:picMk id="6" creationId="{60B7BE4B-C380-F509-39B9-63F66FEDB884}"/>
          </ac:picMkLst>
        </pc:picChg>
        <pc:picChg chg="add del mod">
          <ac:chgData name="Koksrud Andreas" userId="9d9beba6-c052-407a-8599-c781a677a996" providerId="ADAL" clId="{4C03B8BE-ED6C-47DA-A194-101B46B7832B}" dt="2024-01-23T13:50:33.682" v="970" actId="478"/>
          <ac:picMkLst>
            <pc:docMk/>
            <pc:sldMk cId="141793938" sldId="866"/>
            <ac:picMk id="8" creationId="{999F2FC3-B287-DD9D-4558-AD353587E044}"/>
          </ac:picMkLst>
        </pc:picChg>
        <pc:picChg chg="add del mod">
          <ac:chgData name="Koksrud Andreas" userId="9d9beba6-c052-407a-8599-c781a677a996" providerId="ADAL" clId="{4C03B8BE-ED6C-47DA-A194-101B46B7832B}" dt="2024-01-23T13:50:33.073" v="969" actId="478"/>
          <ac:picMkLst>
            <pc:docMk/>
            <pc:sldMk cId="141793938" sldId="866"/>
            <ac:picMk id="10" creationId="{58879FEC-2172-0E32-F467-93CE73CE793A}"/>
          </ac:picMkLst>
        </pc:picChg>
        <pc:picChg chg="add del mod">
          <ac:chgData name="Koksrud Andreas" userId="9d9beba6-c052-407a-8599-c781a677a996" providerId="ADAL" clId="{4C03B8BE-ED6C-47DA-A194-101B46B7832B}" dt="2024-01-31T20:27:55.587" v="5306" actId="478"/>
          <ac:picMkLst>
            <pc:docMk/>
            <pc:sldMk cId="141793938" sldId="866"/>
            <ac:picMk id="12" creationId="{5AC6A98C-5506-7771-72D5-77959C3FA704}"/>
          </ac:picMkLst>
        </pc:picChg>
      </pc:sldChg>
      <pc:sldChg chg="addSp delSp modSp mod">
        <pc:chgData name="Koksrud Andreas" userId="9d9beba6-c052-407a-8599-c781a677a996" providerId="ADAL" clId="{4C03B8BE-ED6C-47DA-A194-101B46B7832B}" dt="2024-01-31T19:14:55.873" v="5305" actId="1076"/>
        <pc:sldMkLst>
          <pc:docMk/>
          <pc:sldMk cId="3994882627" sldId="867"/>
        </pc:sldMkLst>
        <pc:spChg chg="mod">
          <ac:chgData name="Koksrud Andreas" userId="9d9beba6-c052-407a-8599-c781a677a996" providerId="ADAL" clId="{4C03B8BE-ED6C-47DA-A194-101B46B7832B}" dt="2024-01-31T19:13:17.314" v="5299" actId="20577"/>
          <ac:spMkLst>
            <pc:docMk/>
            <pc:sldMk cId="3994882627" sldId="867"/>
            <ac:spMk id="14" creationId="{C85A9E99-AA4E-C194-FF2A-6C5AC5C1CF94}"/>
          </ac:spMkLst>
        </pc:spChg>
        <pc:picChg chg="add del mod">
          <ac:chgData name="Koksrud Andreas" userId="9d9beba6-c052-407a-8599-c781a677a996" providerId="ADAL" clId="{4C03B8BE-ED6C-47DA-A194-101B46B7832B}" dt="2024-01-31T19:14:21.043" v="5300" actId="478"/>
          <ac:picMkLst>
            <pc:docMk/>
            <pc:sldMk cId="3994882627" sldId="867"/>
            <ac:picMk id="3" creationId="{ED09C992-BA43-DDCC-DD03-16EEBB496174}"/>
          </ac:picMkLst>
        </pc:picChg>
        <pc:picChg chg="add mod">
          <ac:chgData name="Koksrud Andreas" userId="9d9beba6-c052-407a-8599-c781a677a996" providerId="ADAL" clId="{4C03B8BE-ED6C-47DA-A194-101B46B7832B}" dt="2024-01-31T19:14:25.591" v="5302" actId="1076"/>
          <ac:picMkLst>
            <pc:docMk/>
            <pc:sldMk cId="3994882627" sldId="867"/>
            <ac:picMk id="4" creationId="{8E3B416C-1AC1-0470-482B-62B74E32F3A7}"/>
          </ac:picMkLst>
        </pc:picChg>
        <pc:picChg chg="add del mod">
          <ac:chgData name="Koksrud Andreas" userId="9d9beba6-c052-407a-8599-c781a677a996" providerId="ADAL" clId="{4C03B8BE-ED6C-47DA-A194-101B46B7832B}" dt="2024-01-31T19:14:28.317" v="5303" actId="478"/>
          <ac:picMkLst>
            <pc:docMk/>
            <pc:sldMk cId="3994882627" sldId="867"/>
            <ac:picMk id="5" creationId="{992BF215-7938-D7CD-C56C-684AE5DE24CA}"/>
          </ac:picMkLst>
        </pc:picChg>
        <pc:picChg chg="add mod">
          <ac:chgData name="Koksrud Andreas" userId="9d9beba6-c052-407a-8599-c781a677a996" providerId="ADAL" clId="{4C03B8BE-ED6C-47DA-A194-101B46B7832B}" dt="2024-01-31T19:14:55.873" v="5305" actId="1076"/>
          <ac:picMkLst>
            <pc:docMk/>
            <pc:sldMk cId="3994882627" sldId="867"/>
            <ac:picMk id="7" creationId="{0C39E68A-7DF6-807B-0249-BADDB1320D18}"/>
          </ac:picMkLst>
        </pc:picChg>
      </pc:sldChg>
      <pc:sldChg chg="addSp delSp modSp mod">
        <pc:chgData name="Koksrud Andreas" userId="9d9beba6-c052-407a-8599-c781a677a996" providerId="ADAL" clId="{4C03B8BE-ED6C-47DA-A194-101B46B7832B}" dt="2024-02-01T10:52:07.851" v="5599" actId="20577"/>
        <pc:sldMkLst>
          <pc:docMk/>
          <pc:sldMk cId="612492956" sldId="869"/>
        </pc:sldMkLst>
        <pc:spChg chg="del mod">
          <ac:chgData name="Koksrud Andreas" userId="9d9beba6-c052-407a-8599-c781a677a996" providerId="ADAL" clId="{4C03B8BE-ED6C-47DA-A194-101B46B7832B}" dt="2024-01-29T05:46:15.950" v="2093" actId="478"/>
          <ac:spMkLst>
            <pc:docMk/>
            <pc:sldMk cId="612492956" sldId="869"/>
            <ac:spMk id="3" creationId="{F8C25FDC-57EE-1DDE-CCC5-273A2149FEAB}"/>
          </ac:spMkLst>
        </pc:spChg>
        <pc:spChg chg="mod">
          <ac:chgData name="Koksrud Andreas" userId="9d9beba6-c052-407a-8599-c781a677a996" providerId="ADAL" clId="{4C03B8BE-ED6C-47DA-A194-101B46B7832B}" dt="2024-02-01T10:52:07.851" v="5599" actId="20577"/>
          <ac:spMkLst>
            <pc:docMk/>
            <pc:sldMk cId="612492956" sldId="869"/>
            <ac:spMk id="14" creationId="{C85A9E99-AA4E-C194-FF2A-6C5AC5C1CF94}"/>
          </ac:spMkLst>
        </pc:spChg>
        <pc:picChg chg="add mod ord modCrop">
          <ac:chgData name="Koksrud Andreas" userId="9d9beba6-c052-407a-8599-c781a677a996" providerId="ADAL" clId="{4C03B8BE-ED6C-47DA-A194-101B46B7832B}" dt="2024-01-29T09:19:47.948" v="3230" actId="14100"/>
          <ac:picMkLst>
            <pc:docMk/>
            <pc:sldMk cId="612492956" sldId="869"/>
            <ac:picMk id="4" creationId="{1B512EEC-42AE-E3EC-812A-6A32A1C39970}"/>
          </ac:picMkLst>
        </pc:picChg>
      </pc:sldChg>
      <pc:sldChg chg="addSp delSp modSp mod">
        <pc:chgData name="Koksrud Andreas" userId="9d9beba6-c052-407a-8599-c781a677a996" providerId="ADAL" clId="{4C03B8BE-ED6C-47DA-A194-101B46B7832B}" dt="2024-01-31T20:37:44.811" v="5407" actId="20577"/>
        <pc:sldMkLst>
          <pc:docMk/>
          <pc:sldMk cId="118550550" sldId="870"/>
        </pc:sldMkLst>
        <pc:spChg chg="mod">
          <ac:chgData name="Koksrud Andreas" userId="9d9beba6-c052-407a-8599-c781a677a996" providerId="ADAL" clId="{4C03B8BE-ED6C-47DA-A194-101B46B7832B}" dt="2024-01-31T20:37:44.811" v="5407" actId="20577"/>
          <ac:spMkLst>
            <pc:docMk/>
            <pc:sldMk cId="118550550" sldId="870"/>
            <ac:spMk id="14" creationId="{C85A9E99-AA4E-C194-FF2A-6C5AC5C1CF94}"/>
          </ac:spMkLst>
        </pc:spChg>
        <pc:spChg chg="mod">
          <ac:chgData name="Koksrud Andreas" userId="9d9beba6-c052-407a-8599-c781a677a996" providerId="ADAL" clId="{4C03B8BE-ED6C-47DA-A194-101B46B7832B}" dt="2024-01-23T15:44:51.535" v="1130" actId="20577"/>
          <ac:spMkLst>
            <pc:docMk/>
            <pc:sldMk cId="118550550" sldId="870"/>
            <ac:spMk id="180" creationId="{00000000-0000-0000-0000-000000000000}"/>
          </ac:spMkLst>
        </pc:spChg>
        <pc:picChg chg="add del mod">
          <ac:chgData name="Koksrud Andreas" userId="9d9beba6-c052-407a-8599-c781a677a996" providerId="ADAL" clId="{4C03B8BE-ED6C-47DA-A194-101B46B7832B}" dt="2024-01-23T15:46:02.199" v="1145" actId="478"/>
          <ac:picMkLst>
            <pc:docMk/>
            <pc:sldMk cId="118550550" sldId="870"/>
            <ac:picMk id="3" creationId="{34BBE621-2035-237F-2AE9-42FF0D5BFC16}"/>
          </ac:picMkLst>
        </pc:picChg>
        <pc:picChg chg="add mod">
          <ac:chgData name="Koksrud Andreas" userId="9d9beba6-c052-407a-8599-c781a677a996" providerId="ADAL" clId="{4C03B8BE-ED6C-47DA-A194-101B46B7832B}" dt="2024-01-23T15:46:51.311" v="1232" actId="1076"/>
          <ac:picMkLst>
            <pc:docMk/>
            <pc:sldMk cId="118550550" sldId="870"/>
            <ac:picMk id="5" creationId="{42795A0C-1A69-F226-DBD1-C38DF280A14B}"/>
          </ac:picMkLst>
        </pc:picChg>
        <pc:picChg chg="add mod">
          <ac:chgData name="Koksrud Andreas" userId="9d9beba6-c052-407a-8599-c781a677a996" providerId="ADAL" clId="{4C03B8BE-ED6C-47DA-A194-101B46B7832B}" dt="2024-01-23T15:57:28.209" v="1298" actId="1076"/>
          <ac:picMkLst>
            <pc:docMk/>
            <pc:sldMk cId="118550550" sldId="870"/>
            <ac:picMk id="7" creationId="{820E6AE5-0022-7907-4F55-CCCDD127F1CB}"/>
          </ac:picMkLst>
        </pc:picChg>
      </pc:sldChg>
      <pc:sldChg chg="addSp delSp modSp mod ord">
        <pc:chgData name="Koksrud Andreas" userId="9d9beba6-c052-407a-8599-c781a677a996" providerId="ADAL" clId="{4C03B8BE-ED6C-47DA-A194-101B46B7832B}" dt="2024-02-01T12:11:23.631" v="5835" actId="1076"/>
        <pc:sldMkLst>
          <pc:docMk/>
          <pc:sldMk cId="548472017" sldId="871"/>
        </pc:sldMkLst>
        <pc:spChg chg="add mod">
          <ac:chgData name="Koksrud Andreas" userId="9d9beba6-c052-407a-8599-c781a677a996" providerId="ADAL" clId="{4C03B8BE-ED6C-47DA-A194-101B46B7832B}" dt="2024-02-01T12:06:24.871" v="5827"/>
          <ac:spMkLst>
            <pc:docMk/>
            <pc:sldMk cId="548472017" sldId="871"/>
            <ac:spMk id="2" creationId="{5E55E3D2-6C00-507E-E67D-B1585416A7DA}"/>
          </ac:spMkLst>
        </pc:spChg>
        <pc:spChg chg="add mod">
          <ac:chgData name="Koksrud Andreas" userId="9d9beba6-c052-407a-8599-c781a677a996" providerId="ADAL" clId="{4C03B8BE-ED6C-47DA-A194-101B46B7832B}" dt="2024-01-29T12:32:36.528" v="4245" actId="20577"/>
          <ac:spMkLst>
            <pc:docMk/>
            <pc:sldMk cId="548472017" sldId="871"/>
            <ac:spMk id="4" creationId="{C74185B4-55D0-B4EA-E65D-51F42B09D894}"/>
          </ac:spMkLst>
        </pc:spChg>
        <pc:spChg chg="mod">
          <ac:chgData name="Koksrud Andreas" userId="9d9beba6-c052-407a-8599-c781a677a996" providerId="ADAL" clId="{4C03B8BE-ED6C-47DA-A194-101B46B7832B}" dt="2024-01-29T12:31:30.599" v="4237" actId="6549"/>
          <ac:spMkLst>
            <pc:docMk/>
            <pc:sldMk cId="548472017" sldId="871"/>
            <ac:spMk id="14" creationId="{C85A9E99-AA4E-C194-FF2A-6C5AC5C1CF94}"/>
          </ac:spMkLst>
        </pc:spChg>
        <pc:spChg chg="mod">
          <ac:chgData name="Koksrud Andreas" userId="9d9beba6-c052-407a-8599-c781a677a996" providerId="ADAL" clId="{4C03B8BE-ED6C-47DA-A194-101B46B7832B}" dt="2024-01-29T07:01:55.581" v="2349" actId="20577"/>
          <ac:spMkLst>
            <pc:docMk/>
            <pc:sldMk cId="548472017" sldId="871"/>
            <ac:spMk id="180" creationId="{00000000-0000-0000-0000-000000000000}"/>
          </ac:spMkLst>
        </pc:spChg>
        <pc:picChg chg="add mod">
          <ac:chgData name="Koksrud Andreas" userId="9d9beba6-c052-407a-8599-c781a677a996" providerId="ADAL" clId="{4C03B8BE-ED6C-47DA-A194-101B46B7832B}" dt="2024-01-29T12:32:01.837" v="4239" actId="1076"/>
          <ac:picMkLst>
            <pc:docMk/>
            <pc:sldMk cId="548472017" sldId="871"/>
            <ac:picMk id="6" creationId="{998758FD-0182-1EDB-7B67-96A720A202C7}"/>
          </ac:picMkLst>
        </pc:picChg>
        <pc:picChg chg="add mod modCrop">
          <ac:chgData name="Koksrud Andreas" userId="9d9beba6-c052-407a-8599-c781a677a996" providerId="ADAL" clId="{4C03B8BE-ED6C-47DA-A194-101B46B7832B}" dt="2024-02-01T12:11:23.631" v="5835" actId="1076"/>
          <ac:picMkLst>
            <pc:docMk/>
            <pc:sldMk cId="548472017" sldId="871"/>
            <ac:picMk id="7" creationId="{11B4A4CD-E3CE-7938-0B4C-0B09EDAE8B13}"/>
          </ac:picMkLst>
        </pc:picChg>
        <pc:picChg chg="add del mod">
          <ac:chgData name="Koksrud Andreas" userId="9d9beba6-c052-407a-8599-c781a677a996" providerId="ADAL" clId="{4C03B8BE-ED6C-47DA-A194-101B46B7832B}" dt="2024-02-01T12:11:05.713" v="5828" actId="478"/>
          <ac:picMkLst>
            <pc:docMk/>
            <pc:sldMk cId="548472017" sldId="871"/>
            <ac:picMk id="8" creationId="{4A970A8E-6363-6D03-CAFA-62D67424806B}"/>
          </ac:picMkLst>
        </pc:picChg>
      </pc:sldChg>
      <pc:sldChg chg="delSp modSp add mod">
        <pc:chgData name="Koksrud Andreas" userId="9d9beba6-c052-407a-8599-c781a677a996" providerId="ADAL" clId="{4C03B8BE-ED6C-47DA-A194-101B46B7832B}" dt="2024-01-29T08:09:46.344" v="2925" actId="20577"/>
        <pc:sldMkLst>
          <pc:docMk/>
          <pc:sldMk cId="1118540174" sldId="872"/>
        </pc:sldMkLst>
        <pc:spChg chg="mod">
          <ac:chgData name="Koksrud Andreas" userId="9d9beba6-c052-407a-8599-c781a677a996" providerId="ADAL" clId="{4C03B8BE-ED6C-47DA-A194-101B46B7832B}" dt="2024-01-29T08:09:46.344" v="2925" actId="20577"/>
          <ac:spMkLst>
            <pc:docMk/>
            <pc:sldMk cId="1118540174" sldId="872"/>
            <ac:spMk id="2" creationId="{9796E8C1-5924-9DB3-B51B-75296717F89F}"/>
          </ac:spMkLst>
        </pc:spChg>
        <pc:picChg chg="del">
          <ac:chgData name="Koksrud Andreas" userId="9d9beba6-c052-407a-8599-c781a677a996" providerId="ADAL" clId="{4C03B8BE-ED6C-47DA-A194-101B46B7832B}" dt="2024-01-23T12:31:46.259" v="486" actId="478"/>
          <ac:picMkLst>
            <pc:docMk/>
            <pc:sldMk cId="1118540174" sldId="872"/>
            <ac:picMk id="4" creationId="{FDD42404-EF64-D2C3-11DA-3A932B4CFCB8}"/>
          </ac:picMkLst>
        </pc:picChg>
        <pc:picChg chg="del">
          <ac:chgData name="Koksrud Andreas" userId="9d9beba6-c052-407a-8599-c781a677a996" providerId="ADAL" clId="{4C03B8BE-ED6C-47DA-A194-101B46B7832B}" dt="2024-01-23T12:31:46.891" v="487" actId="478"/>
          <ac:picMkLst>
            <pc:docMk/>
            <pc:sldMk cId="1118540174" sldId="872"/>
            <ac:picMk id="7" creationId="{B577DB5D-7727-344B-C721-E4F076F07A2D}"/>
          </ac:picMkLst>
        </pc:picChg>
        <pc:picChg chg="mod">
          <ac:chgData name="Koksrud Andreas" userId="9d9beba6-c052-407a-8599-c781a677a996" providerId="ADAL" clId="{4C03B8BE-ED6C-47DA-A194-101B46B7832B}" dt="2024-01-23T12:32:02.882" v="504" actId="1076"/>
          <ac:picMkLst>
            <pc:docMk/>
            <pc:sldMk cId="1118540174" sldId="872"/>
            <ac:picMk id="10" creationId="{89AD7208-33E1-786F-68C4-B07CE69D9B90}"/>
          </ac:picMkLst>
        </pc:picChg>
        <pc:picChg chg="mod">
          <ac:chgData name="Koksrud Andreas" userId="9d9beba6-c052-407a-8599-c781a677a996" providerId="ADAL" clId="{4C03B8BE-ED6C-47DA-A194-101B46B7832B}" dt="2024-01-23T12:32:02.882" v="504" actId="1076"/>
          <ac:picMkLst>
            <pc:docMk/>
            <pc:sldMk cId="1118540174" sldId="872"/>
            <ac:picMk id="13" creationId="{64C063CB-5F33-4B77-965C-B90C6AE27B39}"/>
          </ac:picMkLst>
        </pc:picChg>
        <pc:picChg chg="mod">
          <ac:chgData name="Koksrud Andreas" userId="9d9beba6-c052-407a-8599-c781a677a996" providerId="ADAL" clId="{4C03B8BE-ED6C-47DA-A194-101B46B7832B}" dt="2024-01-23T12:32:02.882" v="504" actId="1076"/>
          <ac:picMkLst>
            <pc:docMk/>
            <pc:sldMk cId="1118540174" sldId="872"/>
            <ac:picMk id="19" creationId="{16102E3D-30A8-E8EE-D800-B326185287B8}"/>
          </ac:picMkLst>
        </pc:picChg>
        <pc:cxnChg chg="mod">
          <ac:chgData name="Koksrud Andreas" userId="9d9beba6-c052-407a-8599-c781a677a996" providerId="ADAL" clId="{4C03B8BE-ED6C-47DA-A194-101B46B7832B}" dt="2024-01-23T12:32:02.882" v="504" actId="1076"/>
          <ac:cxnSpMkLst>
            <pc:docMk/>
            <pc:sldMk cId="1118540174" sldId="872"/>
            <ac:cxnSpMk id="14" creationId="{EBD79003-BA5F-9EC4-AB1E-B169474A75BA}"/>
          </ac:cxnSpMkLst>
        </pc:cxnChg>
        <pc:cxnChg chg="mod">
          <ac:chgData name="Koksrud Andreas" userId="9d9beba6-c052-407a-8599-c781a677a996" providerId="ADAL" clId="{4C03B8BE-ED6C-47DA-A194-101B46B7832B}" dt="2024-01-23T12:32:02.882" v="504" actId="1076"/>
          <ac:cxnSpMkLst>
            <pc:docMk/>
            <pc:sldMk cId="1118540174" sldId="872"/>
            <ac:cxnSpMk id="22" creationId="{21009E25-D8DE-E975-55FA-12227386461E}"/>
          </ac:cxnSpMkLst>
        </pc:cxnChg>
      </pc:sldChg>
      <pc:sldChg chg="delSp modSp add mod ord">
        <pc:chgData name="Koksrud Andreas" userId="9d9beba6-c052-407a-8599-c781a677a996" providerId="ADAL" clId="{4C03B8BE-ED6C-47DA-A194-101B46B7832B}" dt="2024-01-23T12:31:15.808" v="436" actId="20577"/>
        <pc:sldMkLst>
          <pc:docMk/>
          <pc:sldMk cId="2716145312" sldId="873"/>
        </pc:sldMkLst>
        <pc:spChg chg="mod">
          <ac:chgData name="Koksrud Andreas" userId="9d9beba6-c052-407a-8599-c781a677a996" providerId="ADAL" clId="{4C03B8BE-ED6C-47DA-A194-101B46B7832B}" dt="2024-01-23T12:31:15.808" v="436" actId="20577"/>
          <ac:spMkLst>
            <pc:docMk/>
            <pc:sldMk cId="2716145312" sldId="873"/>
            <ac:spMk id="2" creationId="{9796E8C1-5924-9DB3-B51B-75296717F89F}"/>
          </ac:spMkLst>
        </pc:spChg>
        <pc:picChg chg="del">
          <ac:chgData name="Koksrud Andreas" userId="9d9beba6-c052-407a-8599-c781a677a996" providerId="ADAL" clId="{4C03B8BE-ED6C-47DA-A194-101B46B7832B}" dt="2024-01-23T12:30:08.519" v="264" actId="478"/>
          <ac:picMkLst>
            <pc:docMk/>
            <pc:sldMk cId="2716145312" sldId="873"/>
            <ac:picMk id="9" creationId="{C3019131-6227-C544-E712-F688CDF664B9}"/>
          </ac:picMkLst>
        </pc:picChg>
        <pc:picChg chg="del">
          <ac:chgData name="Koksrud Andreas" userId="9d9beba6-c052-407a-8599-c781a677a996" providerId="ADAL" clId="{4C03B8BE-ED6C-47DA-A194-101B46B7832B}" dt="2024-01-23T12:30:07.896" v="263" actId="478"/>
          <ac:picMkLst>
            <pc:docMk/>
            <pc:sldMk cId="2716145312" sldId="873"/>
            <ac:picMk id="12" creationId="{DEE12C32-E793-5A48-C960-3987827D3176}"/>
          </ac:picMkLst>
        </pc:picChg>
        <pc:picChg chg="del">
          <ac:chgData name="Koksrud Andreas" userId="9d9beba6-c052-407a-8599-c781a677a996" providerId="ADAL" clId="{4C03B8BE-ED6C-47DA-A194-101B46B7832B}" dt="2024-01-23T12:30:09.109" v="265" actId="478"/>
          <ac:picMkLst>
            <pc:docMk/>
            <pc:sldMk cId="2716145312" sldId="873"/>
            <ac:picMk id="15" creationId="{DD1F7884-9A7C-5891-012A-EE057168166C}"/>
          </ac:picMkLst>
        </pc:picChg>
      </pc:sldChg>
      <pc:sldChg chg="add del">
        <pc:chgData name="Koksrud Andreas" userId="9d9beba6-c052-407a-8599-c781a677a996" providerId="ADAL" clId="{4C03B8BE-ED6C-47DA-A194-101B46B7832B}" dt="2024-01-23T12:30:24.389" v="269"/>
        <pc:sldMkLst>
          <pc:docMk/>
          <pc:sldMk cId="2752198801" sldId="874"/>
        </pc:sldMkLst>
      </pc:sldChg>
      <pc:sldChg chg="addSp delSp modSp add mod">
        <pc:chgData name="Koksrud Andreas" userId="9d9beba6-c052-407a-8599-c781a677a996" providerId="ADAL" clId="{4C03B8BE-ED6C-47DA-A194-101B46B7832B}" dt="2024-02-01T19:15:48.027" v="6435" actId="20577"/>
        <pc:sldMkLst>
          <pc:docMk/>
          <pc:sldMk cId="3240008992" sldId="874"/>
        </pc:sldMkLst>
        <pc:spChg chg="add mod">
          <ac:chgData name="Koksrud Andreas" userId="9d9beba6-c052-407a-8599-c781a677a996" providerId="ADAL" clId="{4C03B8BE-ED6C-47DA-A194-101B46B7832B}" dt="2024-01-31T20:33:25.159" v="5370" actId="1038"/>
          <ac:spMkLst>
            <pc:docMk/>
            <pc:sldMk cId="3240008992" sldId="874"/>
            <ac:spMk id="2" creationId="{8D0A2D7E-A45D-7F55-64BC-5169991AD9FF}"/>
          </ac:spMkLst>
        </pc:spChg>
        <pc:spChg chg="del mod">
          <ac:chgData name="Koksrud Andreas" userId="9d9beba6-c052-407a-8599-c781a677a996" providerId="ADAL" clId="{4C03B8BE-ED6C-47DA-A194-101B46B7832B}" dt="2024-01-23T12:53:36.506" v="713" actId="478"/>
          <ac:spMkLst>
            <pc:docMk/>
            <pc:sldMk cId="3240008992" sldId="874"/>
            <ac:spMk id="4" creationId="{FEFDFE44-611E-8625-FC2E-FCBBCCD3961B}"/>
          </ac:spMkLst>
        </pc:spChg>
        <pc:spChg chg="add del mod">
          <ac:chgData name="Koksrud Andreas" userId="9d9beba6-c052-407a-8599-c781a677a996" providerId="ADAL" clId="{4C03B8BE-ED6C-47DA-A194-101B46B7832B}" dt="2024-01-31T20:34:56.018" v="5378" actId="478"/>
          <ac:spMkLst>
            <pc:docMk/>
            <pc:sldMk cId="3240008992" sldId="874"/>
            <ac:spMk id="5" creationId="{8DF3DB0A-023B-FFAE-FC69-B6BBA8BCF1B6}"/>
          </ac:spMkLst>
        </pc:spChg>
        <pc:spChg chg="mod">
          <ac:chgData name="Koksrud Andreas" userId="9d9beba6-c052-407a-8599-c781a677a996" providerId="ADAL" clId="{4C03B8BE-ED6C-47DA-A194-101B46B7832B}" dt="2024-01-23T12:53:52.751" v="745" actId="6549"/>
          <ac:spMkLst>
            <pc:docMk/>
            <pc:sldMk cId="3240008992" sldId="874"/>
            <ac:spMk id="6" creationId="{D33A7F7C-0CFF-12D8-D3F9-55EA11817DA1}"/>
          </ac:spMkLst>
        </pc:spChg>
        <pc:spChg chg="add mod">
          <ac:chgData name="Koksrud Andreas" userId="9d9beba6-c052-407a-8599-c781a677a996" providerId="ADAL" clId="{4C03B8BE-ED6C-47DA-A194-101B46B7832B}" dt="2024-02-01T19:15:48.027" v="6435" actId="20577"/>
          <ac:spMkLst>
            <pc:docMk/>
            <pc:sldMk cId="3240008992" sldId="874"/>
            <ac:spMk id="7" creationId="{3E2A9D77-722A-7DF2-641F-63C31ADA7283}"/>
          </ac:spMkLst>
        </pc:spChg>
        <pc:spChg chg="add mod">
          <ac:chgData name="Koksrud Andreas" userId="9d9beba6-c052-407a-8599-c781a677a996" providerId="ADAL" clId="{4C03B8BE-ED6C-47DA-A194-101B46B7832B}" dt="2024-01-29T08:05:10.336" v="2656" actId="14100"/>
          <ac:spMkLst>
            <pc:docMk/>
            <pc:sldMk cId="3240008992" sldId="874"/>
            <ac:spMk id="20" creationId="{EBA460F1-79A3-E8FA-8EEE-CE28CA6EBCC2}"/>
          </ac:spMkLst>
        </pc:spChg>
        <pc:picChg chg="add mod">
          <ac:chgData name="Koksrud Andreas" userId="9d9beba6-c052-407a-8599-c781a677a996" providerId="ADAL" clId="{4C03B8BE-ED6C-47DA-A194-101B46B7832B}" dt="2024-01-23T12:54:27.507" v="749" actId="1076"/>
          <ac:picMkLst>
            <pc:docMk/>
            <pc:sldMk cId="3240008992" sldId="874"/>
            <ac:picMk id="3" creationId="{464C77B1-57DA-B3A2-90F0-9BD177989E1A}"/>
          </ac:picMkLst>
        </pc:picChg>
        <pc:picChg chg="add del mod">
          <ac:chgData name="Koksrud Andreas" userId="9d9beba6-c052-407a-8599-c781a677a996" providerId="ADAL" clId="{4C03B8BE-ED6C-47DA-A194-101B46B7832B}" dt="2024-01-23T13:05:30.453" v="761" actId="478"/>
          <ac:picMkLst>
            <pc:docMk/>
            <pc:sldMk cId="3240008992" sldId="874"/>
            <ac:picMk id="9" creationId="{038121DE-EBBB-DCB4-B2DE-E08005A299E4}"/>
          </ac:picMkLst>
        </pc:picChg>
        <pc:picChg chg="del">
          <ac:chgData name="Koksrud Andreas" userId="9d9beba6-c052-407a-8599-c781a677a996" providerId="ADAL" clId="{4C03B8BE-ED6C-47DA-A194-101B46B7832B}" dt="2024-01-23T12:53:33.805" v="710" actId="478"/>
          <ac:picMkLst>
            <pc:docMk/>
            <pc:sldMk cId="3240008992" sldId="874"/>
            <ac:picMk id="10" creationId="{34DA4BD7-43C8-285E-A933-AFFCFCCD0C8D}"/>
          </ac:picMkLst>
        </pc:picChg>
        <pc:picChg chg="del">
          <ac:chgData name="Koksrud Andreas" userId="9d9beba6-c052-407a-8599-c781a677a996" providerId="ADAL" clId="{4C03B8BE-ED6C-47DA-A194-101B46B7832B}" dt="2024-01-23T12:53:34.342" v="711" actId="478"/>
          <ac:picMkLst>
            <pc:docMk/>
            <pc:sldMk cId="3240008992" sldId="874"/>
            <ac:picMk id="12" creationId="{82C26A6F-F9E2-CFED-E2BC-87AC1923226C}"/>
          </ac:picMkLst>
        </pc:picChg>
        <pc:picChg chg="add mod">
          <ac:chgData name="Koksrud Andreas" userId="9d9beba6-c052-407a-8599-c781a677a996" providerId="ADAL" clId="{4C03B8BE-ED6C-47DA-A194-101B46B7832B}" dt="2024-01-23T13:05:33.056" v="763" actId="1076"/>
          <ac:picMkLst>
            <pc:docMk/>
            <pc:sldMk cId="3240008992" sldId="874"/>
            <ac:picMk id="13" creationId="{A391CAD2-13C6-0DF9-61B2-EB6C186128C8}"/>
          </ac:picMkLst>
        </pc:picChg>
        <pc:picChg chg="del">
          <ac:chgData name="Koksrud Andreas" userId="9d9beba6-c052-407a-8599-c781a677a996" providerId="ADAL" clId="{4C03B8BE-ED6C-47DA-A194-101B46B7832B}" dt="2024-01-23T12:53:56.260" v="746" actId="478"/>
          <ac:picMkLst>
            <pc:docMk/>
            <pc:sldMk cId="3240008992" sldId="874"/>
            <ac:picMk id="14" creationId="{CD2EAEF4-7CED-79FD-7BDE-3E6B250D91FB}"/>
          </ac:picMkLst>
        </pc:picChg>
        <pc:picChg chg="del">
          <ac:chgData name="Koksrud Andreas" userId="9d9beba6-c052-407a-8599-c781a677a996" providerId="ADAL" clId="{4C03B8BE-ED6C-47DA-A194-101B46B7832B}" dt="2024-01-23T12:53:57.035" v="747" actId="478"/>
          <ac:picMkLst>
            <pc:docMk/>
            <pc:sldMk cId="3240008992" sldId="874"/>
            <ac:picMk id="18" creationId="{9E91CC1E-2113-0C28-D2B5-695D6996BC5A}"/>
          </ac:picMkLst>
        </pc:picChg>
        <pc:cxnChg chg="add mod">
          <ac:chgData name="Koksrud Andreas" userId="9d9beba6-c052-407a-8599-c781a677a996" providerId="ADAL" clId="{4C03B8BE-ED6C-47DA-A194-101B46B7832B}" dt="2024-01-23T13:06:51.167" v="846" actId="14100"/>
          <ac:cxnSpMkLst>
            <pc:docMk/>
            <pc:sldMk cId="3240008992" sldId="874"/>
            <ac:cxnSpMk id="15" creationId="{95E809D4-907B-DDAA-B441-48BBD6C78CE4}"/>
          </ac:cxnSpMkLst>
        </pc:cxnChg>
      </pc:sldChg>
      <pc:sldChg chg="addSp delSp modSp add mod">
        <pc:chgData name="Koksrud Andreas" userId="9d9beba6-c052-407a-8599-c781a677a996" providerId="ADAL" clId="{4C03B8BE-ED6C-47DA-A194-101B46B7832B}" dt="2024-01-31T20:37:14.543" v="5390" actId="13822"/>
        <pc:sldMkLst>
          <pc:docMk/>
          <pc:sldMk cId="3825753762" sldId="875"/>
        </pc:sldMkLst>
        <pc:spChg chg="mod">
          <ac:chgData name="Koksrud Andreas" userId="9d9beba6-c052-407a-8599-c781a677a996" providerId="ADAL" clId="{4C03B8BE-ED6C-47DA-A194-101B46B7832B}" dt="2024-01-23T13:50:47.211" v="973" actId="1076"/>
          <ac:spMkLst>
            <pc:docMk/>
            <pc:sldMk cId="3825753762" sldId="875"/>
            <ac:spMk id="2" creationId="{0C578A6C-5215-9DFE-51D6-8AA7A3E4A34A}"/>
          </ac:spMkLst>
        </pc:spChg>
        <pc:spChg chg="add mod">
          <ac:chgData name="Koksrud Andreas" userId="9d9beba6-c052-407a-8599-c781a677a996" providerId="ADAL" clId="{4C03B8BE-ED6C-47DA-A194-101B46B7832B}" dt="2024-01-31T20:36:07.780" v="5385" actId="1076"/>
          <ac:spMkLst>
            <pc:docMk/>
            <pc:sldMk cId="3825753762" sldId="875"/>
            <ac:spMk id="3" creationId="{13148106-895F-5AD9-9189-62DB848A69CD}"/>
          </ac:spMkLst>
        </pc:spChg>
        <pc:spChg chg="add mod">
          <ac:chgData name="Koksrud Andreas" userId="9d9beba6-c052-407a-8599-c781a677a996" providerId="ADAL" clId="{4C03B8BE-ED6C-47DA-A194-101B46B7832B}" dt="2024-01-31T20:36:00.986" v="5383" actId="1076"/>
          <ac:spMkLst>
            <pc:docMk/>
            <pc:sldMk cId="3825753762" sldId="875"/>
            <ac:spMk id="5" creationId="{2F071062-D460-0FA3-75FF-629F2BD35023}"/>
          </ac:spMkLst>
        </pc:spChg>
        <pc:spChg chg="del">
          <ac:chgData name="Koksrud Andreas" userId="9d9beba6-c052-407a-8599-c781a677a996" providerId="ADAL" clId="{4C03B8BE-ED6C-47DA-A194-101B46B7832B}" dt="2024-01-23T13:50:39.842" v="971" actId="478"/>
          <ac:spMkLst>
            <pc:docMk/>
            <pc:sldMk cId="3825753762" sldId="875"/>
            <ac:spMk id="14" creationId="{C85A9E99-AA4E-C194-FF2A-6C5AC5C1CF94}"/>
          </ac:spMkLst>
        </pc:spChg>
        <pc:picChg chg="del">
          <ac:chgData name="Koksrud Andreas" userId="9d9beba6-c052-407a-8599-c781a677a996" providerId="ADAL" clId="{4C03B8BE-ED6C-47DA-A194-101B46B7832B}" dt="2024-01-23T13:50:40.435" v="972" actId="478"/>
          <ac:picMkLst>
            <pc:docMk/>
            <pc:sldMk cId="3825753762" sldId="875"/>
            <ac:picMk id="4" creationId="{776FF432-3812-8AE6-C259-0DD1DB35CB36}"/>
          </ac:picMkLst>
        </pc:picChg>
        <pc:picChg chg="mod">
          <ac:chgData name="Koksrud Andreas" userId="9d9beba6-c052-407a-8599-c781a677a996" providerId="ADAL" clId="{4C03B8BE-ED6C-47DA-A194-101B46B7832B}" dt="2024-01-23T13:50:47.211" v="973" actId="1076"/>
          <ac:picMkLst>
            <pc:docMk/>
            <pc:sldMk cId="3825753762" sldId="875"/>
            <ac:picMk id="6" creationId="{60B7BE4B-C380-F509-39B9-63F66FEDB884}"/>
          </ac:picMkLst>
        </pc:picChg>
        <pc:picChg chg="add mod">
          <ac:chgData name="Koksrud Andreas" userId="9d9beba6-c052-407a-8599-c781a677a996" providerId="ADAL" clId="{4C03B8BE-ED6C-47DA-A194-101B46B7832B}" dt="2024-01-31T20:36:52.056" v="5388" actId="1076"/>
          <ac:picMkLst>
            <pc:docMk/>
            <pc:sldMk cId="3825753762" sldId="875"/>
            <ac:picMk id="7" creationId="{BCAD6897-386A-5BD6-AABB-CE34F342BBB7}"/>
          </ac:picMkLst>
        </pc:picChg>
        <pc:picChg chg="del mod modCrop">
          <ac:chgData name="Koksrud Andreas" userId="9d9beba6-c052-407a-8599-c781a677a996" providerId="ADAL" clId="{4C03B8BE-ED6C-47DA-A194-101B46B7832B}" dt="2024-01-31T20:36:46.354" v="5386" actId="478"/>
          <ac:picMkLst>
            <pc:docMk/>
            <pc:sldMk cId="3825753762" sldId="875"/>
            <ac:picMk id="8" creationId="{999F2FC3-B287-DD9D-4558-AD353587E044}"/>
          </ac:picMkLst>
        </pc:picChg>
        <pc:picChg chg="mod">
          <ac:chgData name="Koksrud Andreas" userId="9d9beba6-c052-407a-8599-c781a677a996" providerId="ADAL" clId="{4C03B8BE-ED6C-47DA-A194-101B46B7832B}" dt="2024-01-31T20:31:23.922" v="5309" actId="14826"/>
          <ac:picMkLst>
            <pc:docMk/>
            <pc:sldMk cId="3825753762" sldId="875"/>
            <ac:picMk id="10" creationId="{58879FEC-2172-0E32-F467-93CE73CE793A}"/>
          </ac:picMkLst>
        </pc:picChg>
        <pc:cxnChg chg="add mod">
          <ac:chgData name="Koksrud Andreas" userId="9d9beba6-c052-407a-8599-c781a677a996" providerId="ADAL" clId="{4C03B8BE-ED6C-47DA-A194-101B46B7832B}" dt="2024-01-31T20:37:14.543" v="5390" actId="13822"/>
          <ac:cxnSpMkLst>
            <pc:docMk/>
            <pc:sldMk cId="3825753762" sldId="875"/>
            <ac:cxnSpMk id="11" creationId="{1289D01B-409D-60E0-C319-E29D9069E7DD}"/>
          </ac:cxnSpMkLst>
        </pc:cxnChg>
      </pc:sldChg>
      <pc:sldChg chg="addSp delSp modSp add mod">
        <pc:chgData name="Koksrud Andreas" userId="9d9beba6-c052-407a-8599-c781a677a996" providerId="ADAL" clId="{4C03B8BE-ED6C-47DA-A194-101B46B7832B}" dt="2024-01-31T20:44:15.043" v="5456" actId="14100"/>
        <pc:sldMkLst>
          <pc:docMk/>
          <pc:sldMk cId="1529294142" sldId="876"/>
        </pc:sldMkLst>
        <pc:spChg chg="add del mod">
          <ac:chgData name="Koksrud Andreas" userId="9d9beba6-c052-407a-8599-c781a677a996" providerId="ADAL" clId="{4C03B8BE-ED6C-47DA-A194-101B46B7832B}" dt="2024-01-25T18:10:52.388" v="1945" actId="478"/>
          <ac:spMkLst>
            <pc:docMk/>
            <pc:sldMk cId="1529294142" sldId="876"/>
            <ac:spMk id="2" creationId="{54714381-9640-B152-2793-0CBAE8C8E8E4}"/>
          </ac:spMkLst>
        </pc:spChg>
        <pc:spChg chg="add mod">
          <ac:chgData name="Koksrud Andreas" userId="9d9beba6-c052-407a-8599-c781a677a996" providerId="ADAL" clId="{4C03B8BE-ED6C-47DA-A194-101B46B7832B}" dt="2024-01-31T20:38:46.502" v="5445" actId="1038"/>
          <ac:spMkLst>
            <pc:docMk/>
            <pc:sldMk cId="1529294142" sldId="876"/>
            <ac:spMk id="2" creationId="{E98599A8-897C-C9C3-AAA0-B3E4A79352FF}"/>
          </ac:spMkLst>
        </pc:spChg>
        <pc:spChg chg="add del mod">
          <ac:chgData name="Koksrud Andreas" userId="9d9beba6-c052-407a-8599-c781a677a996" providerId="ADAL" clId="{4C03B8BE-ED6C-47DA-A194-101B46B7832B}" dt="2024-01-25T18:11:20.302" v="1951" actId="478"/>
          <ac:spMkLst>
            <pc:docMk/>
            <pc:sldMk cId="1529294142" sldId="876"/>
            <ac:spMk id="4" creationId="{6E895E74-D8D0-8DDB-A35F-E4879A2B3227}"/>
          </ac:spMkLst>
        </pc:spChg>
        <pc:spChg chg="add mod">
          <ac:chgData name="Koksrud Andreas" userId="9d9beba6-c052-407a-8599-c781a677a996" providerId="ADAL" clId="{4C03B8BE-ED6C-47DA-A194-101B46B7832B}" dt="2024-01-31T20:43:09.399" v="5450"/>
          <ac:spMkLst>
            <pc:docMk/>
            <pc:sldMk cId="1529294142" sldId="876"/>
            <ac:spMk id="6" creationId="{55597BA9-F880-8C12-0743-955498FF36CE}"/>
          </ac:spMkLst>
        </pc:spChg>
        <pc:spChg chg="add mod">
          <ac:chgData name="Koksrud Andreas" userId="9d9beba6-c052-407a-8599-c781a677a996" providerId="ADAL" clId="{4C03B8BE-ED6C-47DA-A194-101B46B7832B}" dt="2024-01-25T18:12:02.287" v="1961" actId="1076"/>
          <ac:spMkLst>
            <pc:docMk/>
            <pc:sldMk cId="1529294142" sldId="876"/>
            <ac:spMk id="8" creationId="{3EB2F6F0-34E3-2C5E-297D-262378C6DEFA}"/>
          </ac:spMkLst>
        </pc:spChg>
        <pc:spChg chg="mod">
          <ac:chgData name="Koksrud Andreas" userId="9d9beba6-c052-407a-8599-c781a677a996" providerId="ADAL" clId="{4C03B8BE-ED6C-47DA-A194-101B46B7832B}" dt="2024-01-25T18:02:47.324" v="1793" actId="1076"/>
          <ac:spMkLst>
            <pc:docMk/>
            <pc:sldMk cId="1529294142" sldId="876"/>
            <ac:spMk id="14" creationId="{C85A9E99-AA4E-C194-FF2A-6C5AC5C1CF94}"/>
          </ac:spMkLst>
        </pc:spChg>
        <pc:spChg chg="add mod">
          <ac:chgData name="Koksrud Andreas" userId="9d9beba6-c052-407a-8599-c781a677a996" providerId="ADAL" clId="{4C03B8BE-ED6C-47DA-A194-101B46B7832B}" dt="2024-01-25T18:12:39.361" v="1981" actId="1076"/>
          <ac:spMkLst>
            <pc:docMk/>
            <pc:sldMk cId="1529294142" sldId="876"/>
            <ac:spMk id="26" creationId="{86874366-768F-7C6F-E843-CD9031BBB011}"/>
          </ac:spMkLst>
        </pc:spChg>
        <pc:spChg chg="mod">
          <ac:chgData name="Koksrud Andreas" userId="9d9beba6-c052-407a-8599-c781a677a996" providerId="ADAL" clId="{4C03B8BE-ED6C-47DA-A194-101B46B7832B}" dt="2024-01-31T20:38:22.664" v="5424" actId="1036"/>
          <ac:spMkLst>
            <pc:docMk/>
            <pc:sldMk cId="1529294142" sldId="876"/>
            <ac:spMk id="180" creationId="{00000000-0000-0000-0000-000000000000}"/>
          </ac:spMkLst>
        </pc:spChg>
        <pc:picChg chg="add mod">
          <ac:chgData name="Koksrud Andreas" userId="9d9beba6-c052-407a-8599-c781a677a996" providerId="ADAL" clId="{4C03B8BE-ED6C-47DA-A194-101B46B7832B}" dt="2024-01-23T15:58:41.975" v="1384" actId="1037"/>
          <ac:picMkLst>
            <pc:docMk/>
            <pc:sldMk cId="1529294142" sldId="876"/>
            <ac:picMk id="3" creationId="{488E3890-E954-5B1D-D8FB-76AE055CCE6C}"/>
          </ac:picMkLst>
        </pc:picChg>
        <pc:picChg chg="add mod modCrop">
          <ac:chgData name="Koksrud Andreas" userId="9d9beba6-c052-407a-8599-c781a677a996" providerId="ADAL" clId="{4C03B8BE-ED6C-47DA-A194-101B46B7832B}" dt="2024-01-31T20:44:06.081" v="5455" actId="1076"/>
          <ac:picMkLst>
            <pc:docMk/>
            <pc:sldMk cId="1529294142" sldId="876"/>
            <ac:picMk id="5" creationId="{29D85E9D-FD6E-9116-AC05-D98B2CAA13E7}"/>
          </ac:picMkLst>
        </pc:picChg>
        <pc:picChg chg="del">
          <ac:chgData name="Koksrud Andreas" userId="9d9beba6-c052-407a-8599-c781a677a996" providerId="ADAL" clId="{4C03B8BE-ED6C-47DA-A194-101B46B7832B}" dt="2024-01-23T15:57:42.181" v="1301" actId="478"/>
          <ac:picMkLst>
            <pc:docMk/>
            <pc:sldMk cId="1529294142" sldId="876"/>
            <ac:picMk id="5" creationId="{42795A0C-1A69-F226-DBD1-C38DF280A14B}"/>
          </ac:picMkLst>
        </pc:picChg>
        <pc:picChg chg="del">
          <ac:chgData name="Koksrud Andreas" userId="9d9beba6-c052-407a-8599-c781a677a996" providerId="ADAL" clId="{4C03B8BE-ED6C-47DA-A194-101B46B7832B}" dt="2024-01-23T15:57:39.577" v="1300" actId="478"/>
          <ac:picMkLst>
            <pc:docMk/>
            <pc:sldMk cId="1529294142" sldId="876"/>
            <ac:picMk id="7" creationId="{820E6AE5-0022-7907-4F55-CCCDD127F1CB}"/>
          </ac:picMkLst>
        </pc:picChg>
        <pc:picChg chg="add mod modCrop">
          <ac:chgData name="Koksrud Andreas" userId="9d9beba6-c052-407a-8599-c781a677a996" providerId="ADAL" clId="{4C03B8BE-ED6C-47DA-A194-101B46B7832B}" dt="2024-01-31T20:44:15.043" v="5456" actId="14100"/>
          <ac:picMkLst>
            <pc:docMk/>
            <pc:sldMk cId="1529294142" sldId="876"/>
            <ac:picMk id="23" creationId="{77F5BDEC-65C3-095E-675F-BD759BF840CA}"/>
          </ac:picMkLst>
        </pc:picChg>
        <pc:picChg chg="add del mod">
          <ac:chgData name="Koksrud Andreas" userId="9d9beba6-c052-407a-8599-c781a677a996" providerId="ADAL" clId="{4C03B8BE-ED6C-47DA-A194-101B46B7832B}" dt="2024-01-31T20:43:25.043" v="5451" actId="478"/>
          <ac:picMkLst>
            <pc:docMk/>
            <pc:sldMk cId="1529294142" sldId="876"/>
            <ac:picMk id="25" creationId="{A4DD5ABB-AB9A-6571-01E9-5CBD9C8A2844}"/>
          </ac:picMkLst>
        </pc:picChg>
        <pc:cxnChg chg="add mod">
          <ac:chgData name="Koksrud Andreas" userId="9d9beba6-c052-407a-8599-c781a677a996" providerId="ADAL" clId="{4C03B8BE-ED6C-47DA-A194-101B46B7832B}" dt="2024-01-25T18:03:28.359" v="1799" actId="13822"/>
          <ac:cxnSpMkLst>
            <pc:docMk/>
            <pc:sldMk cId="1529294142" sldId="876"/>
            <ac:cxnSpMk id="7" creationId="{C28A21B9-E695-3093-9CDF-081B0F28663D}"/>
          </ac:cxnSpMkLst>
        </pc:cxnChg>
        <pc:cxnChg chg="add mod">
          <ac:chgData name="Koksrud Andreas" userId="9d9beba6-c052-407a-8599-c781a677a996" providerId="ADAL" clId="{4C03B8BE-ED6C-47DA-A194-101B46B7832B}" dt="2024-01-25T18:03:28.359" v="1799" actId="13822"/>
          <ac:cxnSpMkLst>
            <pc:docMk/>
            <pc:sldMk cId="1529294142" sldId="876"/>
            <ac:cxnSpMk id="9" creationId="{0972129A-F89E-240B-4981-8A90E0E589B2}"/>
          </ac:cxnSpMkLst>
        </pc:cxnChg>
        <pc:cxnChg chg="add del mod">
          <ac:chgData name="Koksrud Andreas" userId="9d9beba6-c052-407a-8599-c781a677a996" providerId="ADAL" clId="{4C03B8BE-ED6C-47DA-A194-101B46B7832B}" dt="2024-01-25T18:02:31.946" v="1788" actId="478"/>
          <ac:cxnSpMkLst>
            <pc:docMk/>
            <pc:sldMk cId="1529294142" sldId="876"/>
            <ac:cxnSpMk id="11" creationId="{C9880CB1-791B-9129-B89C-28CDB09C9520}"/>
          </ac:cxnSpMkLst>
        </pc:cxnChg>
        <pc:cxnChg chg="add del">
          <ac:chgData name="Koksrud Andreas" userId="9d9beba6-c052-407a-8599-c781a677a996" providerId="ADAL" clId="{4C03B8BE-ED6C-47DA-A194-101B46B7832B}" dt="2024-01-25T18:02:15.107" v="1787" actId="478"/>
          <ac:cxnSpMkLst>
            <pc:docMk/>
            <pc:sldMk cId="1529294142" sldId="876"/>
            <ac:cxnSpMk id="16" creationId="{DCF6FCAA-4AC7-F168-5403-55236EA17907}"/>
          </ac:cxnSpMkLst>
        </pc:cxnChg>
        <pc:cxnChg chg="add mod">
          <ac:chgData name="Koksrud Andreas" userId="9d9beba6-c052-407a-8599-c781a677a996" providerId="ADAL" clId="{4C03B8BE-ED6C-47DA-A194-101B46B7832B}" dt="2024-01-25T18:10:52.388" v="1945" actId="478"/>
          <ac:cxnSpMkLst>
            <pc:docMk/>
            <pc:sldMk cId="1529294142" sldId="876"/>
            <ac:cxnSpMk id="18" creationId="{208D48BA-33E0-EB87-664E-1DCE7D9C638A}"/>
          </ac:cxnSpMkLst>
        </pc:cxnChg>
        <pc:cxnChg chg="add mod">
          <ac:chgData name="Koksrud Andreas" userId="9d9beba6-c052-407a-8599-c781a677a996" providerId="ADAL" clId="{4C03B8BE-ED6C-47DA-A194-101B46B7832B}" dt="2024-01-25T18:11:20.302" v="1951" actId="478"/>
          <ac:cxnSpMkLst>
            <pc:docMk/>
            <pc:sldMk cId="1529294142" sldId="876"/>
            <ac:cxnSpMk id="19" creationId="{0DE1DE4B-6C39-E0DE-2F8D-16667BFF89CA}"/>
          </ac:cxnSpMkLst>
        </pc:cxnChg>
        <pc:cxnChg chg="add mod">
          <ac:chgData name="Koksrud Andreas" userId="9d9beba6-c052-407a-8599-c781a677a996" providerId="ADAL" clId="{4C03B8BE-ED6C-47DA-A194-101B46B7832B}" dt="2024-01-25T18:12:44.033" v="1982" actId="14100"/>
          <ac:cxnSpMkLst>
            <pc:docMk/>
            <pc:sldMk cId="1529294142" sldId="876"/>
            <ac:cxnSpMk id="27" creationId="{50D06AD4-0BA8-6484-944C-6E6170142AD0}"/>
          </ac:cxnSpMkLst>
        </pc:cxnChg>
        <pc:cxnChg chg="add mod">
          <ac:chgData name="Koksrud Andreas" userId="9d9beba6-c052-407a-8599-c781a677a996" providerId="ADAL" clId="{4C03B8BE-ED6C-47DA-A194-101B46B7832B}" dt="2024-01-25T18:12:48.261" v="1983" actId="14100"/>
          <ac:cxnSpMkLst>
            <pc:docMk/>
            <pc:sldMk cId="1529294142" sldId="876"/>
            <ac:cxnSpMk id="28" creationId="{3F4AAF01-2A0E-91E0-D22C-BA116652C698}"/>
          </ac:cxnSpMkLst>
        </pc:cxnChg>
      </pc:sldChg>
      <pc:sldChg chg="addSp delSp modSp add mod">
        <pc:chgData name="Koksrud Andreas" userId="9d9beba6-c052-407a-8599-c781a677a996" providerId="ADAL" clId="{4C03B8BE-ED6C-47DA-A194-101B46B7832B}" dt="2024-02-02T09:21:42.323" v="6766" actId="20577"/>
        <pc:sldMkLst>
          <pc:docMk/>
          <pc:sldMk cId="1680702220" sldId="877"/>
        </pc:sldMkLst>
        <pc:spChg chg="add mod">
          <ac:chgData name="Koksrud Andreas" userId="9d9beba6-c052-407a-8599-c781a677a996" providerId="ADAL" clId="{4C03B8BE-ED6C-47DA-A194-101B46B7832B}" dt="2024-01-25T17:55:26.885" v="1648" actId="1076"/>
          <ac:spMkLst>
            <pc:docMk/>
            <pc:sldMk cId="1680702220" sldId="877"/>
            <ac:spMk id="2" creationId="{B612806B-A3AC-AEF4-EF19-346D70569EB3}"/>
          </ac:spMkLst>
        </pc:spChg>
        <pc:spChg chg="add del mod">
          <ac:chgData name="Koksrud Andreas" userId="9d9beba6-c052-407a-8599-c781a677a996" providerId="ADAL" clId="{4C03B8BE-ED6C-47DA-A194-101B46B7832B}" dt="2024-01-31T20:51:12.725" v="5538" actId="478"/>
          <ac:spMkLst>
            <pc:docMk/>
            <pc:sldMk cId="1680702220" sldId="877"/>
            <ac:spMk id="3" creationId="{893A044E-C76D-C2A3-3DFF-52271E4DC3DE}"/>
          </ac:spMkLst>
        </pc:spChg>
        <pc:spChg chg="add mod">
          <ac:chgData name="Koksrud Andreas" userId="9d9beba6-c052-407a-8599-c781a677a996" providerId="ADAL" clId="{4C03B8BE-ED6C-47DA-A194-101B46B7832B}" dt="2024-01-25T18:13:17.696" v="1989" actId="14100"/>
          <ac:spMkLst>
            <pc:docMk/>
            <pc:sldMk cId="1680702220" sldId="877"/>
            <ac:spMk id="5" creationId="{7E8A0263-1E2D-DA5B-E2AA-73716E94D8F3}"/>
          </ac:spMkLst>
        </pc:spChg>
        <pc:spChg chg="mod">
          <ac:chgData name="Koksrud Andreas" userId="9d9beba6-c052-407a-8599-c781a677a996" providerId="ADAL" clId="{4C03B8BE-ED6C-47DA-A194-101B46B7832B}" dt="2024-02-02T09:21:42.323" v="6766" actId="20577"/>
          <ac:spMkLst>
            <pc:docMk/>
            <pc:sldMk cId="1680702220" sldId="877"/>
            <ac:spMk id="6" creationId="{55597BA9-F880-8C12-0743-955498FF36CE}"/>
          </ac:spMkLst>
        </pc:spChg>
        <pc:spChg chg="add mod">
          <ac:chgData name="Koksrud Andreas" userId="9d9beba6-c052-407a-8599-c781a677a996" providerId="ADAL" clId="{4C03B8BE-ED6C-47DA-A194-101B46B7832B}" dt="2024-01-25T17:55:29.259" v="1649" actId="1076"/>
          <ac:spMkLst>
            <pc:docMk/>
            <pc:sldMk cId="1680702220" sldId="877"/>
            <ac:spMk id="7" creationId="{4E164838-A63C-913B-F9A1-A05329A4F4C2}"/>
          </ac:spMkLst>
        </pc:spChg>
        <pc:spChg chg="add mod">
          <ac:chgData name="Koksrud Andreas" userId="9d9beba6-c052-407a-8599-c781a677a996" providerId="ADAL" clId="{4C03B8BE-ED6C-47DA-A194-101B46B7832B}" dt="2024-01-31T20:45:14.339" v="5517" actId="20577"/>
          <ac:spMkLst>
            <pc:docMk/>
            <pc:sldMk cId="1680702220" sldId="877"/>
            <ac:spMk id="9" creationId="{FEE07C36-114B-D79C-FC21-9E5C80AE0D99}"/>
          </ac:spMkLst>
        </pc:spChg>
        <pc:spChg chg="mod">
          <ac:chgData name="Koksrud Andreas" userId="9d9beba6-c052-407a-8599-c781a677a996" providerId="ADAL" clId="{4C03B8BE-ED6C-47DA-A194-101B46B7832B}" dt="2024-01-31T20:45:19.232" v="5526" actId="20577"/>
          <ac:spMkLst>
            <pc:docMk/>
            <pc:sldMk cId="1680702220" sldId="877"/>
            <ac:spMk id="14" creationId="{C85A9E99-AA4E-C194-FF2A-6C5AC5C1CF94}"/>
          </ac:spMkLst>
        </pc:spChg>
        <pc:spChg chg="mod">
          <ac:chgData name="Koksrud Andreas" userId="9d9beba6-c052-407a-8599-c781a677a996" providerId="ADAL" clId="{4C03B8BE-ED6C-47DA-A194-101B46B7832B}" dt="2024-01-31T20:44:44.723" v="5484" actId="1036"/>
          <ac:spMkLst>
            <pc:docMk/>
            <pc:sldMk cId="1680702220" sldId="877"/>
            <ac:spMk id="180" creationId="{00000000-0000-0000-0000-000000000000}"/>
          </ac:spMkLst>
        </pc:spChg>
        <pc:picChg chg="del">
          <ac:chgData name="Koksrud Andreas" userId="9d9beba6-c052-407a-8599-c781a677a996" providerId="ADAL" clId="{4C03B8BE-ED6C-47DA-A194-101B46B7832B}" dt="2024-01-23T16:01:51.190" v="1474" actId="478"/>
          <ac:picMkLst>
            <pc:docMk/>
            <pc:sldMk cId="1680702220" sldId="877"/>
            <ac:picMk id="3" creationId="{488E3890-E954-5B1D-D8FB-76AE055CCE6C}"/>
          </ac:picMkLst>
        </pc:picChg>
        <pc:picChg chg="add del mod">
          <ac:chgData name="Koksrud Andreas" userId="9d9beba6-c052-407a-8599-c781a677a996" providerId="ADAL" clId="{4C03B8BE-ED6C-47DA-A194-101B46B7832B}" dt="2024-01-31T20:45:23.992" v="5527" actId="478"/>
          <ac:picMkLst>
            <pc:docMk/>
            <pc:sldMk cId="1680702220" sldId="877"/>
            <ac:picMk id="4" creationId="{641E2B12-94CA-F4C0-19F5-95A823EE9BD5}"/>
          </ac:picMkLst>
        </pc:picChg>
        <pc:picChg chg="add mod">
          <ac:chgData name="Koksrud Andreas" userId="9d9beba6-c052-407a-8599-c781a677a996" providerId="ADAL" clId="{4C03B8BE-ED6C-47DA-A194-101B46B7832B}" dt="2024-01-31T20:46:01.602" v="5529" actId="1076"/>
          <ac:picMkLst>
            <pc:docMk/>
            <pc:sldMk cId="1680702220" sldId="877"/>
            <ac:picMk id="12" creationId="{F1AC251C-557C-D832-DFA9-E8103E9A01D7}"/>
          </ac:picMkLst>
        </pc:picChg>
        <pc:cxnChg chg="add mod">
          <ac:chgData name="Koksrud Andreas" userId="9d9beba6-c052-407a-8599-c781a677a996" providerId="ADAL" clId="{4C03B8BE-ED6C-47DA-A194-101B46B7832B}" dt="2024-01-25T18:05:19.778" v="1818" actId="14100"/>
          <ac:cxnSpMkLst>
            <pc:docMk/>
            <pc:sldMk cId="1680702220" sldId="877"/>
            <ac:cxnSpMk id="8" creationId="{64834A8B-2319-F8F6-5F4A-96099DF91E34}"/>
          </ac:cxnSpMkLst>
        </pc:cxnChg>
        <pc:cxnChg chg="add mod">
          <ac:chgData name="Koksrud Andreas" userId="9d9beba6-c052-407a-8599-c781a677a996" providerId="ADAL" clId="{4C03B8BE-ED6C-47DA-A194-101B46B7832B}" dt="2024-01-31T20:50:47.360" v="5533" actId="14100"/>
          <ac:cxnSpMkLst>
            <pc:docMk/>
            <pc:sldMk cId="1680702220" sldId="877"/>
            <ac:cxnSpMk id="11" creationId="{1A045A43-07E6-63E5-AF30-B210203136AD}"/>
          </ac:cxnSpMkLst>
        </pc:cxnChg>
        <pc:cxnChg chg="add mod">
          <ac:chgData name="Koksrud Andreas" userId="9d9beba6-c052-407a-8599-c781a677a996" providerId="ADAL" clId="{4C03B8BE-ED6C-47DA-A194-101B46B7832B}" dt="2024-01-31T20:50:58.840" v="5534" actId="14100"/>
          <ac:cxnSpMkLst>
            <pc:docMk/>
            <pc:sldMk cId="1680702220" sldId="877"/>
            <ac:cxnSpMk id="15" creationId="{EDCF3D11-F185-807E-BBED-AD6E4F75A023}"/>
          </ac:cxnSpMkLst>
        </pc:cxnChg>
        <pc:cxnChg chg="add mod">
          <ac:chgData name="Koksrud Andreas" userId="9d9beba6-c052-407a-8599-c781a677a996" providerId="ADAL" clId="{4C03B8BE-ED6C-47DA-A194-101B46B7832B}" dt="2024-01-31T20:51:04.587" v="5535" actId="14100"/>
          <ac:cxnSpMkLst>
            <pc:docMk/>
            <pc:sldMk cId="1680702220" sldId="877"/>
            <ac:cxnSpMk id="18" creationId="{580B6AD3-FE9E-F019-DB0C-C6EC510BF306}"/>
          </ac:cxnSpMkLst>
        </pc:cxnChg>
        <pc:cxnChg chg="add del mod">
          <ac:chgData name="Koksrud Andreas" userId="9d9beba6-c052-407a-8599-c781a677a996" providerId="ADAL" clId="{4C03B8BE-ED6C-47DA-A194-101B46B7832B}" dt="2024-01-31T20:51:08.249" v="5537" actId="478"/>
          <ac:cxnSpMkLst>
            <pc:docMk/>
            <pc:sldMk cId="1680702220" sldId="877"/>
            <ac:cxnSpMk id="20" creationId="{4449553B-8FB0-ED9C-797E-AF85533AEC9C}"/>
          </ac:cxnSpMkLst>
        </pc:cxnChg>
        <pc:cxnChg chg="add mod">
          <ac:chgData name="Koksrud Andreas" userId="9d9beba6-c052-407a-8599-c781a677a996" providerId="ADAL" clId="{4C03B8BE-ED6C-47DA-A194-101B46B7832B}" dt="2024-01-31T20:51:25.185" v="5539" actId="14100"/>
          <ac:cxnSpMkLst>
            <pc:docMk/>
            <pc:sldMk cId="1680702220" sldId="877"/>
            <ac:cxnSpMk id="23" creationId="{24CB9937-BA6A-F0B6-F412-9C725C8D5087}"/>
          </ac:cxnSpMkLst>
        </pc:cxnChg>
        <pc:cxnChg chg="add mod">
          <ac:chgData name="Koksrud Andreas" userId="9d9beba6-c052-407a-8599-c781a677a996" providerId="ADAL" clId="{4C03B8BE-ED6C-47DA-A194-101B46B7832B}" dt="2024-01-31T20:51:29.299" v="5540" actId="14100"/>
          <ac:cxnSpMkLst>
            <pc:docMk/>
            <pc:sldMk cId="1680702220" sldId="877"/>
            <ac:cxnSpMk id="25" creationId="{9C9A2CBF-1888-0AF7-9418-C314F37B9F91}"/>
          </ac:cxnSpMkLst>
        </pc:cxnChg>
      </pc:sldChg>
      <pc:sldChg chg="addSp delSp modSp add mod">
        <pc:chgData name="Koksrud Andreas" userId="9d9beba6-c052-407a-8599-c781a677a996" providerId="ADAL" clId="{4C03B8BE-ED6C-47DA-A194-101B46B7832B}" dt="2024-01-25T17:57:02.931" v="1733" actId="1076"/>
        <pc:sldMkLst>
          <pc:docMk/>
          <pc:sldMk cId="3516004309" sldId="878"/>
        </pc:sldMkLst>
        <pc:spChg chg="del">
          <ac:chgData name="Koksrud Andreas" userId="9d9beba6-c052-407a-8599-c781a677a996" providerId="ADAL" clId="{4C03B8BE-ED6C-47DA-A194-101B46B7832B}" dt="2024-01-23T16:05:26.220" v="1551" actId="478"/>
          <ac:spMkLst>
            <pc:docMk/>
            <pc:sldMk cId="3516004309" sldId="878"/>
            <ac:spMk id="6" creationId="{55597BA9-F880-8C12-0743-955498FF36CE}"/>
          </ac:spMkLst>
        </pc:spChg>
        <pc:spChg chg="mod">
          <ac:chgData name="Koksrud Andreas" userId="9d9beba6-c052-407a-8599-c781a677a996" providerId="ADAL" clId="{4C03B8BE-ED6C-47DA-A194-101B46B7832B}" dt="2024-01-25T17:57:00.750" v="1732" actId="14100"/>
          <ac:spMkLst>
            <pc:docMk/>
            <pc:sldMk cId="3516004309" sldId="878"/>
            <ac:spMk id="7" creationId="{4E164838-A63C-913B-F9A1-A05329A4F4C2}"/>
          </ac:spMkLst>
        </pc:spChg>
        <pc:spChg chg="mod">
          <ac:chgData name="Koksrud Andreas" userId="9d9beba6-c052-407a-8599-c781a677a996" providerId="ADAL" clId="{4C03B8BE-ED6C-47DA-A194-101B46B7832B}" dt="2024-01-23T16:05:20.783" v="1549" actId="20577"/>
          <ac:spMkLst>
            <pc:docMk/>
            <pc:sldMk cId="3516004309" sldId="878"/>
            <ac:spMk id="14" creationId="{C85A9E99-AA4E-C194-FF2A-6C5AC5C1CF94}"/>
          </ac:spMkLst>
        </pc:spChg>
        <pc:picChg chg="add mod modCrop">
          <ac:chgData name="Koksrud Andreas" userId="9d9beba6-c052-407a-8599-c781a677a996" providerId="ADAL" clId="{4C03B8BE-ED6C-47DA-A194-101B46B7832B}" dt="2024-01-25T17:56:26.476" v="1709" actId="1076"/>
          <ac:picMkLst>
            <pc:docMk/>
            <pc:sldMk cId="3516004309" sldId="878"/>
            <ac:picMk id="3" creationId="{EDF2C782-37F7-ED44-DD8E-CF868EBE043F}"/>
          </ac:picMkLst>
        </pc:picChg>
        <pc:picChg chg="del">
          <ac:chgData name="Koksrud Andreas" userId="9d9beba6-c052-407a-8599-c781a677a996" providerId="ADAL" clId="{4C03B8BE-ED6C-47DA-A194-101B46B7832B}" dt="2024-01-23T16:05:23.676" v="1550" actId="478"/>
          <ac:picMkLst>
            <pc:docMk/>
            <pc:sldMk cId="3516004309" sldId="878"/>
            <ac:picMk id="4" creationId="{641E2B12-94CA-F4C0-19F5-95A823EE9BD5}"/>
          </ac:picMkLst>
        </pc:picChg>
        <pc:picChg chg="add mod">
          <ac:chgData name="Koksrud Andreas" userId="9d9beba6-c052-407a-8599-c781a677a996" providerId="ADAL" clId="{4C03B8BE-ED6C-47DA-A194-101B46B7832B}" dt="2024-01-25T17:57:02.931" v="1733" actId="1076"/>
          <ac:picMkLst>
            <pc:docMk/>
            <pc:sldMk cId="3516004309" sldId="878"/>
            <ac:picMk id="5" creationId="{A1FBCA25-0075-39DE-5E74-A8238074456B}"/>
          </ac:picMkLst>
        </pc:picChg>
      </pc:sldChg>
      <pc:sldChg chg="addSp delSp modSp add mod">
        <pc:chgData name="Koksrud Andreas" userId="9d9beba6-c052-407a-8599-c781a677a996" providerId="ADAL" clId="{4C03B8BE-ED6C-47DA-A194-101B46B7832B}" dt="2024-01-25T18:09:11.066" v="1944" actId="1076"/>
        <pc:sldMkLst>
          <pc:docMk/>
          <pc:sldMk cId="999972062" sldId="879"/>
        </pc:sldMkLst>
        <pc:spChg chg="del mod">
          <ac:chgData name="Koksrud Andreas" userId="9d9beba6-c052-407a-8599-c781a677a996" providerId="ADAL" clId="{4C03B8BE-ED6C-47DA-A194-101B46B7832B}" dt="2024-01-25T18:07:14.146" v="1939" actId="478"/>
          <ac:spMkLst>
            <pc:docMk/>
            <pc:sldMk cId="999972062" sldId="879"/>
            <ac:spMk id="7" creationId="{4E164838-A63C-913B-F9A1-A05329A4F4C2}"/>
          </ac:spMkLst>
        </pc:spChg>
        <pc:spChg chg="mod">
          <ac:chgData name="Koksrud Andreas" userId="9d9beba6-c052-407a-8599-c781a677a996" providerId="ADAL" clId="{4C03B8BE-ED6C-47DA-A194-101B46B7832B}" dt="2024-01-25T18:07:06.105" v="1919" actId="14100"/>
          <ac:spMkLst>
            <pc:docMk/>
            <pc:sldMk cId="999972062" sldId="879"/>
            <ac:spMk id="14" creationId="{C85A9E99-AA4E-C194-FF2A-6C5AC5C1CF94}"/>
          </ac:spMkLst>
        </pc:spChg>
        <pc:picChg chg="del">
          <ac:chgData name="Koksrud Andreas" userId="9d9beba6-c052-407a-8599-c781a677a996" providerId="ADAL" clId="{4C03B8BE-ED6C-47DA-A194-101B46B7832B}" dt="2024-01-25T18:07:07.647" v="1920" actId="478"/>
          <ac:picMkLst>
            <pc:docMk/>
            <pc:sldMk cId="999972062" sldId="879"/>
            <ac:picMk id="3" creationId="{EDF2C782-37F7-ED44-DD8E-CF868EBE043F}"/>
          </ac:picMkLst>
        </pc:picChg>
        <pc:picChg chg="add mod">
          <ac:chgData name="Koksrud Andreas" userId="9d9beba6-c052-407a-8599-c781a677a996" providerId="ADAL" clId="{4C03B8BE-ED6C-47DA-A194-101B46B7832B}" dt="2024-01-25T18:08:56.778" v="1942" actId="1076"/>
          <ac:picMkLst>
            <pc:docMk/>
            <pc:sldMk cId="999972062" sldId="879"/>
            <ac:picMk id="4" creationId="{190323D3-E5B4-9315-ED4E-121A583E687C}"/>
          </ac:picMkLst>
        </pc:picChg>
        <pc:picChg chg="del">
          <ac:chgData name="Koksrud Andreas" userId="9d9beba6-c052-407a-8599-c781a677a996" providerId="ADAL" clId="{4C03B8BE-ED6C-47DA-A194-101B46B7832B}" dt="2024-01-25T18:07:15.206" v="1940" actId="478"/>
          <ac:picMkLst>
            <pc:docMk/>
            <pc:sldMk cId="999972062" sldId="879"/>
            <ac:picMk id="5" creationId="{A1FBCA25-0075-39DE-5E74-A8238074456B}"/>
          </ac:picMkLst>
        </pc:picChg>
        <pc:picChg chg="add mod">
          <ac:chgData name="Koksrud Andreas" userId="9d9beba6-c052-407a-8599-c781a677a996" providerId="ADAL" clId="{4C03B8BE-ED6C-47DA-A194-101B46B7832B}" dt="2024-01-25T18:09:11.066" v="1944" actId="1076"/>
          <ac:picMkLst>
            <pc:docMk/>
            <pc:sldMk cId="999972062" sldId="879"/>
            <ac:picMk id="8" creationId="{3B60DC64-8985-794A-4D99-D58E789729B5}"/>
          </ac:picMkLst>
        </pc:picChg>
      </pc:sldChg>
      <pc:sldChg chg="addSp delSp modSp add mod">
        <pc:chgData name="Koksrud Andreas" userId="9d9beba6-c052-407a-8599-c781a677a996" providerId="ADAL" clId="{4C03B8BE-ED6C-47DA-A194-101B46B7832B}" dt="2024-01-29T10:50:07.289" v="3416" actId="14100"/>
        <pc:sldMkLst>
          <pc:docMk/>
          <pc:sldMk cId="3205976706" sldId="880"/>
        </pc:sldMkLst>
        <pc:spChg chg="del mod">
          <ac:chgData name="Koksrud Andreas" userId="9d9beba6-c052-407a-8599-c781a677a996" providerId="ADAL" clId="{4C03B8BE-ED6C-47DA-A194-101B46B7832B}" dt="2024-01-29T10:46:04.092" v="3321" actId="478"/>
          <ac:spMkLst>
            <pc:docMk/>
            <pc:sldMk cId="3205976706" sldId="880"/>
            <ac:spMk id="3" creationId="{F8C25FDC-57EE-1DDE-CCC5-273A2149FEAB}"/>
          </ac:spMkLst>
        </pc:spChg>
        <pc:spChg chg="add del mod">
          <ac:chgData name="Koksrud Andreas" userId="9d9beba6-c052-407a-8599-c781a677a996" providerId="ADAL" clId="{4C03B8BE-ED6C-47DA-A194-101B46B7832B}" dt="2024-01-29T10:46:26.781" v="3386" actId="14100"/>
          <ac:spMkLst>
            <pc:docMk/>
            <pc:sldMk cId="3205976706" sldId="880"/>
            <ac:spMk id="14" creationId="{C85A9E99-AA4E-C194-FF2A-6C5AC5C1CF94}"/>
          </ac:spMkLst>
        </pc:spChg>
        <pc:spChg chg="mod">
          <ac:chgData name="Koksrud Andreas" userId="9d9beba6-c052-407a-8599-c781a677a996" providerId="ADAL" clId="{4C03B8BE-ED6C-47DA-A194-101B46B7832B}" dt="2024-01-29T07:02:01.154" v="2355" actId="20577"/>
          <ac:spMkLst>
            <pc:docMk/>
            <pc:sldMk cId="3205976706" sldId="880"/>
            <ac:spMk id="180" creationId="{00000000-0000-0000-0000-000000000000}"/>
          </ac:spMkLst>
        </pc:spChg>
        <pc:picChg chg="add del mod">
          <ac:chgData name="Koksrud Andreas" userId="9d9beba6-c052-407a-8599-c781a677a996" providerId="ADAL" clId="{4C03B8BE-ED6C-47DA-A194-101B46B7832B}" dt="2024-01-29T10:46:49.277" v="3389" actId="478"/>
          <ac:picMkLst>
            <pc:docMk/>
            <pc:sldMk cId="3205976706" sldId="880"/>
            <ac:picMk id="4" creationId="{A5B4B8BE-F20E-F24E-BBDD-F5A89A9E44B2}"/>
          </ac:picMkLst>
        </pc:picChg>
        <pc:picChg chg="add mod">
          <ac:chgData name="Koksrud Andreas" userId="9d9beba6-c052-407a-8599-c781a677a996" providerId="ADAL" clId="{4C03B8BE-ED6C-47DA-A194-101B46B7832B}" dt="2024-01-29T10:47:46.670" v="3391" actId="1076"/>
          <ac:picMkLst>
            <pc:docMk/>
            <pc:sldMk cId="3205976706" sldId="880"/>
            <ac:picMk id="6" creationId="{BEB21C7F-CB78-0F59-91FA-B56DF7F68DD3}"/>
          </ac:picMkLst>
        </pc:picChg>
        <pc:picChg chg="add mod">
          <ac:chgData name="Koksrud Andreas" userId="9d9beba6-c052-407a-8599-c781a677a996" providerId="ADAL" clId="{4C03B8BE-ED6C-47DA-A194-101B46B7832B}" dt="2024-01-29T10:49:49.525" v="3410" actId="1076"/>
          <ac:picMkLst>
            <pc:docMk/>
            <pc:sldMk cId="3205976706" sldId="880"/>
            <ac:picMk id="8" creationId="{22D15649-EB40-AFC3-C64C-2698F1E6551F}"/>
          </ac:picMkLst>
        </pc:picChg>
        <pc:picChg chg="add mod">
          <ac:chgData name="Koksrud Andreas" userId="9d9beba6-c052-407a-8599-c781a677a996" providerId="ADAL" clId="{4C03B8BE-ED6C-47DA-A194-101B46B7832B}" dt="2024-01-29T10:49:59.161" v="3414" actId="1076"/>
          <ac:picMkLst>
            <pc:docMk/>
            <pc:sldMk cId="3205976706" sldId="880"/>
            <ac:picMk id="10" creationId="{84F62417-06FE-68E2-C753-F99AAD7C41F7}"/>
          </ac:picMkLst>
        </pc:picChg>
        <pc:picChg chg="add mod">
          <ac:chgData name="Koksrud Andreas" userId="9d9beba6-c052-407a-8599-c781a677a996" providerId="ADAL" clId="{4C03B8BE-ED6C-47DA-A194-101B46B7832B}" dt="2024-01-29T10:48:54.875" v="3397" actId="1076"/>
          <ac:picMkLst>
            <pc:docMk/>
            <pc:sldMk cId="3205976706" sldId="880"/>
            <ac:picMk id="12" creationId="{F1958D03-ADAB-F329-32D4-20D39A9C14FE}"/>
          </ac:picMkLst>
        </pc:picChg>
        <pc:picChg chg="add mod">
          <ac:chgData name="Koksrud Andreas" userId="9d9beba6-c052-407a-8599-c781a677a996" providerId="ADAL" clId="{4C03B8BE-ED6C-47DA-A194-101B46B7832B}" dt="2024-01-29T10:49:10.394" v="3399" actId="1076"/>
          <ac:picMkLst>
            <pc:docMk/>
            <pc:sldMk cId="3205976706" sldId="880"/>
            <ac:picMk id="15" creationId="{ED0505E0-14BA-25EC-7C1F-046AE8189CAA}"/>
          </ac:picMkLst>
        </pc:picChg>
        <pc:cxnChg chg="add mod">
          <ac:chgData name="Koksrud Andreas" userId="9d9beba6-c052-407a-8599-c781a677a996" providerId="ADAL" clId="{4C03B8BE-ED6C-47DA-A194-101B46B7832B}" dt="2024-01-29T10:49:27.913" v="3402" actId="14100"/>
          <ac:cxnSpMkLst>
            <pc:docMk/>
            <pc:sldMk cId="3205976706" sldId="880"/>
            <ac:cxnSpMk id="16" creationId="{EF61D8B6-06B4-CEFD-955C-0180139E8D3B}"/>
          </ac:cxnSpMkLst>
        </pc:cxnChg>
        <pc:cxnChg chg="add mod">
          <ac:chgData name="Koksrud Andreas" userId="9d9beba6-c052-407a-8599-c781a677a996" providerId="ADAL" clId="{4C03B8BE-ED6C-47DA-A194-101B46B7832B}" dt="2024-01-29T10:50:03.906" v="3415" actId="14100"/>
          <ac:cxnSpMkLst>
            <pc:docMk/>
            <pc:sldMk cId="3205976706" sldId="880"/>
            <ac:cxnSpMk id="18" creationId="{30D4B464-70C6-266E-8ACF-9371B6220F80}"/>
          </ac:cxnSpMkLst>
        </pc:cxnChg>
        <pc:cxnChg chg="add mod">
          <ac:chgData name="Koksrud Andreas" userId="9d9beba6-c052-407a-8599-c781a677a996" providerId="ADAL" clId="{4C03B8BE-ED6C-47DA-A194-101B46B7832B}" dt="2024-01-29T10:49:52.997" v="3411" actId="14100"/>
          <ac:cxnSpMkLst>
            <pc:docMk/>
            <pc:sldMk cId="3205976706" sldId="880"/>
            <ac:cxnSpMk id="21" creationId="{C23A8225-0ADF-078A-FCF8-4E55376E5266}"/>
          </ac:cxnSpMkLst>
        </pc:cxnChg>
        <pc:cxnChg chg="add mod">
          <ac:chgData name="Koksrud Andreas" userId="9d9beba6-c052-407a-8599-c781a677a996" providerId="ADAL" clId="{4C03B8BE-ED6C-47DA-A194-101B46B7832B}" dt="2024-01-29T10:50:07.289" v="3416" actId="14100"/>
          <ac:cxnSpMkLst>
            <pc:docMk/>
            <pc:sldMk cId="3205976706" sldId="880"/>
            <ac:cxnSpMk id="23" creationId="{9AFEC9A9-E90D-0057-FDEF-C121B721A6CD}"/>
          </ac:cxnSpMkLst>
        </pc:cxnChg>
      </pc:sldChg>
      <pc:sldChg chg="addSp delSp modSp add mod">
        <pc:chgData name="Koksrud Andreas" userId="9d9beba6-c052-407a-8599-c781a677a996" providerId="ADAL" clId="{4C03B8BE-ED6C-47DA-A194-101B46B7832B}" dt="2024-02-01T11:06:55.445" v="5601"/>
        <pc:sldMkLst>
          <pc:docMk/>
          <pc:sldMk cId="2279528697" sldId="881"/>
        </pc:sldMkLst>
        <pc:spChg chg="del">
          <ac:chgData name="Koksrud Andreas" userId="9d9beba6-c052-407a-8599-c781a677a996" providerId="ADAL" clId="{4C03B8BE-ED6C-47DA-A194-101B46B7832B}" dt="2024-01-29T05:49:45.763" v="2225" actId="478"/>
          <ac:spMkLst>
            <pc:docMk/>
            <pc:sldMk cId="2279528697" sldId="881"/>
            <ac:spMk id="3" creationId="{F8C25FDC-57EE-1DDE-CCC5-273A2149FEAB}"/>
          </ac:spMkLst>
        </pc:spChg>
        <pc:spChg chg="add del">
          <ac:chgData name="Koksrud Andreas" userId="9d9beba6-c052-407a-8599-c781a677a996" providerId="ADAL" clId="{4C03B8BE-ED6C-47DA-A194-101B46B7832B}" dt="2024-01-29T06:55:36.075" v="2265" actId="22"/>
          <ac:spMkLst>
            <pc:docMk/>
            <pc:sldMk cId="2279528697" sldId="881"/>
            <ac:spMk id="6" creationId="{46BACC10-FA94-DB7B-AC8B-97B6083B7AC7}"/>
          </ac:spMkLst>
        </pc:spChg>
        <pc:spChg chg="add mod">
          <ac:chgData name="Koksrud Andreas" userId="9d9beba6-c052-407a-8599-c781a677a996" providerId="ADAL" clId="{4C03B8BE-ED6C-47DA-A194-101B46B7832B}" dt="2024-02-01T11:06:55.445" v="5601"/>
          <ac:spMkLst>
            <pc:docMk/>
            <pc:sldMk cId="2279528697" sldId="881"/>
            <ac:spMk id="8" creationId="{8B49BB3F-78D2-24EB-5080-98F42764BE7B}"/>
          </ac:spMkLst>
        </pc:spChg>
        <pc:spChg chg="add mod">
          <ac:chgData name="Koksrud Andreas" userId="9d9beba6-c052-407a-8599-c781a677a996" providerId="ADAL" clId="{4C03B8BE-ED6C-47DA-A194-101B46B7832B}" dt="2024-02-01T10:51:12.391" v="5551" actId="6549"/>
          <ac:spMkLst>
            <pc:docMk/>
            <pc:sldMk cId="2279528697" sldId="881"/>
            <ac:spMk id="10" creationId="{C9F1839B-EE6E-E7E4-F70B-2494C6EEA738}"/>
          </ac:spMkLst>
        </pc:spChg>
        <pc:spChg chg="mod">
          <ac:chgData name="Koksrud Andreas" userId="9d9beba6-c052-407a-8599-c781a677a996" providerId="ADAL" clId="{4C03B8BE-ED6C-47DA-A194-101B46B7832B}" dt="2024-01-29T05:50:12.602" v="2261" actId="20577"/>
          <ac:spMkLst>
            <pc:docMk/>
            <pc:sldMk cId="2279528697" sldId="881"/>
            <ac:spMk id="14" creationId="{C85A9E99-AA4E-C194-FF2A-6C5AC5C1CF94}"/>
          </ac:spMkLst>
        </pc:spChg>
        <pc:picChg chg="add mod modCrop">
          <ac:chgData name="Koksrud Andreas" userId="9d9beba6-c052-407a-8599-c781a677a996" providerId="ADAL" clId="{4C03B8BE-ED6C-47DA-A194-101B46B7832B}" dt="2024-01-29T06:50:36.983" v="2263" actId="732"/>
          <ac:picMkLst>
            <pc:docMk/>
            <pc:sldMk cId="2279528697" sldId="881"/>
            <ac:picMk id="4" creationId="{7BDC5772-0E1E-7DA1-3B0B-D00C8D502DD1}"/>
          </ac:picMkLst>
        </pc:picChg>
      </pc:sldChg>
      <pc:sldChg chg="addSp delSp modSp add mod">
        <pc:chgData name="Koksrud Andreas" userId="9d9beba6-c052-407a-8599-c781a677a996" providerId="ADAL" clId="{4C03B8BE-ED6C-47DA-A194-101B46B7832B}" dt="2024-02-01T11:08:53.546" v="5609" actId="1035"/>
        <pc:sldMkLst>
          <pc:docMk/>
          <pc:sldMk cId="360095748" sldId="882"/>
        </pc:sldMkLst>
        <pc:spChg chg="del">
          <ac:chgData name="Koksrud Andreas" userId="9d9beba6-c052-407a-8599-c781a677a996" providerId="ADAL" clId="{4C03B8BE-ED6C-47DA-A194-101B46B7832B}" dt="2024-01-29T07:07:17.232" v="2431" actId="478"/>
          <ac:spMkLst>
            <pc:docMk/>
            <pc:sldMk cId="360095748" sldId="882"/>
            <ac:spMk id="8" creationId="{8B49BB3F-78D2-24EB-5080-98F42764BE7B}"/>
          </ac:spMkLst>
        </pc:spChg>
        <pc:spChg chg="del">
          <ac:chgData name="Koksrud Andreas" userId="9d9beba6-c052-407a-8599-c781a677a996" providerId="ADAL" clId="{4C03B8BE-ED6C-47DA-A194-101B46B7832B}" dt="2024-01-29T07:07:15.973" v="2430" actId="478"/>
          <ac:spMkLst>
            <pc:docMk/>
            <pc:sldMk cId="360095748" sldId="882"/>
            <ac:spMk id="10" creationId="{C9F1839B-EE6E-E7E4-F70B-2494C6EEA738}"/>
          </ac:spMkLst>
        </pc:spChg>
        <pc:spChg chg="mod">
          <ac:chgData name="Koksrud Andreas" userId="9d9beba6-c052-407a-8599-c781a677a996" providerId="ADAL" clId="{4C03B8BE-ED6C-47DA-A194-101B46B7832B}" dt="2024-02-01T11:08:17.224" v="5605" actId="20577"/>
          <ac:spMkLst>
            <pc:docMk/>
            <pc:sldMk cId="360095748" sldId="882"/>
            <ac:spMk id="14" creationId="{C85A9E99-AA4E-C194-FF2A-6C5AC5C1CF94}"/>
          </ac:spMkLst>
        </pc:spChg>
        <pc:picChg chg="add del mod">
          <ac:chgData name="Koksrud Andreas" userId="9d9beba6-c052-407a-8599-c781a677a996" providerId="ADAL" clId="{4C03B8BE-ED6C-47DA-A194-101B46B7832B}" dt="2024-02-01T11:08:09.902" v="5602" actId="478"/>
          <ac:picMkLst>
            <pc:docMk/>
            <pc:sldMk cId="360095748" sldId="882"/>
            <ac:picMk id="3" creationId="{63449E02-B4EE-F679-6A92-9831B9725617}"/>
          </ac:picMkLst>
        </pc:picChg>
        <pc:picChg chg="add mod">
          <ac:chgData name="Koksrud Andreas" userId="9d9beba6-c052-407a-8599-c781a677a996" providerId="ADAL" clId="{4C03B8BE-ED6C-47DA-A194-101B46B7832B}" dt="2024-02-01T11:08:53.546" v="5609" actId="1035"/>
          <ac:picMkLst>
            <pc:docMk/>
            <pc:sldMk cId="360095748" sldId="882"/>
            <ac:picMk id="4" creationId="{3C2D6943-6BA5-ABD7-C963-7EBBBFDADC85}"/>
          </ac:picMkLst>
        </pc:picChg>
        <pc:picChg chg="del">
          <ac:chgData name="Koksrud Andreas" userId="9d9beba6-c052-407a-8599-c781a677a996" providerId="ADAL" clId="{4C03B8BE-ED6C-47DA-A194-101B46B7832B}" dt="2024-01-29T07:07:13.664" v="2429" actId="478"/>
          <ac:picMkLst>
            <pc:docMk/>
            <pc:sldMk cId="360095748" sldId="882"/>
            <ac:picMk id="4" creationId="{7BDC5772-0E1E-7DA1-3B0B-D00C8D502DD1}"/>
          </ac:picMkLst>
        </pc:picChg>
        <pc:picChg chg="add del mod modCrop">
          <ac:chgData name="Koksrud Andreas" userId="9d9beba6-c052-407a-8599-c781a677a996" providerId="ADAL" clId="{4C03B8BE-ED6C-47DA-A194-101B46B7832B}" dt="2024-02-01T11:08:10.650" v="5603" actId="478"/>
          <ac:picMkLst>
            <pc:docMk/>
            <pc:sldMk cId="360095748" sldId="882"/>
            <ac:picMk id="6" creationId="{25389F38-CEFA-FC86-E808-76C33D6B6F34}"/>
          </ac:picMkLst>
        </pc:picChg>
        <pc:picChg chg="add del mod">
          <ac:chgData name="Koksrud Andreas" userId="9d9beba6-c052-407a-8599-c781a677a996" providerId="ADAL" clId="{4C03B8BE-ED6C-47DA-A194-101B46B7832B}" dt="2024-02-01T11:08:12.271" v="5604" actId="478"/>
          <ac:picMkLst>
            <pc:docMk/>
            <pc:sldMk cId="360095748" sldId="882"/>
            <ac:picMk id="9" creationId="{8F4AA6E3-89C6-1FB4-4EB4-62B7D37E8D30}"/>
          </ac:picMkLst>
        </pc:picChg>
      </pc:sldChg>
      <pc:sldChg chg="addSp delSp modSp add mod">
        <pc:chgData name="Koksrud Andreas" userId="9d9beba6-c052-407a-8599-c781a677a996" providerId="ADAL" clId="{4C03B8BE-ED6C-47DA-A194-101B46B7832B}" dt="2024-01-29T07:06:06.965" v="2428" actId="1076"/>
        <pc:sldMkLst>
          <pc:docMk/>
          <pc:sldMk cId="1917928831" sldId="883"/>
        </pc:sldMkLst>
        <pc:spChg chg="mod">
          <ac:chgData name="Koksrud Andreas" userId="9d9beba6-c052-407a-8599-c781a677a996" providerId="ADAL" clId="{4C03B8BE-ED6C-47DA-A194-101B46B7832B}" dt="2024-01-29T07:05:47.336" v="2426" actId="20577"/>
          <ac:spMkLst>
            <pc:docMk/>
            <pc:sldMk cId="1917928831" sldId="883"/>
            <ac:spMk id="14" creationId="{C85A9E99-AA4E-C194-FF2A-6C5AC5C1CF94}"/>
          </ac:spMkLst>
        </pc:spChg>
        <pc:picChg chg="add mod modCrop">
          <ac:chgData name="Koksrud Andreas" userId="9d9beba6-c052-407a-8599-c781a677a996" providerId="ADAL" clId="{4C03B8BE-ED6C-47DA-A194-101B46B7832B}" dt="2024-01-29T07:05:35.815" v="2385" actId="1076"/>
          <ac:picMkLst>
            <pc:docMk/>
            <pc:sldMk cId="1917928831" sldId="883"/>
            <ac:picMk id="3" creationId="{69B76FD8-1FBE-E75F-6197-02FB5CB03B58}"/>
          </ac:picMkLst>
        </pc:picChg>
        <pc:picChg chg="del">
          <ac:chgData name="Koksrud Andreas" userId="9d9beba6-c052-407a-8599-c781a677a996" providerId="ADAL" clId="{4C03B8BE-ED6C-47DA-A194-101B46B7832B}" dt="2024-01-29T07:03:54.951" v="2375" actId="478"/>
          <ac:picMkLst>
            <pc:docMk/>
            <pc:sldMk cId="1917928831" sldId="883"/>
            <ac:picMk id="4" creationId="{1B512EEC-42AE-E3EC-812A-6A32A1C39970}"/>
          </ac:picMkLst>
        </pc:picChg>
        <pc:picChg chg="add mod">
          <ac:chgData name="Koksrud Andreas" userId="9d9beba6-c052-407a-8599-c781a677a996" providerId="ADAL" clId="{4C03B8BE-ED6C-47DA-A194-101B46B7832B}" dt="2024-01-29T07:05:38.751" v="2386" actId="1076"/>
          <ac:picMkLst>
            <pc:docMk/>
            <pc:sldMk cId="1917928831" sldId="883"/>
            <ac:picMk id="6" creationId="{22FDA10B-03D9-A458-B5D1-285FE3628BB4}"/>
          </ac:picMkLst>
        </pc:picChg>
        <pc:picChg chg="add mod">
          <ac:chgData name="Koksrud Andreas" userId="9d9beba6-c052-407a-8599-c781a677a996" providerId="ADAL" clId="{4C03B8BE-ED6C-47DA-A194-101B46B7832B}" dt="2024-01-29T07:06:06.965" v="2428" actId="1076"/>
          <ac:picMkLst>
            <pc:docMk/>
            <pc:sldMk cId="1917928831" sldId="883"/>
            <ac:picMk id="8" creationId="{1566B8E1-CE1B-D8A6-568B-31F5ED3ABAFF}"/>
          </ac:picMkLst>
        </pc:picChg>
      </pc:sldChg>
      <pc:sldChg chg="addSp delSp modSp add del mod">
        <pc:chgData name="Koksrud Andreas" userId="9d9beba6-c052-407a-8599-c781a677a996" providerId="ADAL" clId="{4C03B8BE-ED6C-47DA-A194-101B46B7832B}" dt="2024-02-01T11:35:19.819" v="5668" actId="1076"/>
        <pc:sldMkLst>
          <pc:docMk/>
          <pc:sldMk cId="33461568" sldId="884"/>
        </pc:sldMkLst>
        <pc:spChg chg="mod">
          <ac:chgData name="Koksrud Andreas" userId="9d9beba6-c052-407a-8599-c781a677a996" providerId="ADAL" clId="{4C03B8BE-ED6C-47DA-A194-101B46B7832B}" dt="2024-01-29T09:17:24.641" v="3133"/>
          <ac:spMkLst>
            <pc:docMk/>
            <pc:sldMk cId="33461568" sldId="884"/>
            <ac:spMk id="14" creationId="{C85A9E99-AA4E-C194-FF2A-6C5AC5C1CF94}"/>
          </ac:spMkLst>
        </pc:spChg>
        <pc:spChg chg="mod">
          <ac:chgData name="Koksrud Andreas" userId="9d9beba6-c052-407a-8599-c781a677a996" providerId="ADAL" clId="{4C03B8BE-ED6C-47DA-A194-101B46B7832B}" dt="2024-01-29T09:10:18.178" v="2992"/>
          <ac:spMkLst>
            <pc:docMk/>
            <pc:sldMk cId="33461568" sldId="884"/>
            <ac:spMk id="180" creationId="{00000000-0000-0000-0000-000000000000}"/>
          </ac:spMkLst>
        </pc:spChg>
        <pc:picChg chg="add mod">
          <ac:chgData name="Koksrud Andreas" userId="9d9beba6-c052-407a-8599-c781a677a996" providerId="ADAL" clId="{4C03B8BE-ED6C-47DA-A194-101B46B7832B}" dt="2024-02-01T11:34:05.222" v="5654" actId="1076"/>
          <ac:picMkLst>
            <pc:docMk/>
            <pc:sldMk cId="33461568" sldId="884"/>
            <ac:picMk id="3" creationId="{34CA862F-14FC-817D-2B03-F9F8B71396BE}"/>
          </ac:picMkLst>
        </pc:picChg>
        <pc:picChg chg="del mod">
          <ac:chgData name="Koksrud Andreas" userId="9d9beba6-c052-407a-8599-c781a677a996" providerId="ADAL" clId="{4C03B8BE-ED6C-47DA-A194-101B46B7832B}" dt="2024-01-29T09:10:36.436" v="2994" actId="478"/>
          <ac:picMkLst>
            <pc:docMk/>
            <pc:sldMk cId="33461568" sldId="884"/>
            <ac:picMk id="3" creationId="{69B76FD8-1FBE-E75F-6197-02FB5CB03B58}"/>
          </ac:picMkLst>
        </pc:picChg>
        <pc:picChg chg="add del mod">
          <ac:chgData name="Koksrud Andreas" userId="9d9beba6-c052-407a-8599-c781a677a996" providerId="ADAL" clId="{4C03B8BE-ED6C-47DA-A194-101B46B7832B}" dt="2024-02-01T11:33:52.416" v="5652" actId="478"/>
          <ac:picMkLst>
            <pc:docMk/>
            <pc:sldMk cId="33461568" sldId="884"/>
            <ac:picMk id="4" creationId="{7567BA0C-51EB-6BEA-5742-4102673B9D31}"/>
          </ac:picMkLst>
        </pc:picChg>
        <pc:picChg chg="del">
          <ac:chgData name="Koksrud Andreas" userId="9d9beba6-c052-407a-8599-c781a677a996" providerId="ADAL" clId="{4C03B8BE-ED6C-47DA-A194-101B46B7832B}" dt="2024-01-29T09:11:08.199" v="2998" actId="478"/>
          <ac:picMkLst>
            <pc:docMk/>
            <pc:sldMk cId="33461568" sldId="884"/>
            <ac:picMk id="6" creationId="{22FDA10B-03D9-A458-B5D1-285FE3628BB4}"/>
          </ac:picMkLst>
        </pc:picChg>
        <pc:picChg chg="add mod modCrop">
          <ac:chgData name="Koksrud Andreas" userId="9d9beba6-c052-407a-8599-c781a677a996" providerId="ADAL" clId="{4C03B8BE-ED6C-47DA-A194-101B46B7832B}" dt="2024-02-01T11:34:34.572" v="5659" actId="732"/>
          <ac:picMkLst>
            <pc:docMk/>
            <pc:sldMk cId="33461568" sldId="884"/>
            <ac:picMk id="6" creationId="{B46B4D57-3013-03B9-6FBA-EE485C8DE6AF}"/>
          </ac:picMkLst>
        </pc:picChg>
        <pc:picChg chg="add del mod modCrop">
          <ac:chgData name="Koksrud Andreas" userId="9d9beba6-c052-407a-8599-c781a677a996" providerId="ADAL" clId="{4C03B8BE-ED6C-47DA-A194-101B46B7832B}" dt="2024-02-01T11:34:16.502" v="5656" actId="478"/>
          <ac:picMkLst>
            <pc:docMk/>
            <pc:sldMk cId="33461568" sldId="884"/>
            <ac:picMk id="7" creationId="{7BC5E13F-DB03-4693-BBE3-9BE55F6252FE}"/>
          </ac:picMkLst>
        </pc:picChg>
        <pc:picChg chg="del mod">
          <ac:chgData name="Koksrud Andreas" userId="9d9beba6-c052-407a-8599-c781a677a996" providerId="ADAL" clId="{4C03B8BE-ED6C-47DA-A194-101B46B7832B}" dt="2024-01-29T09:11:25.559" v="3003" actId="478"/>
          <ac:picMkLst>
            <pc:docMk/>
            <pc:sldMk cId="33461568" sldId="884"/>
            <ac:picMk id="8" creationId="{1566B8E1-CE1B-D8A6-568B-31F5ED3ABAFF}"/>
          </ac:picMkLst>
        </pc:picChg>
        <pc:picChg chg="add mod">
          <ac:chgData name="Koksrud Andreas" userId="9d9beba6-c052-407a-8599-c781a677a996" providerId="ADAL" clId="{4C03B8BE-ED6C-47DA-A194-101B46B7832B}" dt="2024-02-01T11:35:02.588" v="5663" actId="1076"/>
          <ac:picMkLst>
            <pc:docMk/>
            <pc:sldMk cId="33461568" sldId="884"/>
            <ac:picMk id="9" creationId="{0BCA19F2-ABD0-A1C1-1846-0AEC2F7B37B4}"/>
          </ac:picMkLst>
        </pc:picChg>
        <pc:picChg chg="add del mod">
          <ac:chgData name="Koksrud Andreas" userId="9d9beba6-c052-407a-8599-c781a677a996" providerId="ADAL" clId="{4C03B8BE-ED6C-47DA-A194-101B46B7832B}" dt="2024-01-29T09:17:42.269" v="3136" actId="478"/>
          <ac:picMkLst>
            <pc:docMk/>
            <pc:sldMk cId="33461568" sldId="884"/>
            <ac:picMk id="10" creationId="{F99ADA67-FF8C-1CDC-B84A-A4B97D978444}"/>
          </ac:picMkLst>
        </pc:picChg>
        <pc:picChg chg="add mod">
          <ac:chgData name="Koksrud Andreas" userId="9d9beba6-c052-407a-8599-c781a677a996" providerId="ADAL" clId="{4C03B8BE-ED6C-47DA-A194-101B46B7832B}" dt="2024-02-01T11:35:19.819" v="5668" actId="1076"/>
          <ac:picMkLst>
            <pc:docMk/>
            <pc:sldMk cId="33461568" sldId="884"/>
            <ac:picMk id="11" creationId="{9181FD99-CF2A-E7FE-ED6D-179DF61B36FD}"/>
          </ac:picMkLst>
        </pc:picChg>
        <pc:picChg chg="add del mod">
          <ac:chgData name="Koksrud Andreas" userId="9d9beba6-c052-407a-8599-c781a677a996" providerId="ADAL" clId="{4C03B8BE-ED6C-47DA-A194-101B46B7832B}" dt="2024-02-01T11:34:55.047" v="5661" actId="478"/>
          <ac:picMkLst>
            <pc:docMk/>
            <pc:sldMk cId="33461568" sldId="884"/>
            <ac:picMk id="12" creationId="{BCEEA74C-7345-7A9F-8520-E4E4CEB8ED48}"/>
          </ac:picMkLst>
        </pc:picChg>
        <pc:picChg chg="add del mod">
          <ac:chgData name="Koksrud Andreas" userId="9d9beba6-c052-407a-8599-c781a677a996" providerId="ADAL" clId="{4C03B8BE-ED6C-47DA-A194-101B46B7832B}" dt="2024-02-01T11:35:07.469" v="5666" actId="478"/>
          <ac:picMkLst>
            <pc:docMk/>
            <pc:sldMk cId="33461568" sldId="884"/>
            <ac:picMk id="15" creationId="{941330EC-95E5-8585-DF63-62D9D9D19A08}"/>
          </ac:picMkLst>
        </pc:picChg>
        <pc:cxnChg chg="add mod ord">
          <ac:chgData name="Koksrud Andreas" userId="9d9beba6-c052-407a-8599-c781a677a996" providerId="ADAL" clId="{4C03B8BE-ED6C-47DA-A194-101B46B7832B}" dt="2024-02-01T11:35:05.747" v="5665" actId="170"/>
          <ac:cxnSpMkLst>
            <pc:docMk/>
            <pc:sldMk cId="33461568" sldId="884"/>
            <ac:cxnSpMk id="16" creationId="{7AF8F431-9FD7-A835-7C5F-520368BF90BB}"/>
          </ac:cxnSpMkLst>
        </pc:cxnChg>
        <pc:cxnChg chg="add mod ord">
          <ac:chgData name="Koksrud Andreas" userId="9d9beba6-c052-407a-8599-c781a677a996" providerId="ADAL" clId="{4C03B8BE-ED6C-47DA-A194-101B46B7832B}" dt="2024-02-01T11:34:39.664" v="5660" actId="170"/>
          <ac:cxnSpMkLst>
            <pc:docMk/>
            <pc:sldMk cId="33461568" sldId="884"/>
            <ac:cxnSpMk id="18" creationId="{5559D6C3-5358-E63A-3E13-62F40051C17D}"/>
          </ac:cxnSpMkLst>
        </pc:cxnChg>
      </pc:sldChg>
      <pc:sldChg chg="addSp delSp modSp add mod">
        <pc:chgData name="Koksrud Andreas" userId="9d9beba6-c052-407a-8599-c781a677a996" providerId="ADAL" clId="{4C03B8BE-ED6C-47DA-A194-101B46B7832B}" dt="2024-01-29T09:51:15.443" v="3240" actId="692"/>
        <pc:sldMkLst>
          <pc:docMk/>
          <pc:sldMk cId="2228775269" sldId="885"/>
        </pc:sldMkLst>
        <pc:spChg chg="mod">
          <ac:chgData name="Koksrud Andreas" userId="9d9beba6-c052-407a-8599-c781a677a996" providerId="ADAL" clId="{4C03B8BE-ED6C-47DA-A194-101B46B7832B}" dt="2024-01-29T09:19:27.409" v="3195" actId="20577"/>
          <ac:spMkLst>
            <pc:docMk/>
            <pc:sldMk cId="2228775269" sldId="885"/>
            <ac:spMk id="14" creationId="{C85A9E99-AA4E-C194-FF2A-6C5AC5C1CF94}"/>
          </ac:spMkLst>
        </pc:spChg>
        <pc:spChg chg="mod">
          <ac:chgData name="Koksrud Andreas" userId="9d9beba6-c052-407a-8599-c781a677a996" providerId="ADAL" clId="{4C03B8BE-ED6C-47DA-A194-101B46B7832B}" dt="2024-01-29T09:18:38.003" v="3140"/>
          <ac:spMkLst>
            <pc:docMk/>
            <pc:sldMk cId="2228775269" sldId="885"/>
            <ac:spMk id="180" creationId="{00000000-0000-0000-0000-000000000000}"/>
          </ac:spMkLst>
        </pc:spChg>
        <pc:picChg chg="add mod">
          <ac:chgData name="Koksrud Andreas" userId="9d9beba6-c052-407a-8599-c781a677a996" providerId="ADAL" clId="{4C03B8BE-ED6C-47DA-A194-101B46B7832B}" dt="2024-01-29T09:50:32.412" v="3235" actId="14100"/>
          <ac:picMkLst>
            <pc:docMk/>
            <pc:sldMk cId="2228775269" sldId="885"/>
            <ac:picMk id="3" creationId="{50AA1497-33AC-2BDF-732C-F251D8F57ECA}"/>
          </ac:picMkLst>
        </pc:picChg>
        <pc:picChg chg="del">
          <ac:chgData name="Koksrud Andreas" userId="9d9beba6-c052-407a-8599-c781a677a996" providerId="ADAL" clId="{4C03B8BE-ED6C-47DA-A194-101B46B7832B}" dt="2024-01-29T09:19:53.499" v="3231" actId="478"/>
          <ac:picMkLst>
            <pc:docMk/>
            <pc:sldMk cId="2228775269" sldId="885"/>
            <ac:picMk id="4" creationId="{1B512EEC-42AE-E3EC-812A-6A32A1C39970}"/>
          </ac:picMkLst>
        </pc:picChg>
        <pc:picChg chg="add mod">
          <ac:chgData name="Koksrud Andreas" userId="9d9beba6-c052-407a-8599-c781a677a996" providerId="ADAL" clId="{4C03B8BE-ED6C-47DA-A194-101B46B7832B}" dt="2024-01-29T09:51:15.443" v="3240" actId="692"/>
          <ac:picMkLst>
            <pc:docMk/>
            <pc:sldMk cId="2228775269" sldId="885"/>
            <ac:picMk id="6" creationId="{C0629C0C-8771-B148-9C69-A9453CE0A69A}"/>
          </ac:picMkLst>
        </pc:picChg>
      </pc:sldChg>
      <pc:sldChg chg="addSp delSp modSp add mod">
        <pc:chgData name="Koksrud Andreas" userId="9d9beba6-c052-407a-8599-c781a677a996" providerId="ADAL" clId="{4C03B8BE-ED6C-47DA-A194-101B46B7832B}" dt="2024-02-01T11:39:15.629" v="5670"/>
        <pc:sldMkLst>
          <pc:docMk/>
          <pc:sldMk cId="3576402817" sldId="886"/>
        </pc:sldMkLst>
        <pc:spChg chg="mod">
          <ac:chgData name="Koksrud Andreas" userId="9d9beba6-c052-407a-8599-c781a677a996" providerId="ADAL" clId="{4C03B8BE-ED6C-47DA-A194-101B46B7832B}" dt="2024-02-01T11:39:15.629" v="5670"/>
          <ac:spMkLst>
            <pc:docMk/>
            <pc:sldMk cId="3576402817" sldId="886"/>
            <ac:spMk id="8" creationId="{8B49BB3F-78D2-24EB-5080-98F42764BE7B}"/>
          </ac:spMkLst>
        </pc:spChg>
        <pc:spChg chg="mod">
          <ac:chgData name="Koksrud Andreas" userId="9d9beba6-c052-407a-8599-c781a677a996" providerId="ADAL" clId="{4C03B8BE-ED6C-47DA-A194-101B46B7832B}" dt="2024-01-29T12:03:33.267" v="3697" actId="1076"/>
          <ac:spMkLst>
            <pc:docMk/>
            <pc:sldMk cId="3576402817" sldId="886"/>
            <ac:spMk id="10" creationId="{C9F1839B-EE6E-E7E4-F70B-2494C6EEA738}"/>
          </ac:spMkLst>
        </pc:spChg>
        <pc:spChg chg="mod">
          <ac:chgData name="Koksrud Andreas" userId="9d9beba6-c052-407a-8599-c781a677a996" providerId="ADAL" clId="{4C03B8BE-ED6C-47DA-A194-101B46B7832B}" dt="2024-01-29T09:57:34.367" v="3309" actId="20577"/>
          <ac:spMkLst>
            <pc:docMk/>
            <pc:sldMk cId="3576402817" sldId="886"/>
            <ac:spMk id="14" creationId="{C85A9E99-AA4E-C194-FF2A-6C5AC5C1CF94}"/>
          </ac:spMkLst>
        </pc:spChg>
        <pc:spChg chg="mod">
          <ac:chgData name="Koksrud Andreas" userId="9d9beba6-c052-407a-8599-c781a677a996" providerId="ADAL" clId="{4C03B8BE-ED6C-47DA-A194-101B46B7832B}" dt="2024-01-29T09:56:17.588" v="3250"/>
          <ac:spMkLst>
            <pc:docMk/>
            <pc:sldMk cId="3576402817" sldId="886"/>
            <ac:spMk id="180" creationId="{00000000-0000-0000-0000-000000000000}"/>
          </ac:spMkLst>
        </pc:spChg>
        <pc:picChg chg="add del mod modCrop">
          <ac:chgData name="Koksrud Andreas" userId="9d9beba6-c052-407a-8599-c781a677a996" providerId="ADAL" clId="{4C03B8BE-ED6C-47DA-A194-101B46B7832B}" dt="2024-01-29T09:59:34.862" v="3311" actId="478"/>
          <ac:picMkLst>
            <pc:docMk/>
            <pc:sldMk cId="3576402817" sldId="886"/>
            <ac:picMk id="3" creationId="{EB0CB1A8-9E23-6334-ECF9-83B49D9254D9}"/>
          </ac:picMkLst>
        </pc:picChg>
        <pc:picChg chg="del">
          <ac:chgData name="Koksrud Andreas" userId="9d9beba6-c052-407a-8599-c781a677a996" providerId="ADAL" clId="{4C03B8BE-ED6C-47DA-A194-101B46B7832B}" dt="2024-01-29T09:56:41.640" v="3272" actId="478"/>
          <ac:picMkLst>
            <pc:docMk/>
            <pc:sldMk cId="3576402817" sldId="886"/>
            <ac:picMk id="4" creationId="{7BDC5772-0E1E-7DA1-3B0B-D00C8D502DD1}"/>
          </ac:picMkLst>
        </pc:picChg>
        <pc:picChg chg="add del mod modCrop">
          <ac:chgData name="Koksrud Andreas" userId="9d9beba6-c052-407a-8599-c781a677a996" providerId="ADAL" clId="{4C03B8BE-ED6C-47DA-A194-101B46B7832B}" dt="2024-01-29T11:58:54.748" v="3508" actId="478"/>
          <ac:picMkLst>
            <pc:docMk/>
            <pc:sldMk cId="3576402817" sldId="886"/>
            <ac:picMk id="6" creationId="{45DF883E-173F-4123-4BC5-054C4DDB9063}"/>
          </ac:picMkLst>
        </pc:picChg>
        <pc:picChg chg="add mod">
          <ac:chgData name="Koksrud Andreas" userId="9d9beba6-c052-407a-8599-c781a677a996" providerId="ADAL" clId="{4C03B8BE-ED6C-47DA-A194-101B46B7832B}" dt="2024-01-29T11:59:22.251" v="3511" actId="14100"/>
          <ac:picMkLst>
            <pc:docMk/>
            <pc:sldMk cId="3576402817" sldId="886"/>
            <ac:picMk id="9" creationId="{72E1563B-B52F-6FDF-09C6-284E6A5AA681}"/>
          </ac:picMkLst>
        </pc:picChg>
      </pc:sldChg>
      <pc:sldChg chg="addSp delSp modSp add mod">
        <pc:chgData name="Koksrud Andreas" userId="9d9beba6-c052-407a-8599-c781a677a996" providerId="ADAL" clId="{4C03B8BE-ED6C-47DA-A194-101B46B7832B}" dt="2024-01-29T12:12:53.510" v="4065" actId="1076"/>
        <pc:sldMkLst>
          <pc:docMk/>
          <pc:sldMk cId="3284537785" sldId="887"/>
        </pc:sldMkLst>
        <pc:spChg chg="add mod">
          <ac:chgData name="Koksrud Andreas" userId="9d9beba6-c052-407a-8599-c781a677a996" providerId="ADAL" clId="{4C03B8BE-ED6C-47DA-A194-101B46B7832B}" dt="2024-01-29T12:11:43.819" v="4055" actId="14100"/>
          <ac:spMkLst>
            <pc:docMk/>
            <pc:sldMk cId="3284537785" sldId="887"/>
            <ac:spMk id="9" creationId="{EFC123DA-368B-523C-862E-4A6A4979C3EF}"/>
          </ac:spMkLst>
        </pc:spChg>
        <pc:spChg chg="mod">
          <ac:chgData name="Koksrud Andreas" userId="9d9beba6-c052-407a-8599-c781a677a996" providerId="ADAL" clId="{4C03B8BE-ED6C-47DA-A194-101B46B7832B}" dt="2024-01-29T10:50:33.089" v="3494" actId="20577"/>
          <ac:spMkLst>
            <pc:docMk/>
            <pc:sldMk cId="3284537785" sldId="887"/>
            <ac:spMk id="14" creationId="{C85A9E99-AA4E-C194-FF2A-6C5AC5C1CF94}"/>
          </ac:spMkLst>
        </pc:spChg>
        <pc:picChg chg="add mod">
          <ac:chgData name="Koksrud Andreas" userId="9d9beba6-c052-407a-8599-c781a677a996" providerId="ADAL" clId="{4C03B8BE-ED6C-47DA-A194-101B46B7832B}" dt="2024-01-29T11:58:01.086" v="3503" actId="1076"/>
          <ac:picMkLst>
            <pc:docMk/>
            <pc:sldMk cId="3284537785" sldId="887"/>
            <ac:picMk id="3" creationId="{026DC4B7-D053-C4E2-7212-75547ADA839F}"/>
          </ac:picMkLst>
        </pc:picChg>
        <pc:picChg chg="add mod">
          <ac:chgData name="Koksrud Andreas" userId="9d9beba6-c052-407a-8599-c781a677a996" providerId="ADAL" clId="{4C03B8BE-ED6C-47DA-A194-101B46B7832B}" dt="2024-01-29T11:58:22.968" v="3507" actId="1076"/>
          <ac:picMkLst>
            <pc:docMk/>
            <pc:sldMk cId="3284537785" sldId="887"/>
            <ac:picMk id="5" creationId="{0AB29AEB-95F5-5B42-0691-EF98378B1408}"/>
          </ac:picMkLst>
        </pc:picChg>
        <pc:picChg chg="del">
          <ac:chgData name="Koksrud Andreas" userId="9d9beba6-c052-407a-8599-c781a677a996" providerId="ADAL" clId="{4C03B8BE-ED6C-47DA-A194-101B46B7832B}" dt="2024-01-29T10:50:46.944" v="3498" actId="478"/>
          <ac:picMkLst>
            <pc:docMk/>
            <pc:sldMk cId="3284537785" sldId="887"/>
            <ac:picMk id="6" creationId="{BEB21C7F-CB78-0F59-91FA-B56DF7F68DD3}"/>
          </ac:picMkLst>
        </pc:picChg>
        <pc:picChg chg="del">
          <ac:chgData name="Koksrud Andreas" userId="9d9beba6-c052-407a-8599-c781a677a996" providerId="ADAL" clId="{4C03B8BE-ED6C-47DA-A194-101B46B7832B}" dt="2024-01-29T10:50:38.732" v="3495" actId="478"/>
          <ac:picMkLst>
            <pc:docMk/>
            <pc:sldMk cId="3284537785" sldId="887"/>
            <ac:picMk id="8" creationId="{22D15649-EB40-AFC3-C64C-2698F1E6551F}"/>
          </ac:picMkLst>
        </pc:picChg>
        <pc:picChg chg="del">
          <ac:chgData name="Koksrud Andreas" userId="9d9beba6-c052-407a-8599-c781a677a996" providerId="ADAL" clId="{4C03B8BE-ED6C-47DA-A194-101B46B7832B}" dt="2024-01-29T10:50:53.654" v="3500" actId="478"/>
          <ac:picMkLst>
            <pc:docMk/>
            <pc:sldMk cId="3284537785" sldId="887"/>
            <ac:picMk id="10" creationId="{84F62417-06FE-68E2-C753-F99AAD7C41F7}"/>
          </ac:picMkLst>
        </pc:picChg>
        <pc:picChg chg="del">
          <ac:chgData name="Koksrud Andreas" userId="9d9beba6-c052-407a-8599-c781a677a996" providerId="ADAL" clId="{4C03B8BE-ED6C-47DA-A194-101B46B7832B}" dt="2024-01-29T10:50:39.615" v="3496" actId="478"/>
          <ac:picMkLst>
            <pc:docMk/>
            <pc:sldMk cId="3284537785" sldId="887"/>
            <ac:picMk id="12" creationId="{F1958D03-ADAB-F329-32D4-20D39A9C14FE}"/>
          </ac:picMkLst>
        </pc:picChg>
        <pc:picChg chg="mod">
          <ac:chgData name="Koksrud Andreas" userId="9d9beba6-c052-407a-8599-c781a677a996" providerId="ADAL" clId="{4C03B8BE-ED6C-47DA-A194-101B46B7832B}" dt="2024-01-29T10:50:51.385" v="3499" actId="1076"/>
          <ac:picMkLst>
            <pc:docMk/>
            <pc:sldMk cId="3284537785" sldId="887"/>
            <ac:picMk id="15" creationId="{ED0505E0-14BA-25EC-7C1F-046AE8189CAA}"/>
          </ac:picMkLst>
        </pc:picChg>
        <pc:picChg chg="add del mod">
          <ac:chgData name="Koksrud Andreas" userId="9d9beba6-c052-407a-8599-c781a677a996" providerId="ADAL" clId="{4C03B8BE-ED6C-47DA-A194-101B46B7832B}" dt="2024-01-29T12:12:18.985" v="4059" actId="478"/>
          <ac:picMkLst>
            <pc:docMk/>
            <pc:sldMk cId="3284537785" sldId="887"/>
            <ac:picMk id="19" creationId="{CBE49F31-85BC-A3AD-E2AF-E5248C925C22}"/>
          </ac:picMkLst>
        </pc:picChg>
        <pc:picChg chg="add mod">
          <ac:chgData name="Koksrud Andreas" userId="9d9beba6-c052-407a-8599-c781a677a996" providerId="ADAL" clId="{4C03B8BE-ED6C-47DA-A194-101B46B7832B}" dt="2024-01-29T12:12:29.767" v="4061" actId="1076"/>
          <ac:picMkLst>
            <pc:docMk/>
            <pc:sldMk cId="3284537785" sldId="887"/>
            <ac:picMk id="22" creationId="{8ACAA37B-FFDA-4016-97DB-E65BF1DBA167}"/>
          </ac:picMkLst>
        </pc:picChg>
        <pc:picChg chg="add mod">
          <ac:chgData name="Koksrud Andreas" userId="9d9beba6-c052-407a-8599-c781a677a996" providerId="ADAL" clId="{4C03B8BE-ED6C-47DA-A194-101B46B7832B}" dt="2024-01-29T12:12:53.510" v="4065" actId="1076"/>
          <ac:picMkLst>
            <pc:docMk/>
            <pc:sldMk cId="3284537785" sldId="887"/>
            <ac:picMk id="27" creationId="{55BD2768-CAF4-2049-010A-6E303BB29335}"/>
          </ac:picMkLst>
        </pc:picChg>
        <pc:cxnChg chg="add mod">
          <ac:chgData name="Koksrud Andreas" userId="9d9beba6-c052-407a-8599-c781a677a996" providerId="ADAL" clId="{4C03B8BE-ED6C-47DA-A194-101B46B7832B}" dt="2024-01-29T12:11:37.528" v="4053" actId="14100"/>
          <ac:cxnSpMkLst>
            <pc:docMk/>
            <pc:sldMk cId="3284537785" sldId="887"/>
            <ac:cxnSpMk id="11" creationId="{C4668633-298B-7E3A-78CB-43F0D82E938F}"/>
          </ac:cxnSpMkLst>
        </pc:cxnChg>
        <pc:cxnChg chg="mod ord">
          <ac:chgData name="Koksrud Andreas" userId="9d9beba6-c052-407a-8599-c781a677a996" providerId="ADAL" clId="{4C03B8BE-ED6C-47DA-A194-101B46B7832B}" dt="2024-01-29T12:10:50.677" v="3983" actId="14100"/>
          <ac:cxnSpMkLst>
            <pc:docMk/>
            <pc:sldMk cId="3284537785" sldId="887"/>
            <ac:cxnSpMk id="16" creationId="{EF61D8B6-06B4-CEFD-955C-0180139E8D3B}"/>
          </ac:cxnSpMkLst>
        </pc:cxnChg>
        <pc:cxnChg chg="mod">
          <ac:chgData name="Koksrud Andreas" userId="9d9beba6-c052-407a-8599-c781a677a996" providerId="ADAL" clId="{4C03B8BE-ED6C-47DA-A194-101B46B7832B}" dt="2024-01-29T12:12:34.381" v="4063" actId="14100"/>
          <ac:cxnSpMkLst>
            <pc:docMk/>
            <pc:sldMk cId="3284537785" sldId="887"/>
            <ac:cxnSpMk id="18" creationId="{30D4B464-70C6-266E-8ACF-9371B6220F80}"/>
          </ac:cxnSpMkLst>
        </pc:cxnChg>
        <pc:cxnChg chg="del">
          <ac:chgData name="Koksrud Andreas" userId="9d9beba6-c052-407a-8599-c781a677a996" providerId="ADAL" clId="{4C03B8BE-ED6C-47DA-A194-101B46B7832B}" dt="2024-01-29T10:50:40.481" v="3497" actId="478"/>
          <ac:cxnSpMkLst>
            <pc:docMk/>
            <pc:sldMk cId="3284537785" sldId="887"/>
            <ac:cxnSpMk id="21" creationId="{C23A8225-0ADF-078A-FCF8-4E55376E5266}"/>
          </ac:cxnSpMkLst>
        </pc:cxnChg>
        <pc:cxnChg chg="del">
          <ac:chgData name="Koksrud Andreas" userId="9d9beba6-c052-407a-8599-c781a677a996" providerId="ADAL" clId="{4C03B8BE-ED6C-47DA-A194-101B46B7832B}" dt="2024-01-29T10:50:54.711" v="3501" actId="478"/>
          <ac:cxnSpMkLst>
            <pc:docMk/>
            <pc:sldMk cId="3284537785" sldId="887"/>
            <ac:cxnSpMk id="23" creationId="{9AFEC9A9-E90D-0057-FDEF-C121B721A6CD}"/>
          </ac:cxnSpMkLst>
        </pc:cxnChg>
      </pc:sldChg>
      <pc:sldChg chg="addSp delSp modSp add mod">
        <pc:chgData name="Koksrud Andreas" userId="9d9beba6-c052-407a-8599-c781a677a996" providerId="ADAL" clId="{4C03B8BE-ED6C-47DA-A194-101B46B7832B}" dt="2024-02-01T11:55:38.925" v="5821" actId="20577"/>
        <pc:sldMkLst>
          <pc:docMk/>
          <pc:sldMk cId="2194220150" sldId="888"/>
        </pc:sldMkLst>
        <pc:spChg chg="mod">
          <ac:chgData name="Koksrud Andreas" userId="9d9beba6-c052-407a-8599-c781a677a996" providerId="ADAL" clId="{4C03B8BE-ED6C-47DA-A194-101B46B7832B}" dt="2024-02-01T11:44:49.774" v="5687"/>
          <ac:spMkLst>
            <pc:docMk/>
            <pc:sldMk cId="2194220150" sldId="888"/>
            <ac:spMk id="8" creationId="{8B49BB3F-78D2-24EB-5080-98F42764BE7B}"/>
          </ac:spMkLst>
        </pc:spChg>
        <pc:spChg chg="mod">
          <ac:chgData name="Koksrud Andreas" userId="9d9beba6-c052-407a-8599-c781a677a996" providerId="ADAL" clId="{4C03B8BE-ED6C-47DA-A194-101B46B7832B}" dt="2024-01-29T12:02:20.330" v="3687" actId="20577"/>
          <ac:spMkLst>
            <pc:docMk/>
            <pc:sldMk cId="2194220150" sldId="888"/>
            <ac:spMk id="10" creationId="{C9F1839B-EE6E-E7E4-F70B-2494C6EEA738}"/>
          </ac:spMkLst>
        </pc:spChg>
        <pc:spChg chg="mod">
          <ac:chgData name="Koksrud Andreas" userId="9d9beba6-c052-407a-8599-c781a677a996" providerId="ADAL" clId="{4C03B8BE-ED6C-47DA-A194-101B46B7832B}" dt="2024-02-01T11:55:38.925" v="5821" actId="20577"/>
          <ac:spMkLst>
            <pc:docMk/>
            <pc:sldMk cId="2194220150" sldId="888"/>
            <ac:spMk id="14" creationId="{C85A9E99-AA4E-C194-FF2A-6C5AC5C1CF94}"/>
          </ac:spMkLst>
        </pc:spChg>
        <pc:picChg chg="add del mod">
          <ac:chgData name="Koksrud Andreas" userId="9d9beba6-c052-407a-8599-c781a677a996" providerId="ADAL" clId="{4C03B8BE-ED6C-47DA-A194-101B46B7832B}" dt="2024-02-01T11:44:56.024" v="5688" actId="478"/>
          <ac:picMkLst>
            <pc:docMk/>
            <pc:sldMk cId="2194220150" sldId="888"/>
            <ac:picMk id="3" creationId="{0FA6D940-354E-886A-D4BB-E091430EA83F}"/>
          </ac:picMkLst>
        </pc:picChg>
        <pc:picChg chg="add del mod modCrop">
          <ac:chgData name="Koksrud Andreas" userId="9d9beba6-c052-407a-8599-c781a677a996" providerId="ADAL" clId="{4C03B8BE-ED6C-47DA-A194-101B46B7832B}" dt="2024-01-29T12:04:30.831" v="3703" actId="478"/>
          <ac:picMkLst>
            <pc:docMk/>
            <pc:sldMk cId="2194220150" sldId="888"/>
            <ac:picMk id="3" creationId="{8CF01442-2E24-E1B5-C0C7-58DB4DB26D21}"/>
          </ac:picMkLst>
        </pc:picChg>
        <pc:picChg chg="add del mod">
          <ac:chgData name="Koksrud Andreas" userId="9d9beba6-c052-407a-8599-c781a677a996" providerId="ADAL" clId="{4C03B8BE-ED6C-47DA-A194-101B46B7832B}" dt="2024-01-29T12:07:12.925" v="3708" actId="478"/>
          <ac:picMkLst>
            <pc:docMk/>
            <pc:sldMk cId="2194220150" sldId="888"/>
            <ac:picMk id="5" creationId="{0612541D-1DA4-AA54-A884-1F6EB316D4C7}"/>
          </ac:picMkLst>
        </pc:picChg>
        <pc:picChg chg="add mod">
          <ac:chgData name="Koksrud Andreas" userId="9d9beba6-c052-407a-8599-c781a677a996" providerId="ADAL" clId="{4C03B8BE-ED6C-47DA-A194-101B46B7832B}" dt="2024-02-01T11:45:09.829" v="5690" actId="1076"/>
          <ac:picMkLst>
            <pc:docMk/>
            <pc:sldMk cId="2194220150" sldId="888"/>
            <ac:picMk id="5" creationId="{716C3E5D-4CDD-AE9D-9E42-8D36DDB9E3D3}"/>
          </ac:picMkLst>
        </pc:picChg>
        <pc:picChg chg="add del mod">
          <ac:chgData name="Koksrud Andreas" userId="9d9beba6-c052-407a-8599-c781a677a996" providerId="ADAL" clId="{4C03B8BE-ED6C-47DA-A194-101B46B7832B}" dt="2024-02-01T11:41:38.992" v="5681" actId="478"/>
          <ac:picMkLst>
            <pc:docMk/>
            <pc:sldMk cId="2194220150" sldId="888"/>
            <ac:picMk id="7" creationId="{75D6D44C-D94A-D7C3-1409-C21B9DFEA935}"/>
          </ac:picMkLst>
        </pc:picChg>
        <pc:picChg chg="del">
          <ac:chgData name="Koksrud Andreas" userId="9d9beba6-c052-407a-8599-c781a677a996" providerId="ADAL" clId="{4C03B8BE-ED6C-47DA-A194-101B46B7832B}" dt="2024-01-29T12:03:51.475" v="3698" actId="478"/>
          <ac:picMkLst>
            <pc:docMk/>
            <pc:sldMk cId="2194220150" sldId="888"/>
            <ac:picMk id="9" creationId="{72E1563B-B52F-6FDF-09C6-284E6A5AA681}"/>
          </ac:picMkLst>
        </pc:picChg>
      </pc:sldChg>
      <pc:sldChg chg="addSp delSp modSp add mod">
        <pc:chgData name="Koksrud Andreas" userId="9d9beba6-c052-407a-8599-c781a677a996" providerId="ADAL" clId="{4C03B8BE-ED6C-47DA-A194-101B46B7832B}" dt="2024-02-01T12:04:53.843" v="5825"/>
        <pc:sldMkLst>
          <pc:docMk/>
          <pc:sldMk cId="797114304" sldId="889"/>
        </pc:sldMkLst>
        <pc:spChg chg="add mod">
          <ac:chgData name="Koksrud Andreas" userId="9d9beba6-c052-407a-8599-c781a677a996" providerId="ADAL" clId="{4C03B8BE-ED6C-47DA-A194-101B46B7832B}" dt="2024-02-01T12:00:31.124" v="5824"/>
          <ac:spMkLst>
            <pc:docMk/>
            <pc:sldMk cId="797114304" sldId="889"/>
            <ac:spMk id="2" creationId="{5503726D-8EBC-EFFF-6644-1A3A6445E659}"/>
          </ac:spMkLst>
        </pc:spChg>
        <pc:spChg chg="add mod">
          <ac:chgData name="Koksrud Andreas" userId="9d9beba6-c052-407a-8599-c781a677a996" providerId="ADAL" clId="{4C03B8BE-ED6C-47DA-A194-101B46B7832B}" dt="2024-01-29T12:18:03.614" v="4169" actId="1076"/>
          <ac:spMkLst>
            <pc:docMk/>
            <pc:sldMk cId="797114304" sldId="889"/>
            <ac:spMk id="4" creationId="{59803E2A-4C22-9D2C-9B3B-8C03B60BBDE0}"/>
          </ac:spMkLst>
        </pc:spChg>
        <pc:spChg chg="add mod">
          <ac:chgData name="Koksrud Andreas" userId="9d9beba6-c052-407a-8599-c781a677a996" providerId="ADAL" clId="{4C03B8BE-ED6C-47DA-A194-101B46B7832B}" dt="2024-02-01T12:04:53.843" v="5825"/>
          <ac:spMkLst>
            <pc:docMk/>
            <pc:sldMk cId="797114304" sldId="889"/>
            <ac:spMk id="6" creationId="{9B819FC4-FB81-A79D-ED35-FDDCF5369757}"/>
          </ac:spMkLst>
        </pc:spChg>
        <pc:spChg chg="add mod">
          <ac:chgData name="Koksrud Andreas" userId="9d9beba6-c052-407a-8599-c781a677a996" providerId="ADAL" clId="{4C03B8BE-ED6C-47DA-A194-101B46B7832B}" dt="2024-01-29T12:18:19.887" v="4180" actId="20577"/>
          <ac:spMkLst>
            <pc:docMk/>
            <pc:sldMk cId="797114304" sldId="889"/>
            <ac:spMk id="7" creationId="{E1AC20B4-4658-35FB-D8C3-D5428CC02ACF}"/>
          </ac:spMkLst>
        </pc:spChg>
        <pc:spChg chg="del mod">
          <ac:chgData name="Koksrud Andreas" userId="9d9beba6-c052-407a-8599-c781a677a996" providerId="ADAL" clId="{4C03B8BE-ED6C-47DA-A194-101B46B7832B}" dt="2024-01-29T12:17:22.097" v="4161" actId="478"/>
          <ac:spMkLst>
            <pc:docMk/>
            <pc:sldMk cId="797114304" sldId="889"/>
            <ac:spMk id="9" creationId="{EFC123DA-368B-523C-862E-4A6A4979C3EF}"/>
          </ac:spMkLst>
        </pc:spChg>
        <pc:spChg chg="mod">
          <ac:chgData name="Koksrud Andreas" userId="9d9beba6-c052-407a-8599-c781a677a996" providerId="ADAL" clId="{4C03B8BE-ED6C-47DA-A194-101B46B7832B}" dt="2024-01-29T12:17:13.954" v="4154" actId="20577"/>
          <ac:spMkLst>
            <pc:docMk/>
            <pc:sldMk cId="797114304" sldId="889"/>
            <ac:spMk id="14" creationId="{C85A9E99-AA4E-C194-FF2A-6C5AC5C1CF94}"/>
          </ac:spMkLst>
        </pc:spChg>
        <pc:picChg chg="del">
          <ac:chgData name="Koksrud Andreas" userId="9d9beba6-c052-407a-8599-c781a677a996" providerId="ADAL" clId="{4C03B8BE-ED6C-47DA-A194-101B46B7832B}" dt="2024-01-29T12:17:16.052" v="4155" actId="478"/>
          <ac:picMkLst>
            <pc:docMk/>
            <pc:sldMk cId="797114304" sldId="889"/>
            <ac:picMk id="3" creationId="{026DC4B7-D053-C4E2-7212-75547ADA839F}"/>
          </ac:picMkLst>
        </pc:picChg>
        <pc:picChg chg="del">
          <ac:chgData name="Koksrud Andreas" userId="9d9beba6-c052-407a-8599-c781a677a996" providerId="ADAL" clId="{4C03B8BE-ED6C-47DA-A194-101B46B7832B}" dt="2024-01-29T12:17:23.722" v="4163" actId="478"/>
          <ac:picMkLst>
            <pc:docMk/>
            <pc:sldMk cId="797114304" sldId="889"/>
            <ac:picMk id="5" creationId="{0AB29AEB-95F5-5B42-0691-EF98378B1408}"/>
          </ac:picMkLst>
        </pc:picChg>
        <pc:picChg chg="del">
          <ac:chgData name="Koksrud Andreas" userId="9d9beba6-c052-407a-8599-c781a677a996" providerId="ADAL" clId="{4C03B8BE-ED6C-47DA-A194-101B46B7832B}" dt="2024-01-29T12:17:20.525" v="4160" actId="478"/>
          <ac:picMkLst>
            <pc:docMk/>
            <pc:sldMk cId="797114304" sldId="889"/>
            <ac:picMk id="15" creationId="{ED0505E0-14BA-25EC-7C1F-046AE8189CAA}"/>
          </ac:picMkLst>
        </pc:picChg>
        <pc:picChg chg="del">
          <ac:chgData name="Koksrud Andreas" userId="9d9beba6-c052-407a-8599-c781a677a996" providerId="ADAL" clId="{4C03B8BE-ED6C-47DA-A194-101B46B7832B}" dt="2024-01-29T12:17:24.283" v="4164" actId="478"/>
          <ac:picMkLst>
            <pc:docMk/>
            <pc:sldMk cId="797114304" sldId="889"/>
            <ac:picMk id="22" creationId="{8ACAA37B-FFDA-4016-97DB-E65BF1DBA167}"/>
          </ac:picMkLst>
        </pc:picChg>
        <pc:picChg chg="del">
          <ac:chgData name="Koksrud Andreas" userId="9d9beba6-c052-407a-8599-c781a677a996" providerId="ADAL" clId="{4C03B8BE-ED6C-47DA-A194-101B46B7832B}" dt="2024-01-29T12:17:23.017" v="4162" actId="478"/>
          <ac:picMkLst>
            <pc:docMk/>
            <pc:sldMk cId="797114304" sldId="889"/>
            <ac:picMk id="27" creationId="{55BD2768-CAF4-2049-010A-6E303BB29335}"/>
          </ac:picMkLst>
        </pc:picChg>
        <pc:cxnChg chg="del">
          <ac:chgData name="Koksrud Andreas" userId="9d9beba6-c052-407a-8599-c781a677a996" providerId="ADAL" clId="{4C03B8BE-ED6C-47DA-A194-101B46B7832B}" dt="2024-01-29T12:17:17.457" v="4156" actId="478"/>
          <ac:cxnSpMkLst>
            <pc:docMk/>
            <pc:sldMk cId="797114304" sldId="889"/>
            <ac:cxnSpMk id="11" creationId="{C4668633-298B-7E3A-78CB-43F0D82E938F}"/>
          </ac:cxnSpMkLst>
        </pc:cxnChg>
        <pc:cxnChg chg="del">
          <ac:chgData name="Koksrud Andreas" userId="9d9beba6-c052-407a-8599-c781a677a996" providerId="ADAL" clId="{4C03B8BE-ED6C-47DA-A194-101B46B7832B}" dt="2024-01-29T12:17:19.556" v="4159" actId="478"/>
          <ac:cxnSpMkLst>
            <pc:docMk/>
            <pc:sldMk cId="797114304" sldId="889"/>
            <ac:cxnSpMk id="16" creationId="{EF61D8B6-06B4-CEFD-955C-0180139E8D3B}"/>
          </ac:cxnSpMkLst>
        </pc:cxnChg>
        <pc:cxnChg chg="del mod">
          <ac:chgData name="Koksrud Andreas" userId="9d9beba6-c052-407a-8599-c781a677a996" providerId="ADAL" clId="{4C03B8BE-ED6C-47DA-A194-101B46B7832B}" dt="2024-01-29T12:17:25.073" v="4165" actId="478"/>
          <ac:cxnSpMkLst>
            <pc:docMk/>
            <pc:sldMk cId="797114304" sldId="889"/>
            <ac:cxnSpMk id="18" creationId="{30D4B464-70C6-266E-8ACF-9371B6220F80}"/>
          </ac:cxnSpMkLst>
        </pc:cxnChg>
      </pc:sldChg>
      <pc:sldChg chg="addSp delSp modSp add mod">
        <pc:chgData name="Koksrud Andreas" userId="9d9beba6-c052-407a-8599-c781a677a996" providerId="ADAL" clId="{4C03B8BE-ED6C-47DA-A194-101B46B7832B}" dt="2024-02-01T12:14:09.843" v="6063"/>
        <pc:sldMkLst>
          <pc:docMk/>
          <pc:sldMk cId="2383107090" sldId="890"/>
        </pc:sldMkLst>
        <pc:spChg chg="mod">
          <ac:chgData name="Koksrud Andreas" userId="9d9beba6-c052-407a-8599-c781a677a996" providerId="ADAL" clId="{4C03B8BE-ED6C-47DA-A194-101B46B7832B}" dt="2024-02-01T12:14:09.843" v="6063"/>
          <ac:spMkLst>
            <pc:docMk/>
            <pc:sldMk cId="2383107090" sldId="890"/>
            <ac:spMk id="2" creationId="{5E55E3D2-6C00-507E-E67D-B1585416A7DA}"/>
          </ac:spMkLst>
        </pc:spChg>
        <pc:spChg chg="del">
          <ac:chgData name="Koksrud Andreas" userId="9d9beba6-c052-407a-8599-c781a677a996" providerId="ADAL" clId="{4C03B8BE-ED6C-47DA-A194-101B46B7832B}" dt="2024-02-01T12:11:46.171" v="5854" actId="478"/>
          <ac:spMkLst>
            <pc:docMk/>
            <pc:sldMk cId="2383107090" sldId="890"/>
            <ac:spMk id="3" creationId="{F8C25FDC-57EE-1DDE-CCC5-273A2149FEAB}"/>
          </ac:spMkLst>
        </pc:spChg>
        <pc:spChg chg="mod">
          <ac:chgData name="Koksrud Andreas" userId="9d9beba6-c052-407a-8599-c781a677a996" providerId="ADAL" clId="{4C03B8BE-ED6C-47DA-A194-101B46B7832B}" dt="2024-02-01T12:11:35.829" v="5853" actId="20577"/>
          <ac:spMkLst>
            <pc:docMk/>
            <pc:sldMk cId="2383107090" sldId="890"/>
            <ac:spMk id="4" creationId="{C74185B4-55D0-B4EA-E65D-51F42B09D894}"/>
          </ac:spMkLst>
        </pc:spChg>
        <pc:spChg chg="mod">
          <ac:chgData name="Koksrud Andreas" userId="9d9beba6-c052-407a-8599-c781a677a996" providerId="ADAL" clId="{4C03B8BE-ED6C-47DA-A194-101B46B7832B}" dt="2024-02-01T12:13:22.205" v="6060" actId="14100"/>
          <ac:spMkLst>
            <pc:docMk/>
            <pc:sldMk cId="2383107090" sldId="890"/>
            <ac:spMk id="14" creationId="{C85A9E99-AA4E-C194-FF2A-6C5AC5C1CF94}"/>
          </ac:spMkLst>
        </pc:spChg>
        <pc:picChg chg="del">
          <ac:chgData name="Koksrud Andreas" userId="9d9beba6-c052-407a-8599-c781a677a996" providerId="ADAL" clId="{4C03B8BE-ED6C-47DA-A194-101B46B7832B}" dt="2024-02-01T12:11:59.224" v="5901" actId="478"/>
          <ac:picMkLst>
            <pc:docMk/>
            <pc:sldMk cId="2383107090" sldId="890"/>
            <ac:picMk id="6" creationId="{998758FD-0182-1EDB-7B67-96A720A202C7}"/>
          </ac:picMkLst>
        </pc:picChg>
        <pc:picChg chg="del">
          <ac:chgData name="Koksrud Andreas" userId="9d9beba6-c052-407a-8599-c781a677a996" providerId="ADAL" clId="{4C03B8BE-ED6C-47DA-A194-101B46B7832B}" dt="2024-02-01T12:12:00.061" v="5902" actId="478"/>
          <ac:picMkLst>
            <pc:docMk/>
            <pc:sldMk cId="2383107090" sldId="890"/>
            <ac:picMk id="7" creationId="{11B4A4CD-E3CE-7938-0B4C-0B09EDAE8B13}"/>
          </ac:picMkLst>
        </pc:picChg>
        <pc:picChg chg="add mod">
          <ac:chgData name="Koksrud Andreas" userId="9d9beba6-c052-407a-8599-c781a677a996" providerId="ADAL" clId="{4C03B8BE-ED6C-47DA-A194-101B46B7832B}" dt="2024-02-01T12:12:19.755" v="5904" actId="1076"/>
          <ac:picMkLst>
            <pc:docMk/>
            <pc:sldMk cId="2383107090" sldId="890"/>
            <ac:picMk id="8" creationId="{AFCFEB0C-E7C2-915D-818F-AE6A0D5A0D71}"/>
          </ac:picMkLst>
        </pc:picChg>
        <pc:picChg chg="add mod">
          <ac:chgData name="Koksrud Andreas" userId="9d9beba6-c052-407a-8599-c781a677a996" providerId="ADAL" clId="{4C03B8BE-ED6C-47DA-A194-101B46B7832B}" dt="2024-02-01T12:13:16.852" v="6059" actId="1076"/>
          <ac:picMkLst>
            <pc:docMk/>
            <pc:sldMk cId="2383107090" sldId="890"/>
            <ac:picMk id="10" creationId="{3BB93639-BF63-A841-C0AC-F6D0FEF58382}"/>
          </ac:picMkLst>
        </pc:picChg>
        <pc:picChg chg="add mod">
          <ac:chgData name="Koksrud Andreas" userId="9d9beba6-c052-407a-8599-c781a677a996" providerId="ADAL" clId="{4C03B8BE-ED6C-47DA-A194-101B46B7832B}" dt="2024-02-01T12:13:44.392" v="6062" actId="1076"/>
          <ac:picMkLst>
            <pc:docMk/>
            <pc:sldMk cId="2383107090" sldId="890"/>
            <ac:picMk id="12" creationId="{4280DDCB-B16B-49BF-C002-A91EFAB65D5C}"/>
          </ac:picMkLst>
        </pc:picChg>
      </pc:sldChg>
    </pc:docChg>
  </pc:docChgLst>
  <pc:docChgLst>
    <pc:chgData name="Koksrud Andreas" userId="9d9beba6-c052-407a-8599-c781a677a996" providerId="ADAL" clId="{7956FAC5-41A0-4609-A911-62C4A829A2C4}"/>
    <pc:docChg chg="undo redo custSel addSld delSld modSld sldOrd modSection">
      <pc:chgData name="Koksrud Andreas" userId="9d9beba6-c052-407a-8599-c781a677a996" providerId="ADAL" clId="{7956FAC5-41A0-4609-A911-62C4A829A2C4}" dt="2021-12-15T14:49:07.924" v="4235" actId="20577"/>
      <pc:docMkLst>
        <pc:docMk/>
      </pc:docMkLst>
      <pc:sldChg chg="del">
        <pc:chgData name="Koksrud Andreas" userId="9d9beba6-c052-407a-8599-c781a677a996" providerId="ADAL" clId="{7956FAC5-41A0-4609-A911-62C4A829A2C4}" dt="2021-12-08T15:16:33.539" v="56" actId="47"/>
        <pc:sldMkLst>
          <pc:docMk/>
          <pc:sldMk cId="3737422792" sldId="276"/>
        </pc:sldMkLst>
      </pc:sldChg>
      <pc:sldChg chg="delSp modSp del mod">
        <pc:chgData name="Koksrud Andreas" userId="9d9beba6-c052-407a-8599-c781a677a996" providerId="ADAL" clId="{7956FAC5-41A0-4609-A911-62C4A829A2C4}" dt="2021-12-08T15:17:21.167" v="120" actId="47"/>
        <pc:sldMkLst>
          <pc:docMk/>
          <pc:sldMk cId="3062551098" sldId="278"/>
        </pc:sldMkLst>
        <pc:spChg chg="mod">
          <ac:chgData name="Koksrud Andreas" userId="9d9beba6-c052-407a-8599-c781a677a996" providerId="ADAL" clId="{7956FAC5-41A0-4609-A911-62C4A829A2C4}" dt="2021-12-08T15:16:45.806" v="85" actId="20577"/>
          <ac:spMkLst>
            <pc:docMk/>
            <pc:sldMk cId="3062551098" sldId="278"/>
            <ac:spMk id="165" creationId="{00000000-0000-0000-0000-000000000000}"/>
          </ac:spMkLst>
        </pc:spChg>
        <pc:picChg chg="del">
          <ac:chgData name="Koksrud Andreas" userId="9d9beba6-c052-407a-8599-c781a677a996" providerId="ADAL" clId="{7956FAC5-41A0-4609-A911-62C4A829A2C4}" dt="2021-12-08T15:16:36.287" v="57" actId="478"/>
          <ac:picMkLst>
            <pc:docMk/>
            <pc:sldMk cId="3062551098" sldId="278"/>
            <ac:picMk id="6" creationId="{4D677013-A4B2-4837-8BAC-1213E9BD830A}"/>
          </ac:picMkLst>
        </pc:picChg>
      </pc:sldChg>
      <pc:sldChg chg="del">
        <pc:chgData name="Koksrud Andreas" userId="9d9beba6-c052-407a-8599-c781a677a996" providerId="ADAL" clId="{7956FAC5-41A0-4609-A911-62C4A829A2C4}" dt="2021-12-08T15:16:48.469" v="86" actId="47"/>
        <pc:sldMkLst>
          <pc:docMk/>
          <pc:sldMk cId="595294778" sldId="279"/>
        </pc:sldMkLst>
      </pc:sldChg>
      <pc:sldChg chg="del">
        <pc:chgData name="Koksrud Andreas" userId="9d9beba6-c052-407a-8599-c781a677a996" providerId="ADAL" clId="{7956FAC5-41A0-4609-A911-62C4A829A2C4}" dt="2021-12-08T15:16:48.812" v="87" actId="47"/>
        <pc:sldMkLst>
          <pc:docMk/>
          <pc:sldMk cId="3494317797" sldId="280"/>
        </pc:sldMkLst>
      </pc:sldChg>
      <pc:sldChg chg="del">
        <pc:chgData name="Koksrud Andreas" userId="9d9beba6-c052-407a-8599-c781a677a996" providerId="ADAL" clId="{7956FAC5-41A0-4609-A911-62C4A829A2C4}" dt="2021-12-08T15:16:49.341" v="88" actId="47"/>
        <pc:sldMkLst>
          <pc:docMk/>
          <pc:sldMk cId="1895067963" sldId="281"/>
        </pc:sldMkLst>
      </pc:sldChg>
      <pc:sldChg chg="del">
        <pc:chgData name="Koksrud Andreas" userId="9d9beba6-c052-407a-8599-c781a677a996" providerId="ADAL" clId="{7956FAC5-41A0-4609-A911-62C4A829A2C4}" dt="2021-12-08T15:16:49.748" v="89" actId="47"/>
        <pc:sldMkLst>
          <pc:docMk/>
          <pc:sldMk cId="3454780860" sldId="282"/>
        </pc:sldMkLst>
      </pc:sldChg>
      <pc:sldChg chg="del">
        <pc:chgData name="Koksrud Andreas" userId="9d9beba6-c052-407a-8599-c781a677a996" providerId="ADAL" clId="{7956FAC5-41A0-4609-A911-62C4A829A2C4}" dt="2021-12-08T15:16:50.155" v="90" actId="47"/>
        <pc:sldMkLst>
          <pc:docMk/>
          <pc:sldMk cId="1108960129" sldId="283"/>
        </pc:sldMkLst>
      </pc:sldChg>
      <pc:sldChg chg="del">
        <pc:chgData name="Koksrud Andreas" userId="9d9beba6-c052-407a-8599-c781a677a996" providerId="ADAL" clId="{7956FAC5-41A0-4609-A911-62C4A829A2C4}" dt="2021-12-08T15:16:51.065" v="92" actId="47"/>
        <pc:sldMkLst>
          <pc:docMk/>
          <pc:sldMk cId="1607459823" sldId="285"/>
        </pc:sldMkLst>
      </pc:sldChg>
      <pc:sldChg chg="del">
        <pc:chgData name="Koksrud Andreas" userId="9d9beba6-c052-407a-8599-c781a677a996" providerId="ADAL" clId="{7956FAC5-41A0-4609-A911-62C4A829A2C4}" dt="2021-12-08T15:16:51.475" v="93" actId="47"/>
        <pc:sldMkLst>
          <pc:docMk/>
          <pc:sldMk cId="1459155293" sldId="286"/>
        </pc:sldMkLst>
      </pc:sldChg>
      <pc:sldChg chg="del">
        <pc:chgData name="Koksrud Andreas" userId="9d9beba6-c052-407a-8599-c781a677a996" providerId="ADAL" clId="{7956FAC5-41A0-4609-A911-62C4A829A2C4}" dt="2021-12-08T15:16:51.851" v="94" actId="47"/>
        <pc:sldMkLst>
          <pc:docMk/>
          <pc:sldMk cId="1405705192" sldId="287"/>
        </pc:sldMkLst>
      </pc:sldChg>
      <pc:sldChg chg="del">
        <pc:chgData name="Koksrud Andreas" userId="9d9beba6-c052-407a-8599-c781a677a996" providerId="ADAL" clId="{7956FAC5-41A0-4609-A911-62C4A829A2C4}" dt="2021-12-08T15:16:52.595" v="95" actId="47"/>
        <pc:sldMkLst>
          <pc:docMk/>
          <pc:sldMk cId="2770564330" sldId="288"/>
        </pc:sldMkLst>
      </pc:sldChg>
      <pc:sldChg chg="del">
        <pc:chgData name="Koksrud Andreas" userId="9d9beba6-c052-407a-8599-c781a677a996" providerId="ADAL" clId="{7956FAC5-41A0-4609-A911-62C4A829A2C4}" dt="2021-12-08T15:16:53.151" v="96" actId="47"/>
        <pc:sldMkLst>
          <pc:docMk/>
          <pc:sldMk cId="708408685" sldId="289"/>
        </pc:sldMkLst>
      </pc:sldChg>
      <pc:sldChg chg="del">
        <pc:chgData name="Koksrud Andreas" userId="9d9beba6-c052-407a-8599-c781a677a996" providerId="ADAL" clId="{7956FAC5-41A0-4609-A911-62C4A829A2C4}" dt="2021-12-08T15:16:53.642" v="97" actId="47"/>
        <pc:sldMkLst>
          <pc:docMk/>
          <pc:sldMk cId="2509195288" sldId="290"/>
        </pc:sldMkLst>
      </pc:sldChg>
      <pc:sldChg chg="del">
        <pc:chgData name="Koksrud Andreas" userId="9d9beba6-c052-407a-8599-c781a677a996" providerId="ADAL" clId="{7956FAC5-41A0-4609-A911-62C4A829A2C4}" dt="2021-12-08T15:16:54.187" v="98" actId="47"/>
        <pc:sldMkLst>
          <pc:docMk/>
          <pc:sldMk cId="1911017754" sldId="291"/>
        </pc:sldMkLst>
      </pc:sldChg>
      <pc:sldChg chg="del">
        <pc:chgData name="Koksrud Andreas" userId="9d9beba6-c052-407a-8599-c781a677a996" providerId="ADAL" clId="{7956FAC5-41A0-4609-A911-62C4A829A2C4}" dt="2021-12-08T15:17:23.991" v="121" actId="47"/>
        <pc:sldMkLst>
          <pc:docMk/>
          <pc:sldMk cId="905136967" sldId="292"/>
        </pc:sldMkLst>
      </pc:sldChg>
      <pc:sldChg chg="del">
        <pc:chgData name="Koksrud Andreas" userId="9d9beba6-c052-407a-8599-c781a677a996" providerId="ADAL" clId="{7956FAC5-41A0-4609-A911-62C4A829A2C4}" dt="2021-12-08T15:16:59.903" v="99" actId="47"/>
        <pc:sldMkLst>
          <pc:docMk/>
          <pc:sldMk cId="2719012752" sldId="293"/>
        </pc:sldMkLst>
      </pc:sldChg>
      <pc:sldChg chg="del">
        <pc:chgData name="Koksrud Andreas" userId="9d9beba6-c052-407a-8599-c781a677a996" providerId="ADAL" clId="{7956FAC5-41A0-4609-A911-62C4A829A2C4}" dt="2021-12-08T15:17:00.455" v="100" actId="47"/>
        <pc:sldMkLst>
          <pc:docMk/>
          <pc:sldMk cId="105445765" sldId="294"/>
        </pc:sldMkLst>
      </pc:sldChg>
      <pc:sldChg chg="del">
        <pc:chgData name="Koksrud Andreas" userId="9d9beba6-c052-407a-8599-c781a677a996" providerId="ADAL" clId="{7956FAC5-41A0-4609-A911-62C4A829A2C4}" dt="2021-12-08T15:17:00.850" v="101" actId="47"/>
        <pc:sldMkLst>
          <pc:docMk/>
          <pc:sldMk cId="2698391475" sldId="295"/>
        </pc:sldMkLst>
      </pc:sldChg>
      <pc:sldChg chg="del">
        <pc:chgData name="Koksrud Andreas" userId="9d9beba6-c052-407a-8599-c781a677a996" providerId="ADAL" clId="{7956FAC5-41A0-4609-A911-62C4A829A2C4}" dt="2021-12-08T15:17:01.366" v="102" actId="47"/>
        <pc:sldMkLst>
          <pc:docMk/>
          <pc:sldMk cId="558428443" sldId="296"/>
        </pc:sldMkLst>
      </pc:sldChg>
      <pc:sldChg chg="del">
        <pc:chgData name="Koksrud Andreas" userId="9d9beba6-c052-407a-8599-c781a677a996" providerId="ADAL" clId="{7956FAC5-41A0-4609-A911-62C4A829A2C4}" dt="2021-12-08T15:17:02.072" v="103" actId="47"/>
        <pc:sldMkLst>
          <pc:docMk/>
          <pc:sldMk cId="312594172" sldId="298"/>
        </pc:sldMkLst>
      </pc:sldChg>
      <pc:sldChg chg="del">
        <pc:chgData name="Koksrud Andreas" userId="9d9beba6-c052-407a-8599-c781a677a996" providerId="ADAL" clId="{7956FAC5-41A0-4609-A911-62C4A829A2C4}" dt="2021-12-08T15:17:02.633" v="104" actId="47"/>
        <pc:sldMkLst>
          <pc:docMk/>
          <pc:sldMk cId="2755240579" sldId="299"/>
        </pc:sldMkLst>
      </pc:sldChg>
      <pc:sldChg chg="del">
        <pc:chgData name="Koksrud Andreas" userId="9d9beba6-c052-407a-8599-c781a677a996" providerId="ADAL" clId="{7956FAC5-41A0-4609-A911-62C4A829A2C4}" dt="2021-12-08T15:17:26.436" v="122" actId="47"/>
        <pc:sldMkLst>
          <pc:docMk/>
          <pc:sldMk cId="3134029436" sldId="300"/>
        </pc:sldMkLst>
      </pc:sldChg>
      <pc:sldChg chg="del">
        <pc:chgData name="Koksrud Andreas" userId="9d9beba6-c052-407a-8599-c781a677a996" providerId="ADAL" clId="{7956FAC5-41A0-4609-A911-62C4A829A2C4}" dt="2021-12-08T15:17:07.292" v="106" actId="47"/>
        <pc:sldMkLst>
          <pc:docMk/>
          <pc:sldMk cId="1764870061" sldId="302"/>
        </pc:sldMkLst>
      </pc:sldChg>
      <pc:sldChg chg="del">
        <pc:chgData name="Koksrud Andreas" userId="9d9beba6-c052-407a-8599-c781a677a996" providerId="ADAL" clId="{7956FAC5-41A0-4609-A911-62C4A829A2C4}" dt="2021-12-08T15:17:08.902" v="108" actId="47"/>
        <pc:sldMkLst>
          <pc:docMk/>
          <pc:sldMk cId="1114236349" sldId="303"/>
        </pc:sldMkLst>
      </pc:sldChg>
      <pc:sldChg chg="del">
        <pc:chgData name="Koksrud Andreas" userId="9d9beba6-c052-407a-8599-c781a677a996" providerId="ADAL" clId="{7956FAC5-41A0-4609-A911-62C4A829A2C4}" dt="2021-12-08T15:17:09.555" v="109" actId="47"/>
        <pc:sldMkLst>
          <pc:docMk/>
          <pc:sldMk cId="2366142093" sldId="304"/>
        </pc:sldMkLst>
      </pc:sldChg>
      <pc:sldChg chg="del">
        <pc:chgData name="Koksrud Andreas" userId="9d9beba6-c052-407a-8599-c781a677a996" providerId="ADAL" clId="{7956FAC5-41A0-4609-A911-62C4A829A2C4}" dt="2021-12-08T15:17:10.109" v="110" actId="47"/>
        <pc:sldMkLst>
          <pc:docMk/>
          <pc:sldMk cId="4218830267" sldId="306"/>
        </pc:sldMkLst>
      </pc:sldChg>
      <pc:sldChg chg="del">
        <pc:chgData name="Koksrud Andreas" userId="9d9beba6-c052-407a-8599-c781a677a996" providerId="ADAL" clId="{7956FAC5-41A0-4609-A911-62C4A829A2C4}" dt="2021-12-08T15:17:10.688" v="111" actId="47"/>
        <pc:sldMkLst>
          <pc:docMk/>
          <pc:sldMk cId="2431522764" sldId="311"/>
        </pc:sldMkLst>
      </pc:sldChg>
      <pc:sldChg chg="del">
        <pc:chgData name="Koksrud Andreas" userId="9d9beba6-c052-407a-8599-c781a677a996" providerId="ADAL" clId="{7956FAC5-41A0-4609-A911-62C4A829A2C4}" dt="2021-12-08T15:17:11.266" v="112" actId="47"/>
        <pc:sldMkLst>
          <pc:docMk/>
          <pc:sldMk cId="3505328169" sldId="312"/>
        </pc:sldMkLst>
      </pc:sldChg>
      <pc:sldChg chg="del">
        <pc:chgData name="Koksrud Andreas" userId="9d9beba6-c052-407a-8599-c781a677a996" providerId="ADAL" clId="{7956FAC5-41A0-4609-A911-62C4A829A2C4}" dt="2021-12-08T15:17:11.730" v="113" actId="47"/>
        <pc:sldMkLst>
          <pc:docMk/>
          <pc:sldMk cId="488657684" sldId="313"/>
        </pc:sldMkLst>
      </pc:sldChg>
      <pc:sldChg chg="del">
        <pc:chgData name="Koksrud Andreas" userId="9d9beba6-c052-407a-8599-c781a677a996" providerId="ADAL" clId="{7956FAC5-41A0-4609-A911-62C4A829A2C4}" dt="2021-12-08T15:17:30.540" v="123" actId="47"/>
        <pc:sldMkLst>
          <pc:docMk/>
          <pc:sldMk cId="2314019208" sldId="315"/>
        </pc:sldMkLst>
      </pc:sldChg>
      <pc:sldChg chg="del">
        <pc:chgData name="Koksrud Andreas" userId="9d9beba6-c052-407a-8599-c781a677a996" providerId="ADAL" clId="{7956FAC5-41A0-4609-A911-62C4A829A2C4}" dt="2021-12-08T15:17:12.167" v="114" actId="47"/>
        <pc:sldMkLst>
          <pc:docMk/>
          <pc:sldMk cId="541287524" sldId="316"/>
        </pc:sldMkLst>
      </pc:sldChg>
      <pc:sldChg chg="modSp mod">
        <pc:chgData name="Koksrud Andreas" userId="9d9beba6-c052-407a-8599-c781a677a996" providerId="ADAL" clId="{7956FAC5-41A0-4609-A911-62C4A829A2C4}" dt="2021-12-08T15:15:14.985" v="18" actId="20577"/>
        <pc:sldMkLst>
          <pc:docMk/>
          <pc:sldMk cId="697137886" sldId="679"/>
        </pc:sldMkLst>
        <pc:spChg chg="mod">
          <ac:chgData name="Koksrud Andreas" userId="9d9beba6-c052-407a-8599-c781a677a996" providerId="ADAL" clId="{7956FAC5-41A0-4609-A911-62C4A829A2C4}" dt="2021-12-08T15:15:14.985" v="18" actId="20577"/>
          <ac:spMkLst>
            <pc:docMk/>
            <pc:sldMk cId="697137886" sldId="679"/>
            <ac:spMk id="2" creationId="{00000000-0000-0000-0000-000000000000}"/>
          </ac:spMkLst>
        </pc:spChg>
      </pc:sldChg>
      <pc:sldChg chg="delSp modSp mod">
        <pc:chgData name="Koksrud Andreas" userId="9d9beba6-c052-407a-8599-c781a677a996" providerId="ADAL" clId="{7956FAC5-41A0-4609-A911-62C4A829A2C4}" dt="2021-12-08T15:16:01.811" v="55" actId="478"/>
        <pc:sldMkLst>
          <pc:docMk/>
          <pc:sldMk cId="2087783305" sldId="730"/>
        </pc:sldMkLst>
        <pc:spChg chg="mod">
          <ac:chgData name="Koksrud Andreas" userId="9d9beba6-c052-407a-8599-c781a677a996" providerId="ADAL" clId="{7956FAC5-41A0-4609-A911-62C4A829A2C4}" dt="2021-12-08T15:15:45.661" v="44" actId="20577"/>
          <ac:spMkLst>
            <pc:docMk/>
            <pc:sldMk cId="2087783305" sldId="730"/>
            <ac:spMk id="11" creationId="{618A10C5-431B-4229-87F2-69FEAE5298F3}"/>
          </ac:spMkLst>
        </pc:spChg>
        <pc:spChg chg="mod">
          <ac:chgData name="Koksrud Andreas" userId="9d9beba6-c052-407a-8599-c781a677a996" providerId="ADAL" clId="{7956FAC5-41A0-4609-A911-62C4A829A2C4}" dt="2021-12-08T15:15:48.738" v="51" actId="20577"/>
          <ac:spMkLst>
            <pc:docMk/>
            <pc:sldMk cId="2087783305" sldId="730"/>
            <ac:spMk id="12" creationId="{F4823D76-F745-416B-B271-20B77344DBD4}"/>
          </ac:spMkLst>
        </pc:spChg>
        <pc:spChg chg="mod">
          <ac:chgData name="Koksrud Andreas" userId="9d9beba6-c052-407a-8599-c781a677a996" providerId="ADAL" clId="{7956FAC5-41A0-4609-A911-62C4A829A2C4}" dt="2021-12-08T15:15:35.100" v="31" actId="20577"/>
          <ac:spMkLst>
            <pc:docMk/>
            <pc:sldMk cId="2087783305" sldId="730"/>
            <ac:spMk id="13" creationId="{65A2EA35-6E56-4E08-BAAC-9895D08AD256}"/>
          </ac:spMkLst>
        </pc:spChg>
        <pc:spChg chg="del">
          <ac:chgData name="Koksrud Andreas" userId="9d9beba6-c052-407a-8599-c781a677a996" providerId="ADAL" clId="{7956FAC5-41A0-4609-A911-62C4A829A2C4}" dt="2021-12-08T15:16:00.636" v="53" actId="478"/>
          <ac:spMkLst>
            <pc:docMk/>
            <pc:sldMk cId="2087783305" sldId="730"/>
            <ac:spMk id="15" creationId="{3C76393C-FC96-4E11-96C8-83D73865BFF3}"/>
          </ac:spMkLst>
        </pc:spChg>
        <pc:spChg chg="del">
          <ac:chgData name="Koksrud Andreas" userId="9d9beba6-c052-407a-8599-c781a677a996" providerId="ADAL" clId="{7956FAC5-41A0-4609-A911-62C4A829A2C4}" dt="2021-12-08T15:16:01.207" v="54" actId="478"/>
          <ac:spMkLst>
            <pc:docMk/>
            <pc:sldMk cId="2087783305" sldId="730"/>
            <ac:spMk id="16" creationId="{B7D7E413-8D33-460F-9286-2FF50DA438BA}"/>
          </ac:spMkLst>
        </pc:spChg>
        <pc:spChg chg="del">
          <ac:chgData name="Koksrud Andreas" userId="9d9beba6-c052-407a-8599-c781a677a996" providerId="ADAL" clId="{7956FAC5-41A0-4609-A911-62C4A829A2C4}" dt="2021-12-08T15:15:57.781" v="52" actId="478"/>
          <ac:spMkLst>
            <pc:docMk/>
            <pc:sldMk cId="2087783305" sldId="730"/>
            <ac:spMk id="17" creationId="{D313F849-693C-4168-A593-04E7F0D87DE1}"/>
          </ac:spMkLst>
        </pc:spChg>
        <pc:spChg chg="del">
          <ac:chgData name="Koksrud Andreas" userId="9d9beba6-c052-407a-8599-c781a677a996" providerId="ADAL" clId="{7956FAC5-41A0-4609-A911-62C4A829A2C4}" dt="2021-12-08T15:16:01.811" v="55" actId="478"/>
          <ac:spMkLst>
            <pc:docMk/>
            <pc:sldMk cId="2087783305" sldId="730"/>
            <ac:spMk id="18" creationId="{A3DD34F7-6ECE-4E5F-A04C-254F1D3C0EB6}"/>
          </ac:spMkLst>
        </pc:spChg>
      </pc:sldChg>
      <pc:sldChg chg="del">
        <pc:chgData name="Koksrud Andreas" userId="9d9beba6-c052-407a-8599-c781a677a996" providerId="ADAL" clId="{7956FAC5-41A0-4609-A911-62C4A829A2C4}" dt="2021-12-08T15:17:07.931" v="107" actId="47"/>
        <pc:sldMkLst>
          <pc:docMk/>
          <pc:sldMk cId="1184925497" sldId="732"/>
        </pc:sldMkLst>
      </pc:sldChg>
      <pc:sldChg chg="del">
        <pc:chgData name="Koksrud Andreas" userId="9d9beba6-c052-407a-8599-c781a677a996" providerId="ADAL" clId="{7956FAC5-41A0-4609-A911-62C4A829A2C4}" dt="2021-12-08T15:17:06.783" v="105" actId="47"/>
        <pc:sldMkLst>
          <pc:docMk/>
          <pc:sldMk cId="2202495698" sldId="733"/>
        </pc:sldMkLst>
      </pc:sldChg>
      <pc:sldChg chg="del">
        <pc:chgData name="Koksrud Andreas" userId="9d9beba6-c052-407a-8599-c781a677a996" providerId="ADAL" clId="{7956FAC5-41A0-4609-A911-62C4A829A2C4}" dt="2021-12-08T15:16:50.659" v="91" actId="47"/>
        <pc:sldMkLst>
          <pc:docMk/>
          <pc:sldMk cId="827763474" sldId="734"/>
        </pc:sldMkLst>
      </pc:sldChg>
      <pc:sldChg chg="del">
        <pc:chgData name="Koksrud Andreas" userId="9d9beba6-c052-407a-8599-c781a677a996" providerId="ADAL" clId="{7956FAC5-41A0-4609-A911-62C4A829A2C4}" dt="2021-12-08T15:17:12.652" v="115" actId="47"/>
        <pc:sldMkLst>
          <pc:docMk/>
          <pc:sldMk cId="1210415694" sldId="736"/>
        </pc:sldMkLst>
      </pc:sldChg>
      <pc:sldChg chg="del">
        <pc:chgData name="Koksrud Andreas" userId="9d9beba6-c052-407a-8599-c781a677a996" providerId="ADAL" clId="{7956FAC5-41A0-4609-A911-62C4A829A2C4}" dt="2021-12-08T15:17:13.245" v="116" actId="47"/>
        <pc:sldMkLst>
          <pc:docMk/>
          <pc:sldMk cId="2671092135" sldId="737"/>
        </pc:sldMkLst>
      </pc:sldChg>
      <pc:sldChg chg="del">
        <pc:chgData name="Koksrud Andreas" userId="9d9beba6-c052-407a-8599-c781a677a996" providerId="ADAL" clId="{7956FAC5-41A0-4609-A911-62C4A829A2C4}" dt="2021-12-08T15:17:13.831" v="117" actId="47"/>
        <pc:sldMkLst>
          <pc:docMk/>
          <pc:sldMk cId="862304365" sldId="738"/>
        </pc:sldMkLst>
      </pc:sldChg>
      <pc:sldChg chg="del">
        <pc:chgData name="Koksrud Andreas" userId="9d9beba6-c052-407a-8599-c781a677a996" providerId="ADAL" clId="{7956FAC5-41A0-4609-A911-62C4A829A2C4}" dt="2021-12-08T15:17:14.318" v="118" actId="47"/>
        <pc:sldMkLst>
          <pc:docMk/>
          <pc:sldMk cId="2173740" sldId="739"/>
        </pc:sldMkLst>
      </pc:sldChg>
      <pc:sldChg chg="del">
        <pc:chgData name="Koksrud Andreas" userId="9d9beba6-c052-407a-8599-c781a677a996" providerId="ADAL" clId="{7956FAC5-41A0-4609-A911-62C4A829A2C4}" dt="2021-12-08T15:17:14.863" v="119" actId="47"/>
        <pc:sldMkLst>
          <pc:docMk/>
          <pc:sldMk cId="4010697748" sldId="740"/>
        </pc:sldMkLst>
      </pc:sldChg>
      <pc:sldChg chg="modSp del mod">
        <pc:chgData name="Koksrud Andreas" userId="9d9beba6-c052-407a-8599-c781a677a996" providerId="ADAL" clId="{7956FAC5-41A0-4609-A911-62C4A829A2C4}" dt="2021-12-08T15:19:19.769" v="193" actId="47"/>
        <pc:sldMkLst>
          <pc:docMk/>
          <pc:sldMk cId="2876860209" sldId="741"/>
        </pc:sldMkLst>
        <pc:spChg chg="mod">
          <ac:chgData name="Koksrud Andreas" userId="9d9beba6-c052-407a-8599-c781a677a996" providerId="ADAL" clId="{7956FAC5-41A0-4609-A911-62C4A829A2C4}" dt="2021-12-08T15:18:04.780" v="149" actId="20577"/>
          <ac:spMkLst>
            <pc:docMk/>
            <pc:sldMk cId="2876860209" sldId="741"/>
            <ac:spMk id="126" creationId="{BD2D9D3E-0A1E-4AC3-979E-48547F484027}"/>
          </ac:spMkLst>
        </pc:spChg>
        <pc:spChg chg="mod">
          <ac:chgData name="Koksrud Andreas" userId="9d9beba6-c052-407a-8599-c781a677a996" providerId="ADAL" clId="{7956FAC5-41A0-4609-A911-62C4A829A2C4}" dt="2021-12-08T15:17:57.781" v="134" actId="20577"/>
          <ac:spMkLst>
            <pc:docMk/>
            <pc:sldMk cId="2876860209" sldId="741"/>
            <ac:spMk id="180" creationId="{00000000-0000-0000-0000-000000000000}"/>
          </ac:spMkLst>
        </pc:spChg>
        <pc:spChg chg="mod">
          <ac:chgData name="Koksrud Andreas" userId="9d9beba6-c052-407a-8599-c781a677a996" providerId="ADAL" clId="{7956FAC5-41A0-4609-A911-62C4A829A2C4}" dt="2021-12-08T15:18:15.143" v="159" actId="20577"/>
          <ac:spMkLst>
            <pc:docMk/>
            <pc:sldMk cId="2876860209" sldId="741"/>
            <ac:spMk id="181" creationId="{00000000-0000-0000-0000-000000000000}"/>
          </ac:spMkLst>
        </pc:spChg>
      </pc:sldChg>
      <pc:sldChg chg="del">
        <pc:chgData name="Koksrud Andreas" userId="9d9beba6-c052-407a-8599-c781a677a996" providerId="ADAL" clId="{7956FAC5-41A0-4609-A911-62C4A829A2C4}" dt="2021-12-08T15:17:40.438" v="124" actId="47"/>
        <pc:sldMkLst>
          <pc:docMk/>
          <pc:sldMk cId="587894895" sldId="742"/>
        </pc:sldMkLst>
      </pc:sldChg>
      <pc:sldChg chg="add del">
        <pc:chgData name="Koksrud Andreas" userId="9d9beba6-c052-407a-8599-c781a677a996" providerId="ADAL" clId="{7956FAC5-41A0-4609-A911-62C4A829A2C4}" dt="2021-12-08T15:19:20.021" v="194" actId="47"/>
        <pc:sldMkLst>
          <pc:docMk/>
          <pc:sldMk cId="2943518614" sldId="742"/>
        </pc:sldMkLst>
      </pc:sldChg>
      <pc:sldChg chg="add del">
        <pc:chgData name="Koksrud Andreas" userId="9d9beba6-c052-407a-8599-c781a677a996" providerId="ADAL" clId="{7956FAC5-41A0-4609-A911-62C4A829A2C4}" dt="2021-12-08T15:19:20.605" v="195" actId="47"/>
        <pc:sldMkLst>
          <pc:docMk/>
          <pc:sldMk cId="4262138407" sldId="743"/>
        </pc:sldMkLst>
      </pc:sldChg>
      <pc:sldChg chg="add del">
        <pc:chgData name="Koksrud Andreas" userId="9d9beba6-c052-407a-8599-c781a677a996" providerId="ADAL" clId="{7956FAC5-41A0-4609-A911-62C4A829A2C4}" dt="2021-12-08T15:19:20.829" v="196" actId="47"/>
        <pc:sldMkLst>
          <pc:docMk/>
          <pc:sldMk cId="1225091722" sldId="744"/>
        </pc:sldMkLst>
      </pc:sldChg>
      <pc:sldChg chg="add del">
        <pc:chgData name="Koksrud Andreas" userId="9d9beba6-c052-407a-8599-c781a677a996" providerId="ADAL" clId="{7956FAC5-41A0-4609-A911-62C4A829A2C4}" dt="2021-12-08T15:19:21.054" v="197" actId="47"/>
        <pc:sldMkLst>
          <pc:docMk/>
          <pc:sldMk cId="550561932" sldId="745"/>
        </pc:sldMkLst>
      </pc:sldChg>
      <pc:sldChg chg="add del">
        <pc:chgData name="Koksrud Andreas" userId="9d9beba6-c052-407a-8599-c781a677a996" providerId="ADAL" clId="{7956FAC5-41A0-4609-A911-62C4A829A2C4}" dt="2021-12-08T15:19:21.228" v="198" actId="47"/>
        <pc:sldMkLst>
          <pc:docMk/>
          <pc:sldMk cId="1761088982" sldId="746"/>
        </pc:sldMkLst>
      </pc:sldChg>
      <pc:sldChg chg="add del">
        <pc:chgData name="Koksrud Andreas" userId="9d9beba6-c052-407a-8599-c781a677a996" providerId="ADAL" clId="{7956FAC5-41A0-4609-A911-62C4A829A2C4}" dt="2021-12-08T15:19:21.638" v="199" actId="47"/>
        <pc:sldMkLst>
          <pc:docMk/>
          <pc:sldMk cId="871342142" sldId="747"/>
        </pc:sldMkLst>
      </pc:sldChg>
      <pc:sldChg chg="add del">
        <pc:chgData name="Koksrud Andreas" userId="9d9beba6-c052-407a-8599-c781a677a996" providerId="ADAL" clId="{7956FAC5-41A0-4609-A911-62C4A829A2C4}" dt="2021-12-08T15:19:22.001" v="200" actId="47"/>
        <pc:sldMkLst>
          <pc:docMk/>
          <pc:sldMk cId="854509214" sldId="748"/>
        </pc:sldMkLst>
      </pc:sldChg>
      <pc:sldChg chg="add del">
        <pc:chgData name="Koksrud Andreas" userId="9d9beba6-c052-407a-8599-c781a677a996" providerId="ADAL" clId="{7956FAC5-41A0-4609-A911-62C4A829A2C4}" dt="2021-12-08T15:19:22.293" v="201" actId="47"/>
        <pc:sldMkLst>
          <pc:docMk/>
          <pc:sldMk cId="1868890099" sldId="749"/>
        </pc:sldMkLst>
      </pc:sldChg>
      <pc:sldChg chg="add del">
        <pc:chgData name="Koksrud Andreas" userId="9d9beba6-c052-407a-8599-c781a677a996" providerId="ADAL" clId="{7956FAC5-41A0-4609-A911-62C4A829A2C4}" dt="2021-12-08T15:19:22.722" v="202" actId="47"/>
        <pc:sldMkLst>
          <pc:docMk/>
          <pc:sldMk cId="1906560191" sldId="750"/>
        </pc:sldMkLst>
      </pc:sldChg>
      <pc:sldChg chg="add del">
        <pc:chgData name="Koksrud Andreas" userId="9d9beba6-c052-407a-8599-c781a677a996" providerId="ADAL" clId="{7956FAC5-41A0-4609-A911-62C4A829A2C4}" dt="2021-12-08T15:19:23.008" v="203" actId="47"/>
        <pc:sldMkLst>
          <pc:docMk/>
          <pc:sldMk cId="984105003" sldId="751"/>
        </pc:sldMkLst>
      </pc:sldChg>
      <pc:sldChg chg="add del">
        <pc:chgData name="Koksrud Andreas" userId="9d9beba6-c052-407a-8599-c781a677a996" providerId="ADAL" clId="{7956FAC5-41A0-4609-A911-62C4A829A2C4}" dt="2021-12-08T15:19:23.372" v="204" actId="47"/>
        <pc:sldMkLst>
          <pc:docMk/>
          <pc:sldMk cId="73400914" sldId="752"/>
        </pc:sldMkLst>
      </pc:sldChg>
      <pc:sldChg chg="add del">
        <pc:chgData name="Koksrud Andreas" userId="9d9beba6-c052-407a-8599-c781a677a996" providerId="ADAL" clId="{7956FAC5-41A0-4609-A911-62C4A829A2C4}" dt="2021-12-08T15:19:23.713" v="205" actId="47"/>
        <pc:sldMkLst>
          <pc:docMk/>
          <pc:sldMk cId="1061761218" sldId="753"/>
        </pc:sldMkLst>
      </pc:sldChg>
      <pc:sldChg chg="add del">
        <pc:chgData name="Koksrud Andreas" userId="9d9beba6-c052-407a-8599-c781a677a996" providerId="ADAL" clId="{7956FAC5-41A0-4609-A911-62C4A829A2C4}" dt="2021-12-08T15:19:23.927" v="206" actId="47"/>
        <pc:sldMkLst>
          <pc:docMk/>
          <pc:sldMk cId="3301308958" sldId="754"/>
        </pc:sldMkLst>
      </pc:sldChg>
      <pc:sldChg chg="add del">
        <pc:chgData name="Koksrud Andreas" userId="9d9beba6-c052-407a-8599-c781a677a996" providerId="ADAL" clId="{7956FAC5-41A0-4609-A911-62C4A829A2C4}" dt="2021-12-08T15:19:24.697" v="207" actId="47"/>
        <pc:sldMkLst>
          <pc:docMk/>
          <pc:sldMk cId="1916156686" sldId="755"/>
        </pc:sldMkLst>
      </pc:sldChg>
      <pc:sldChg chg="addSp delSp modSp add mod ord">
        <pc:chgData name="Koksrud Andreas" userId="9d9beba6-c052-407a-8599-c781a677a996" providerId="ADAL" clId="{7956FAC5-41A0-4609-A911-62C4A829A2C4}" dt="2021-12-08T15:22:13.261" v="567" actId="20577"/>
        <pc:sldMkLst>
          <pc:docMk/>
          <pc:sldMk cId="662028914" sldId="756"/>
        </pc:sldMkLst>
        <pc:spChg chg="add del mod">
          <ac:chgData name="Koksrud Andreas" userId="9d9beba6-c052-407a-8599-c781a677a996" providerId="ADAL" clId="{7956FAC5-41A0-4609-A911-62C4A829A2C4}" dt="2021-12-08T15:19:10.581" v="191" actId="478"/>
          <ac:spMkLst>
            <pc:docMk/>
            <pc:sldMk cId="662028914" sldId="756"/>
            <ac:spMk id="3" creationId="{EDD438C6-BD97-4B78-BD93-F1793E7AB559}"/>
          </ac:spMkLst>
        </pc:spChg>
        <pc:spChg chg="del">
          <ac:chgData name="Koksrud Andreas" userId="9d9beba6-c052-407a-8599-c781a677a996" providerId="ADAL" clId="{7956FAC5-41A0-4609-A911-62C4A829A2C4}" dt="2021-12-08T15:19:09.091" v="190" actId="478"/>
          <ac:spMkLst>
            <pc:docMk/>
            <pc:sldMk cId="662028914" sldId="756"/>
            <ac:spMk id="126" creationId="{BD2D9D3E-0A1E-4AC3-979E-48547F484027}"/>
          </ac:spMkLst>
        </pc:spChg>
        <pc:spChg chg="mod">
          <ac:chgData name="Koksrud Andreas" userId="9d9beba6-c052-407a-8599-c781a677a996" providerId="ADAL" clId="{7956FAC5-41A0-4609-A911-62C4A829A2C4}" dt="2021-12-08T15:18:29.330" v="187" actId="20577"/>
          <ac:spMkLst>
            <pc:docMk/>
            <pc:sldMk cId="662028914" sldId="756"/>
            <ac:spMk id="180" creationId="{00000000-0000-0000-0000-000000000000}"/>
          </ac:spMkLst>
        </pc:spChg>
        <pc:spChg chg="mod">
          <ac:chgData name="Koksrud Andreas" userId="9d9beba6-c052-407a-8599-c781a677a996" providerId="ADAL" clId="{7956FAC5-41A0-4609-A911-62C4A829A2C4}" dt="2021-12-08T15:22:13.261" v="567" actId="20577"/>
          <ac:spMkLst>
            <pc:docMk/>
            <pc:sldMk cId="662028914" sldId="756"/>
            <ac:spMk id="181" creationId="{00000000-0000-0000-0000-000000000000}"/>
          </ac:spMkLst>
        </pc:spChg>
      </pc:sldChg>
      <pc:sldChg chg="modSp add mod">
        <pc:chgData name="Koksrud Andreas" userId="9d9beba6-c052-407a-8599-c781a677a996" providerId="ADAL" clId="{7956FAC5-41A0-4609-A911-62C4A829A2C4}" dt="2021-12-08T15:23:01.488" v="715" actId="20577"/>
        <pc:sldMkLst>
          <pc:docMk/>
          <pc:sldMk cId="396736890" sldId="757"/>
        </pc:sldMkLst>
        <pc:spChg chg="mod">
          <ac:chgData name="Koksrud Andreas" userId="9d9beba6-c052-407a-8599-c781a677a996" providerId="ADAL" clId="{7956FAC5-41A0-4609-A911-62C4A829A2C4}" dt="2021-12-08T15:22:43.141" v="610" actId="20577"/>
          <ac:spMkLst>
            <pc:docMk/>
            <pc:sldMk cId="396736890" sldId="757"/>
            <ac:spMk id="180" creationId="{00000000-0000-0000-0000-000000000000}"/>
          </ac:spMkLst>
        </pc:spChg>
        <pc:spChg chg="mod">
          <ac:chgData name="Koksrud Andreas" userId="9d9beba6-c052-407a-8599-c781a677a996" providerId="ADAL" clId="{7956FAC5-41A0-4609-A911-62C4A829A2C4}" dt="2021-12-08T15:23:01.488" v="715" actId="20577"/>
          <ac:spMkLst>
            <pc:docMk/>
            <pc:sldMk cId="396736890" sldId="757"/>
            <ac:spMk id="181" creationId="{00000000-0000-0000-0000-000000000000}"/>
          </ac:spMkLst>
        </pc:spChg>
      </pc:sldChg>
      <pc:sldChg chg="modSp add mod">
        <pc:chgData name="Koksrud Andreas" userId="9d9beba6-c052-407a-8599-c781a677a996" providerId="ADAL" clId="{7956FAC5-41A0-4609-A911-62C4A829A2C4}" dt="2021-12-08T15:26:06.674" v="1273" actId="20577"/>
        <pc:sldMkLst>
          <pc:docMk/>
          <pc:sldMk cId="2706780473" sldId="758"/>
        </pc:sldMkLst>
        <pc:spChg chg="mod">
          <ac:chgData name="Koksrud Andreas" userId="9d9beba6-c052-407a-8599-c781a677a996" providerId="ADAL" clId="{7956FAC5-41A0-4609-A911-62C4A829A2C4}" dt="2021-12-08T15:23:18.391" v="753" actId="20577"/>
          <ac:spMkLst>
            <pc:docMk/>
            <pc:sldMk cId="2706780473" sldId="758"/>
            <ac:spMk id="180" creationId="{00000000-0000-0000-0000-000000000000}"/>
          </ac:spMkLst>
        </pc:spChg>
        <pc:spChg chg="mod">
          <ac:chgData name="Koksrud Andreas" userId="9d9beba6-c052-407a-8599-c781a677a996" providerId="ADAL" clId="{7956FAC5-41A0-4609-A911-62C4A829A2C4}" dt="2021-12-08T15:26:06.674" v="1273" actId="20577"/>
          <ac:spMkLst>
            <pc:docMk/>
            <pc:sldMk cId="2706780473" sldId="758"/>
            <ac:spMk id="181" creationId="{00000000-0000-0000-0000-000000000000}"/>
          </ac:spMkLst>
        </pc:spChg>
      </pc:sldChg>
      <pc:sldChg chg="modSp add mod">
        <pc:chgData name="Koksrud Andreas" userId="9d9beba6-c052-407a-8599-c781a677a996" providerId="ADAL" clId="{7956FAC5-41A0-4609-A911-62C4A829A2C4}" dt="2021-12-08T15:27:51.679" v="1670" actId="20577"/>
        <pc:sldMkLst>
          <pc:docMk/>
          <pc:sldMk cId="2616277657" sldId="759"/>
        </pc:sldMkLst>
        <pc:spChg chg="mod">
          <ac:chgData name="Koksrud Andreas" userId="9d9beba6-c052-407a-8599-c781a677a996" providerId="ADAL" clId="{7956FAC5-41A0-4609-A911-62C4A829A2C4}" dt="2021-12-08T15:26:25.173" v="1331" actId="20577"/>
          <ac:spMkLst>
            <pc:docMk/>
            <pc:sldMk cId="2616277657" sldId="759"/>
            <ac:spMk id="180" creationId="{00000000-0000-0000-0000-000000000000}"/>
          </ac:spMkLst>
        </pc:spChg>
        <pc:spChg chg="mod">
          <ac:chgData name="Koksrud Andreas" userId="9d9beba6-c052-407a-8599-c781a677a996" providerId="ADAL" clId="{7956FAC5-41A0-4609-A911-62C4A829A2C4}" dt="2021-12-08T15:27:51.679" v="1670" actId="20577"/>
          <ac:spMkLst>
            <pc:docMk/>
            <pc:sldMk cId="2616277657" sldId="759"/>
            <ac:spMk id="181" creationId="{00000000-0000-0000-0000-000000000000}"/>
          </ac:spMkLst>
        </pc:spChg>
      </pc:sldChg>
      <pc:sldChg chg="modSp add mod">
        <pc:chgData name="Koksrud Andreas" userId="9d9beba6-c052-407a-8599-c781a677a996" providerId="ADAL" clId="{7956FAC5-41A0-4609-A911-62C4A829A2C4}" dt="2021-12-08T15:28:24.282" v="1753" actId="20577"/>
        <pc:sldMkLst>
          <pc:docMk/>
          <pc:sldMk cId="1725751202" sldId="760"/>
        </pc:sldMkLst>
        <pc:spChg chg="mod">
          <ac:chgData name="Koksrud Andreas" userId="9d9beba6-c052-407a-8599-c781a677a996" providerId="ADAL" clId="{7956FAC5-41A0-4609-A911-62C4A829A2C4}" dt="2021-12-08T15:28:17.934" v="1723" actId="20577"/>
          <ac:spMkLst>
            <pc:docMk/>
            <pc:sldMk cId="1725751202" sldId="760"/>
            <ac:spMk id="180" creationId="{00000000-0000-0000-0000-000000000000}"/>
          </ac:spMkLst>
        </pc:spChg>
        <pc:spChg chg="mod">
          <ac:chgData name="Koksrud Andreas" userId="9d9beba6-c052-407a-8599-c781a677a996" providerId="ADAL" clId="{7956FAC5-41A0-4609-A911-62C4A829A2C4}" dt="2021-12-08T15:28:24.282" v="1753" actId="20577"/>
          <ac:spMkLst>
            <pc:docMk/>
            <pc:sldMk cId="1725751202" sldId="760"/>
            <ac:spMk id="181" creationId="{00000000-0000-0000-0000-000000000000}"/>
          </ac:spMkLst>
        </pc:spChg>
      </pc:sldChg>
      <pc:sldChg chg="modSp add mod">
        <pc:chgData name="Koksrud Andreas" userId="9d9beba6-c052-407a-8599-c781a677a996" providerId="ADAL" clId="{7956FAC5-41A0-4609-A911-62C4A829A2C4}" dt="2021-12-08T15:31:06.211" v="2127" actId="20577"/>
        <pc:sldMkLst>
          <pc:docMk/>
          <pc:sldMk cId="1019764475" sldId="761"/>
        </pc:sldMkLst>
        <pc:spChg chg="mod">
          <ac:chgData name="Koksrud Andreas" userId="9d9beba6-c052-407a-8599-c781a677a996" providerId="ADAL" clId="{7956FAC5-41A0-4609-A911-62C4A829A2C4}" dt="2021-12-08T15:29:56.837" v="1881" actId="20577"/>
          <ac:spMkLst>
            <pc:docMk/>
            <pc:sldMk cId="1019764475" sldId="761"/>
            <ac:spMk id="180" creationId="{00000000-0000-0000-0000-000000000000}"/>
          </ac:spMkLst>
        </pc:spChg>
        <pc:spChg chg="mod">
          <ac:chgData name="Koksrud Andreas" userId="9d9beba6-c052-407a-8599-c781a677a996" providerId="ADAL" clId="{7956FAC5-41A0-4609-A911-62C4A829A2C4}" dt="2021-12-08T15:31:06.211" v="2127" actId="20577"/>
          <ac:spMkLst>
            <pc:docMk/>
            <pc:sldMk cId="1019764475" sldId="761"/>
            <ac:spMk id="181" creationId="{00000000-0000-0000-0000-000000000000}"/>
          </ac:spMkLst>
        </pc:spChg>
      </pc:sldChg>
      <pc:sldChg chg="modSp add mod">
        <pc:chgData name="Koksrud Andreas" userId="9d9beba6-c052-407a-8599-c781a677a996" providerId="ADAL" clId="{7956FAC5-41A0-4609-A911-62C4A829A2C4}" dt="2021-12-08T15:46:10.481" v="2512" actId="20577"/>
        <pc:sldMkLst>
          <pc:docMk/>
          <pc:sldMk cId="451449259" sldId="762"/>
        </pc:sldMkLst>
        <pc:spChg chg="mod">
          <ac:chgData name="Koksrud Andreas" userId="9d9beba6-c052-407a-8599-c781a677a996" providerId="ADAL" clId="{7956FAC5-41A0-4609-A911-62C4A829A2C4}" dt="2021-12-08T15:45:38.550" v="2422" actId="20577"/>
          <ac:spMkLst>
            <pc:docMk/>
            <pc:sldMk cId="451449259" sldId="762"/>
            <ac:spMk id="180" creationId="{00000000-0000-0000-0000-000000000000}"/>
          </ac:spMkLst>
        </pc:spChg>
        <pc:spChg chg="mod">
          <ac:chgData name="Koksrud Andreas" userId="9d9beba6-c052-407a-8599-c781a677a996" providerId="ADAL" clId="{7956FAC5-41A0-4609-A911-62C4A829A2C4}" dt="2021-12-08T15:46:10.481" v="2512" actId="20577"/>
          <ac:spMkLst>
            <pc:docMk/>
            <pc:sldMk cId="451449259" sldId="762"/>
            <ac:spMk id="181" creationId="{00000000-0000-0000-0000-000000000000}"/>
          </ac:spMkLst>
        </pc:spChg>
      </pc:sldChg>
      <pc:sldChg chg="modSp add mod">
        <pc:chgData name="Koksrud Andreas" userId="9d9beba6-c052-407a-8599-c781a677a996" providerId="ADAL" clId="{7956FAC5-41A0-4609-A911-62C4A829A2C4}" dt="2021-12-15T14:47:37.279" v="4058" actId="20577"/>
        <pc:sldMkLst>
          <pc:docMk/>
          <pc:sldMk cId="1523800458" sldId="763"/>
        </pc:sldMkLst>
        <pc:spChg chg="mod">
          <ac:chgData name="Koksrud Andreas" userId="9d9beba6-c052-407a-8599-c781a677a996" providerId="ADAL" clId="{7956FAC5-41A0-4609-A911-62C4A829A2C4}" dt="2021-12-15T14:47:37.279" v="4058" actId="20577"/>
          <ac:spMkLst>
            <pc:docMk/>
            <pc:sldMk cId="1523800458" sldId="763"/>
            <ac:spMk id="180" creationId="{00000000-0000-0000-0000-000000000000}"/>
          </ac:spMkLst>
        </pc:spChg>
        <pc:spChg chg="mod">
          <ac:chgData name="Koksrud Andreas" userId="9d9beba6-c052-407a-8599-c781a677a996" providerId="ADAL" clId="{7956FAC5-41A0-4609-A911-62C4A829A2C4}" dt="2021-12-09T11:55:09.861" v="2557" actId="20577"/>
          <ac:spMkLst>
            <pc:docMk/>
            <pc:sldMk cId="1523800458" sldId="763"/>
            <ac:spMk id="181" creationId="{00000000-0000-0000-0000-000000000000}"/>
          </ac:spMkLst>
        </pc:spChg>
      </pc:sldChg>
      <pc:sldChg chg="modSp add mod">
        <pc:chgData name="Koksrud Andreas" userId="9d9beba6-c052-407a-8599-c781a677a996" providerId="ADAL" clId="{7956FAC5-41A0-4609-A911-62C4A829A2C4}" dt="2021-12-08T15:29:40.970" v="1858" actId="20577"/>
        <pc:sldMkLst>
          <pc:docMk/>
          <pc:sldMk cId="1963101599" sldId="764"/>
        </pc:sldMkLst>
        <pc:spChg chg="mod">
          <ac:chgData name="Koksrud Andreas" userId="9d9beba6-c052-407a-8599-c781a677a996" providerId="ADAL" clId="{7956FAC5-41A0-4609-A911-62C4A829A2C4}" dt="2021-12-08T15:29:40.970" v="1858" actId="20577"/>
          <ac:spMkLst>
            <pc:docMk/>
            <pc:sldMk cId="1963101599" sldId="764"/>
            <ac:spMk id="181" creationId="{00000000-0000-0000-0000-000000000000}"/>
          </ac:spMkLst>
        </pc:spChg>
      </pc:sldChg>
      <pc:sldChg chg="modSp add mod">
        <pc:chgData name="Koksrud Andreas" userId="9d9beba6-c052-407a-8599-c781a677a996" providerId="ADAL" clId="{7956FAC5-41A0-4609-A911-62C4A829A2C4}" dt="2021-12-08T15:46:35.006" v="2523" actId="20577"/>
        <pc:sldMkLst>
          <pc:docMk/>
          <pc:sldMk cId="1133620909" sldId="765"/>
        </pc:sldMkLst>
        <pc:spChg chg="mod">
          <ac:chgData name="Koksrud Andreas" userId="9d9beba6-c052-407a-8599-c781a677a996" providerId="ADAL" clId="{7956FAC5-41A0-4609-A911-62C4A829A2C4}" dt="2021-12-08T15:46:35.006" v="2523" actId="20577"/>
          <ac:spMkLst>
            <pc:docMk/>
            <pc:sldMk cId="1133620909" sldId="765"/>
            <ac:spMk id="181" creationId="{00000000-0000-0000-0000-000000000000}"/>
          </ac:spMkLst>
        </pc:spChg>
      </pc:sldChg>
      <pc:sldChg chg="modSp add mod ord">
        <pc:chgData name="Koksrud Andreas" userId="9d9beba6-c052-407a-8599-c781a677a996" providerId="ADAL" clId="{7956FAC5-41A0-4609-A911-62C4A829A2C4}" dt="2021-12-15T14:40:35.627" v="3201" actId="20577"/>
        <pc:sldMkLst>
          <pc:docMk/>
          <pc:sldMk cId="2033200031" sldId="766"/>
        </pc:sldMkLst>
        <pc:spChg chg="mod">
          <ac:chgData name="Koksrud Andreas" userId="9d9beba6-c052-407a-8599-c781a677a996" providerId="ADAL" clId="{7956FAC5-41A0-4609-A911-62C4A829A2C4}" dt="2021-12-15T14:40:35.627" v="3201" actId="20577"/>
          <ac:spMkLst>
            <pc:docMk/>
            <pc:sldMk cId="2033200031" sldId="766"/>
            <ac:spMk id="180" creationId="{00000000-0000-0000-0000-000000000000}"/>
          </ac:spMkLst>
        </pc:spChg>
        <pc:spChg chg="mod">
          <ac:chgData name="Koksrud Andreas" userId="9d9beba6-c052-407a-8599-c781a677a996" providerId="ADAL" clId="{7956FAC5-41A0-4609-A911-62C4A829A2C4}" dt="2021-12-15T14:40:13.574" v="3173" actId="20577"/>
          <ac:spMkLst>
            <pc:docMk/>
            <pc:sldMk cId="2033200031" sldId="766"/>
            <ac:spMk id="181" creationId="{00000000-0000-0000-0000-000000000000}"/>
          </ac:spMkLst>
        </pc:spChg>
      </pc:sldChg>
      <pc:sldChg chg="modSp add mod">
        <pc:chgData name="Koksrud Andreas" userId="9d9beba6-c052-407a-8599-c781a677a996" providerId="ADAL" clId="{7956FAC5-41A0-4609-A911-62C4A829A2C4}" dt="2021-12-14T14:02:35.219" v="2743" actId="20577"/>
        <pc:sldMkLst>
          <pc:docMk/>
          <pc:sldMk cId="3428711004" sldId="767"/>
        </pc:sldMkLst>
        <pc:spChg chg="mod">
          <ac:chgData name="Koksrud Andreas" userId="9d9beba6-c052-407a-8599-c781a677a996" providerId="ADAL" clId="{7956FAC5-41A0-4609-A911-62C4A829A2C4}" dt="2021-12-14T14:02:35.219" v="2743" actId="20577"/>
          <ac:spMkLst>
            <pc:docMk/>
            <pc:sldMk cId="3428711004" sldId="767"/>
            <ac:spMk id="181" creationId="{00000000-0000-0000-0000-000000000000}"/>
          </ac:spMkLst>
        </pc:spChg>
      </pc:sldChg>
      <pc:sldChg chg="modSp add mod">
        <pc:chgData name="Koksrud Andreas" userId="9d9beba6-c052-407a-8599-c781a677a996" providerId="ADAL" clId="{7956FAC5-41A0-4609-A911-62C4A829A2C4}" dt="2021-12-14T14:03:23.014" v="2914" actId="20577"/>
        <pc:sldMkLst>
          <pc:docMk/>
          <pc:sldMk cId="1456486215" sldId="768"/>
        </pc:sldMkLst>
        <pc:spChg chg="mod">
          <ac:chgData name="Koksrud Andreas" userId="9d9beba6-c052-407a-8599-c781a677a996" providerId="ADAL" clId="{7956FAC5-41A0-4609-A911-62C4A829A2C4}" dt="2021-12-14T14:03:23.014" v="2914" actId="20577"/>
          <ac:spMkLst>
            <pc:docMk/>
            <pc:sldMk cId="1456486215" sldId="768"/>
            <ac:spMk id="181" creationId="{00000000-0000-0000-0000-000000000000}"/>
          </ac:spMkLst>
        </pc:spChg>
      </pc:sldChg>
      <pc:sldChg chg="modSp add mod">
        <pc:chgData name="Koksrud Andreas" userId="9d9beba6-c052-407a-8599-c781a677a996" providerId="ADAL" clId="{7956FAC5-41A0-4609-A911-62C4A829A2C4}" dt="2021-12-15T14:41:34.771" v="3300" actId="20577"/>
        <pc:sldMkLst>
          <pc:docMk/>
          <pc:sldMk cId="1313933673" sldId="769"/>
        </pc:sldMkLst>
        <pc:spChg chg="mod">
          <ac:chgData name="Koksrud Andreas" userId="9d9beba6-c052-407a-8599-c781a677a996" providerId="ADAL" clId="{7956FAC5-41A0-4609-A911-62C4A829A2C4}" dt="2021-12-15T14:40:40.665" v="3218" actId="20577"/>
          <ac:spMkLst>
            <pc:docMk/>
            <pc:sldMk cId="1313933673" sldId="769"/>
            <ac:spMk id="180" creationId="{00000000-0000-0000-0000-000000000000}"/>
          </ac:spMkLst>
        </pc:spChg>
        <pc:spChg chg="mod">
          <ac:chgData name="Koksrud Andreas" userId="9d9beba6-c052-407a-8599-c781a677a996" providerId="ADAL" clId="{7956FAC5-41A0-4609-A911-62C4A829A2C4}" dt="2021-12-15T14:41:34.771" v="3300" actId="20577"/>
          <ac:spMkLst>
            <pc:docMk/>
            <pc:sldMk cId="1313933673" sldId="769"/>
            <ac:spMk id="181" creationId="{00000000-0000-0000-0000-000000000000}"/>
          </ac:spMkLst>
        </pc:spChg>
      </pc:sldChg>
      <pc:sldChg chg="modSp add mod">
        <pc:chgData name="Koksrud Andreas" userId="9d9beba6-c052-407a-8599-c781a677a996" providerId="ADAL" clId="{7956FAC5-41A0-4609-A911-62C4A829A2C4}" dt="2021-12-15T14:43:40.489" v="3492" actId="20577"/>
        <pc:sldMkLst>
          <pc:docMk/>
          <pc:sldMk cId="284321844" sldId="770"/>
        </pc:sldMkLst>
        <pc:spChg chg="mod">
          <ac:chgData name="Koksrud Andreas" userId="9d9beba6-c052-407a-8599-c781a677a996" providerId="ADAL" clId="{7956FAC5-41A0-4609-A911-62C4A829A2C4}" dt="2021-12-15T14:41:47.673" v="3326" actId="20577"/>
          <ac:spMkLst>
            <pc:docMk/>
            <pc:sldMk cId="284321844" sldId="770"/>
            <ac:spMk id="180" creationId="{00000000-0000-0000-0000-000000000000}"/>
          </ac:spMkLst>
        </pc:spChg>
        <pc:spChg chg="mod">
          <ac:chgData name="Koksrud Andreas" userId="9d9beba6-c052-407a-8599-c781a677a996" providerId="ADAL" clId="{7956FAC5-41A0-4609-A911-62C4A829A2C4}" dt="2021-12-15T14:43:40.489" v="3492" actId="20577"/>
          <ac:spMkLst>
            <pc:docMk/>
            <pc:sldMk cId="284321844" sldId="770"/>
            <ac:spMk id="181" creationId="{00000000-0000-0000-0000-000000000000}"/>
          </ac:spMkLst>
        </pc:spChg>
      </pc:sldChg>
      <pc:sldChg chg="modSp add mod">
        <pc:chgData name="Koksrud Andreas" userId="9d9beba6-c052-407a-8599-c781a677a996" providerId="ADAL" clId="{7956FAC5-41A0-4609-A911-62C4A829A2C4}" dt="2021-12-15T14:44:15.258" v="3612" actId="20577"/>
        <pc:sldMkLst>
          <pc:docMk/>
          <pc:sldMk cId="3521944309" sldId="771"/>
        </pc:sldMkLst>
        <pc:spChg chg="mod">
          <ac:chgData name="Koksrud Andreas" userId="9d9beba6-c052-407a-8599-c781a677a996" providerId="ADAL" clId="{7956FAC5-41A0-4609-A911-62C4A829A2C4}" dt="2021-12-15T14:43:59.377" v="3521" actId="20577"/>
          <ac:spMkLst>
            <pc:docMk/>
            <pc:sldMk cId="3521944309" sldId="771"/>
            <ac:spMk id="180" creationId="{00000000-0000-0000-0000-000000000000}"/>
          </ac:spMkLst>
        </pc:spChg>
        <pc:spChg chg="mod">
          <ac:chgData name="Koksrud Andreas" userId="9d9beba6-c052-407a-8599-c781a677a996" providerId="ADAL" clId="{7956FAC5-41A0-4609-A911-62C4A829A2C4}" dt="2021-12-15T14:44:15.258" v="3612" actId="20577"/>
          <ac:spMkLst>
            <pc:docMk/>
            <pc:sldMk cId="3521944309" sldId="771"/>
            <ac:spMk id="181" creationId="{00000000-0000-0000-0000-000000000000}"/>
          </ac:spMkLst>
        </pc:spChg>
      </pc:sldChg>
      <pc:sldChg chg="modSp add mod">
        <pc:chgData name="Koksrud Andreas" userId="9d9beba6-c052-407a-8599-c781a677a996" providerId="ADAL" clId="{7956FAC5-41A0-4609-A911-62C4A829A2C4}" dt="2021-12-15T14:45:23.726" v="3697" actId="20577"/>
        <pc:sldMkLst>
          <pc:docMk/>
          <pc:sldMk cId="4174575932" sldId="772"/>
        </pc:sldMkLst>
        <pc:spChg chg="mod">
          <ac:chgData name="Koksrud Andreas" userId="9d9beba6-c052-407a-8599-c781a677a996" providerId="ADAL" clId="{7956FAC5-41A0-4609-A911-62C4A829A2C4}" dt="2021-12-15T14:44:51.485" v="3638" actId="20577"/>
          <ac:spMkLst>
            <pc:docMk/>
            <pc:sldMk cId="4174575932" sldId="772"/>
            <ac:spMk id="180" creationId="{00000000-0000-0000-0000-000000000000}"/>
          </ac:spMkLst>
        </pc:spChg>
        <pc:spChg chg="mod">
          <ac:chgData name="Koksrud Andreas" userId="9d9beba6-c052-407a-8599-c781a677a996" providerId="ADAL" clId="{7956FAC5-41A0-4609-A911-62C4A829A2C4}" dt="2021-12-15T14:45:23.726" v="3697" actId="20577"/>
          <ac:spMkLst>
            <pc:docMk/>
            <pc:sldMk cId="4174575932" sldId="772"/>
            <ac:spMk id="181" creationId="{00000000-0000-0000-0000-000000000000}"/>
          </ac:spMkLst>
        </pc:spChg>
      </pc:sldChg>
      <pc:sldChg chg="modSp add mod">
        <pc:chgData name="Koksrud Andreas" userId="9d9beba6-c052-407a-8599-c781a677a996" providerId="ADAL" clId="{7956FAC5-41A0-4609-A911-62C4A829A2C4}" dt="2021-12-15T14:46:08.884" v="3875" actId="20577"/>
        <pc:sldMkLst>
          <pc:docMk/>
          <pc:sldMk cId="1893841773" sldId="773"/>
        </pc:sldMkLst>
        <pc:spChg chg="mod">
          <ac:chgData name="Koksrud Andreas" userId="9d9beba6-c052-407a-8599-c781a677a996" providerId="ADAL" clId="{7956FAC5-41A0-4609-A911-62C4A829A2C4}" dt="2021-12-15T14:45:29.951" v="3718" actId="20577"/>
          <ac:spMkLst>
            <pc:docMk/>
            <pc:sldMk cId="1893841773" sldId="773"/>
            <ac:spMk id="180" creationId="{00000000-0000-0000-0000-000000000000}"/>
          </ac:spMkLst>
        </pc:spChg>
        <pc:spChg chg="mod">
          <ac:chgData name="Koksrud Andreas" userId="9d9beba6-c052-407a-8599-c781a677a996" providerId="ADAL" clId="{7956FAC5-41A0-4609-A911-62C4A829A2C4}" dt="2021-12-15T14:46:08.884" v="3875" actId="20577"/>
          <ac:spMkLst>
            <pc:docMk/>
            <pc:sldMk cId="1893841773" sldId="773"/>
            <ac:spMk id="181" creationId="{00000000-0000-0000-0000-000000000000}"/>
          </ac:spMkLst>
        </pc:spChg>
      </pc:sldChg>
      <pc:sldChg chg="modSp add mod">
        <pc:chgData name="Koksrud Andreas" userId="9d9beba6-c052-407a-8599-c781a677a996" providerId="ADAL" clId="{7956FAC5-41A0-4609-A911-62C4A829A2C4}" dt="2021-12-15T14:46:43.879" v="3986" actId="20577"/>
        <pc:sldMkLst>
          <pc:docMk/>
          <pc:sldMk cId="1749779748" sldId="774"/>
        </pc:sldMkLst>
        <pc:spChg chg="mod">
          <ac:chgData name="Koksrud Andreas" userId="9d9beba6-c052-407a-8599-c781a677a996" providerId="ADAL" clId="{7956FAC5-41A0-4609-A911-62C4A829A2C4}" dt="2021-12-15T14:46:24.813" v="3886" actId="20577"/>
          <ac:spMkLst>
            <pc:docMk/>
            <pc:sldMk cId="1749779748" sldId="774"/>
            <ac:spMk id="180" creationId="{00000000-0000-0000-0000-000000000000}"/>
          </ac:spMkLst>
        </pc:spChg>
        <pc:spChg chg="mod">
          <ac:chgData name="Koksrud Andreas" userId="9d9beba6-c052-407a-8599-c781a677a996" providerId="ADAL" clId="{7956FAC5-41A0-4609-A911-62C4A829A2C4}" dt="2021-12-15T14:46:43.879" v="3986" actId="20577"/>
          <ac:spMkLst>
            <pc:docMk/>
            <pc:sldMk cId="1749779748" sldId="774"/>
            <ac:spMk id="181" creationId="{00000000-0000-0000-0000-000000000000}"/>
          </ac:spMkLst>
        </pc:spChg>
      </pc:sldChg>
      <pc:sldChg chg="modSp add mod">
        <pc:chgData name="Koksrud Andreas" userId="9d9beba6-c052-407a-8599-c781a677a996" providerId="ADAL" clId="{7956FAC5-41A0-4609-A911-62C4A829A2C4}" dt="2021-12-15T14:47:22.096" v="4037" actId="20577"/>
        <pc:sldMkLst>
          <pc:docMk/>
          <pc:sldMk cId="2963068298" sldId="775"/>
        </pc:sldMkLst>
        <pc:spChg chg="mod">
          <ac:chgData name="Koksrud Andreas" userId="9d9beba6-c052-407a-8599-c781a677a996" providerId="ADAL" clId="{7956FAC5-41A0-4609-A911-62C4A829A2C4}" dt="2021-12-15T14:46:59.265" v="4025" actId="20577"/>
          <ac:spMkLst>
            <pc:docMk/>
            <pc:sldMk cId="2963068298" sldId="775"/>
            <ac:spMk id="180" creationId="{00000000-0000-0000-0000-000000000000}"/>
          </ac:spMkLst>
        </pc:spChg>
        <pc:spChg chg="mod">
          <ac:chgData name="Koksrud Andreas" userId="9d9beba6-c052-407a-8599-c781a677a996" providerId="ADAL" clId="{7956FAC5-41A0-4609-A911-62C4A829A2C4}" dt="2021-12-15T14:47:22.096" v="4037" actId="20577"/>
          <ac:spMkLst>
            <pc:docMk/>
            <pc:sldMk cId="2963068298" sldId="775"/>
            <ac:spMk id="181" creationId="{00000000-0000-0000-0000-000000000000}"/>
          </ac:spMkLst>
        </pc:spChg>
      </pc:sldChg>
      <pc:sldChg chg="modSp add mod">
        <pc:chgData name="Koksrud Andreas" userId="9d9beba6-c052-407a-8599-c781a677a996" providerId="ADAL" clId="{7956FAC5-41A0-4609-A911-62C4A829A2C4}" dt="2021-12-15T14:48:17.766" v="4119" actId="20577"/>
        <pc:sldMkLst>
          <pc:docMk/>
          <pc:sldMk cId="2831047971" sldId="776"/>
        </pc:sldMkLst>
        <pc:spChg chg="mod">
          <ac:chgData name="Koksrud Andreas" userId="9d9beba6-c052-407a-8599-c781a677a996" providerId="ADAL" clId="{7956FAC5-41A0-4609-A911-62C4A829A2C4}" dt="2021-12-15T14:48:14.934" v="4118" actId="20577"/>
          <ac:spMkLst>
            <pc:docMk/>
            <pc:sldMk cId="2831047971" sldId="776"/>
            <ac:spMk id="180" creationId="{00000000-0000-0000-0000-000000000000}"/>
          </ac:spMkLst>
        </pc:spChg>
        <pc:spChg chg="mod">
          <ac:chgData name="Koksrud Andreas" userId="9d9beba6-c052-407a-8599-c781a677a996" providerId="ADAL" clId="{7956FAC5-41A0-4609-A911-62C4A829A2C4}" dt="2021-12-15T14:48:17.766" v="4119" actId="20577"/>
          <ac:spMkLst>
            <pc:docMk/>
            <pc:sldMk cId="2831047971" sldId="776"/>
            <ac:spMk id="181" creationId="{00000000-0000-0000-0000-000000000000}"/>
          </ac:spMkLst>
        </pc:spChg>
      </pc:sldChg>
      <pc:sldChg chg="modSp add mod">
        <pc:chgData name="Koksrud Andreas" userId="9d9beba6-c052-407a-8599-c781a677a996" providerId="ADAL" clId="{7956FAC5-41A0-4609-A911-62C4A829A2C4}" dt="2021-12-15T14:48:31.545" v="4161" actId="20577"/>
        <pc:sldMkLst>
          <pc:docMk/>
          <pc:sldMk cId="1447749266" sldId="777"/>
        </pc:sldMkLst>
        <pc:spChg chg="mod">
          <ac:chgData name="Koksrud Andreas" userId="9d9beba6-c052-407a-8599-c781a677a996" providerId="ADAL" clId="{7956FAC5-41A0-4609-A911-62C4A829A2C4}" dt="2021-12-15T14:48:25.158" v="4134" actId="6549"/>
          <ac:spMkLst>
            <pc:docMk/>
            <pc:sldMk cId="1447749266" sldId="777"/>
            <ac:spMk id="180" creationId="{00000000-0000-0000-0000-000000000000}"/>
          </ac:spMkLst>
        </pc:spChg>
        <pc:spChg chg="mod">
          <ac:chgData name="Koksrud Andreas" userId="9d9beba6-c052-407a-8599-c781a677a996" providerId="ADAL" clId="{7956FAC5-41A0-4609-A911-62C4A829A2C4}" dt="2021-12-15T14:48:31.545" v="4161" actId="20577"/>
          <ac:spMkLst>
            <pc:docMk/>
            <pc:sldMk cId="1447749266" sldId="777"/>
            <ac:spMk id="181" creationId="{00000000-0000-0000-0000-000000000000}"/>
          </ac:spMkLst>
        </pc:spChg>
      </pc:sldChg>
      <pc:sldChg chg="modSp add mod">
        <pc:chgData name="Koksrud Andreas" userId="9d9beba6-c052-407a-8599-c781a677a996" providerId="ADAL" clId="{7956FAC5-41A0-4609-A911-62C4A829A2C4}" dt="2021-12-15T14:48:49.107" v="4189" actId="20577"/>
        <pc:sldMkLst>
          <pc:docMk/>
          <pc:sldMk cId="988087066" sldId="778"/>
        </pc:sldMkLst>
        <pc:spChg chg="mod">
          <ac:chgData name="Koksrud Andreas" userId="9d9beba6-c052-407a-8599-c781a677a996" providerId="ADAL" clId="{7956FAC5-41A0-4609-A911-62C4A829A2C4}" dt="2021-12-15T14:48:49.107" v="4189" actId="20577"/>
          <ac:spMkLst>
            <pc:docMk/>
            <pc:sldMk cId="988087066" sldId="778"/>
            <ac:spMk id="180" creationId="{00000000-0000-0000-0000-000000000000}"/>
          </ac:spMkLst>
        </pc:spChg>
      </pc:sldChg>
      <pc:sldChg chg="modSp add mod">
        <pc:chgData name="Koksrud Andreas" userId="9d9beba6-c052-407a-8599-c781a677a996" providerId="ADAL" clId="{7956FAC5-41A0-4609-A911-62C4A829A2C4}" dt="2021-12-15T14:49:01.169" v="4204" actId="20577"/>
        <pc:sldMkLst>
          <pc:docMk/>
          <pc:sldMk cId="286125317" sldId="779"/>
        </pc:sldMkLst>
        <pc:spChg chg="mod">
          <ac:chgData name="Koksrud Andreas" userId="9d9beba6-c052-407a-8599-c781a677a996" providerId="ADAL" clId="{7956FAC5-41A0-4609-A911-62C4A829A2C4}" dt="2021-12-15T14:49:01.169" v="4204" actId="20577"/>
          <ac:spMkLst>
            <pc:docMk/>
            <pc:sldMk cId="286125317" sldId="779"/>
            <ac:spMk id="180" creationId="{00000000-0000-0000-0000-000000000000}"/>
          </ac:spMkLst>
        </pc:spChg>
      </pc:sldChg>
      <pc:sldChg chg="modSp add mod">
        <pc:chgData name="Koksrud Andreas" userId="9d9beba6-c052-407a-8599-c781a677a996" providerId="ADAL" clId="{7956FAC5-41A0-4609-A911-62C4A829A2C4}" dt="2021-12-15T14:49:07.924" v="4235" actId="20577"/>
        <pc:sldMkLst>
          <pc:docMk/>
          <pc:sldMk cId="2127300312" sldId="780"/>
        </pc:sldMkLst>
        <pc:spChg chg="mod">
          <ac:chgData name="Koksrud Andreas" userId="9d9beba6-c052-407a-8599-c781a677a996" providerId="ADAL" clId="{7956FAC5-41A0-4609-A911-62C4A829A2C4}" dt="2021-12-15T14:49:07.924" v="4235" actId="20577"/>
          <ac:spMkLst>
            <pc:docMk/>
            <pc:sldMk cId="2127300312" sldId="780"/>
            <ac:spMk id="180" creationId="{00000000-0000-0000-0000-000000000000}"/>
          </ac:spMkLst>
        </pc:spChg>
      </pc:sldChg>
    </pc:docChg>
  </pc:docChgLst>
  <pc:docChgLst>
    <pc:chgData name="Koksrud Andreas" userId="9d9beba6-c052-407a-8599-c781a677a996" providerId="ADAL" clId="{03D60686-C1EE-406E-9930-E5E8C04507EA}"/>
    <pc:docChg chg="undo redo custSel addSld delSld modSld modSection">
      <pc:chgData name="Koksrud Andreas" userId="9d9beba6-c052-407a-8599-c781a677a996" providerId="ADAL" clId="{03D60686-C1EE-406E-9930-E5E8C04507EA}" dt="2022-10-12T19:24:40.890" v="123" actId="47"/>
      <pc:docMkLst>
        <pc:docMk/>
      </pc:docMkLst>
      <pc:sldChg chg="delSp mod">
        <pc:chgData name="Koksrud Andreas" userId="9d9beba6-c052-407a-8599-c781a677a996" providerId="ADAL" clId="{03D60686-C1EE-406E-9930-E5E8C04507EA}" dt="2022-10-12T19:24:32.602" v="121" actId="478"/>
        <pc:sldMkLst>
          <pc:docMk/>
          <pc:sldMk cId="0" sldId="269"/>
        </pc:sldMkLst>
        <pc:spChg chg="del">
          <ac:chgData name="Koksrud Andreas" userId="9d9beba6-c052-407a-8599-c781a677a996" providerId="ADAL" clId="{03D60686-C1EE-406E-9930-E5E8C04507EA}" dt="2022-10-12T19:24:32.602" v="121" actId="478"/>
          <ac:spMkLst>
            <pc:docMk/>
            <pc:sldMk cId="0" sldId="269"/>
            <ac:spMk id="107" creationId="{CC3A3BAC-B7F7-48CD-ADC9-D0EA5526CFAB}"/>
          </ac:spMkLst>
        </pc:spChg>
      </pc:sldChg>
      <pc:sldChg chg="modSp mod">
        <pc:chgData name="Koksrud Andreas" userId="9d9beba6-c052-407a-8599-c781a677a996" providerId="ADAL" clId="{03D60686-C1EE-406E-9930-E5E8C04507EA}" dt="2022-10-12T19:22:22.776" v="50" actId="20577"/>
        <pc:sldMkLst>
          <pc:docMk/>
          <pc:sldMk cId="697137886" sldId="679"/>
        </pc:sldMkLst>
        <pc:spChg chg="mod">
          <ac:chgData name="Koksrud Andreas" userId="9d9beba6-c052-407a-8599-c781a677a996" providerId="ADAL" clId="{03D60686-C1EE-406E-9930-E5E8C04507EA}" dt="2022-10-12T19:22:22.776" v="50" actId="20577"/>
          <ac:spMkLst>
            <pc:docMk/>
            <pc:sldMk cId="697137886" sldId="679"/>
            <ac:spMk id="2" creationId="{00000000-0000-0000-0000-000000000000}"/>
          </ac:spMkLst>
        </pc:spChg>
      </pc:sldChg>
      <pc:sldChg chg="delSp modSp mod">
        <pc:chgData name="Koksrud Andreas" userId="9d9beba6-c052-407a-8599-c781a677a996" providerId="ADAL" clId="{03D60686-C1EE-406E-9930-E5E8C04507EA}" dt="2022-10-12T19:23:55.331" v="120" actId="20577"/>
        <pc:sldMkLst>
          <pc:docMk/>
          <pc:sldMk cId="2087783305" sldId="730"/>
        </pc:sldMkLst>
        <pc:spChg chg="mod">
          <ac:chgData name="Koksrud Andreas" userId="9d9beba6-c052-407a-8599-c781a677a996" providerId="ADAL" clId="{03D60686-C1EE-406E-9930-E5E8C04507EA}" dt="2022-10-12T19:23:55.331" v="120" actId="20577"/>
          <ac:spMkLst>
            <pc:docMk/>
            <pc:sldMk cId="2087783305" sldId="730"/>
            <ac:spMk id="2" creationId="{E83F8947-299D-4698-B80E-56B8E23125F0}"/>
          </ac:spMkLst>
        </pc:spChg>
        <pc:spChg chg="mod">
          <ac:chgData name="Koksrud Andreas" userId="9d9beba6-c052-407a-8599-c781a677a996" providerId="ADAL" clId="{03D60686-C1EE-406E-9930-E5E8C04507EA}" dt="2022-10-12T19:22:42.253" v="81" actId="20577"/>
          <ac:spMkLst>
            <pc:docMk/>
            <pc:sldMk cId="2087783305" sldId="730"/>
            <ac:spMk id="8" creationId="{F6664A8B-FDC6-48AB-8C23-E58136970003}"/>
          </ac:spMkLst>
        </pc:spChg>
        <pc:spChg chg="del">
          <ac:chgData name="Koksrud Andreas" userId="9d9beba6-c052-407a-8599-c781a677a996" providerId="ADAL" clId="{03D60686-C1EE-406E-9930-E5E8C04507EA}" dt="2022-10-12T19:22:47.947" v="83" actId="478"/>
          <ac:spMkLst>
            <pc:docMk/>
            <pc:sldMk cId="2087783305" sldId="730"/>
            <ac:spMk id="11" creationId="{618A10C5-431B-4229-87F2-69FEAE5298F3}"/>
          </ac:spMkLst>
        </pc:spChg>
        <pc:spChg chg="del">
          <ac:chgData name="Koksrud Andreas" userId="9d9beba6-c052-407a-8599-c781a677a996" providerId="ADAL" clId="{03D60686-C1EE-406E-9930-E5E8C04507EA}" dt="2022-10-12T19:22:49.642" v="84" actId="478"/>
          <ac:spMkLst>
            <pc:docMk/>
            <pc:sldMk cId="2087783305" sldId="730"/>
            <ac:spMk id="12" creationId="{F4823D76-F745-416B-B271-20B77344DBD4}"/>
          </ac:spMkLst>
        </pc:spChg>
        <pc:spChg chg="del">
          <ac:chgData name="Koksrud Andreas" userId="9d9beba6-c052-407a-8599-c781a677a996" providerId="ADAL" clId="{03D60686-C1EE-406E-9930-E5E8C04507EA}" dt="2022-10-12T19:22:45.869" v="82" actId="478"/>
          <ac:spMkLst>
            <pc:docMk/>
            <pc:sldMk cId="2087783305" sldId="730"/>
            <ac:spMk id="13" creationId="{65A2EA35-6E56-4E08-BAAC-9895D08AD256}"/>
          </ac:spMkLst>
        </pc:spChg>
      </pc:sldChg>
      <pc:sldChg chg="add del">
        <pc:chgData name="Koksrud Andreas" userId="9d9beba6-c052-407a-8599-c781a677a996" providerId="ADAL" clId="{03D60686-C1EE-406E-9930-E5E8C04507EA}" dt="2022-10-12T19:24:40.890" v="123" actId="47"/>
        <pc:sldMkLst>
          <pc:docMk/>
          <pc:sldMk cId="286125317" sldId="779"/>
        </pc:sldMkLst>
      </pc:sldChg>
      <pc:sldChg chg="add">
        <pc:chgData name="Koksrud Andreas" userId="9d9beba6-c052-407a-8599-c781a677a996" providerId="ADAL" clId="{03D60686-C1EE-406E-9930-E5E8C04507EA}" dt="2022-10-12T19:22:31.302" v="51"/>
        <pc:sldMkLst>
          <pc:docMk/>
          <pc:sldMk cId="3764478461" sldId="795"/>
        </pc:sldMkLst>
      </pc:sldChg>
    </pc:docChg>
  </pc:docChgLst>
  <pc:docChgLst>
    <pc:chgData name="Kjetil Teigen Hansen (KTH)" userId="S::kth_conscia.com#ext#@telenorgroup.onmicrosoft.com::f8a0f255-21b8-4c53-aace-7d9a45a4c72e" providerId="AD" clId="Web-{0324D9E0-7ECC-C166-9C2D-CF9EDF84055E}"/>
    <pc:docChg chg="modSld">
      <pc:chgData name="Kjetil Teigen Hansen (KTH)" userId="S::kth_conscia.com#ext#@telenorgroup.onmicrosoft.com::f8a0f255-21b8-4c53-aace-7d9a45a4c72e" providerId="AD" clId="Web-{0324D9E0-7ECC-C166-9C2D-CF9EDF84055E}" dt="2024-09-12T19:53:44.941" v="6" actId="20577"/>
      <pc:docMkLst>
        <pc:docMk/>
      </pc:docMkLst>
      <pc:sldChg chg="modSp">
        <pc:chgData name="Kjetil Teigen Hansen (KTH)" userId="S::kth_conscia.com#ext#@telenorgroup.onmicrosoft.com::f8a0f255-21b8-4c53-aace-7d9a45a4c72e" providerId="AD" clId="Web-{0324D9E0-7ECC-C166-9C2D-CF9EDF84055E}" dt="2024-09-12T19:53:44.941" v="6" actId="20577"/>
        <pc:sldMkLst>
          <pc:docMk/>
          <pc:sldMk cId="2014202690" sldId="1030"/>
        </pc:sldMkLst>
        <pc:spChg chg="mod">
          <ac:chgData name="Kjetil Teigen Hansen (KTH)" userId="S::kth_conscia.com#ext#@telenorgroup.onmicrosoft.com::f8a0f255-21b8-4c53-aace-7d9a45a4c72e" providerId="AD" clId="Web-{0324D9E0-7ECC-C166-9C2D-CF9EDF84055E}" dt="2024-09-12T19:53:44.941" v="6" actId="20577"/>
          <ac:spMkLst>
            <pc:docMk/>
            <pc:sldMk cId="2014202690" sldId="1030"/>
            <ac:spMk id="9" creationId="{F252BA56-77FA-EA82-263C-54B9A84CDD4D}"/>
          </ac:spMkLst>
        </pc:spChg>
      </pc:sldChg>
    </pc:docChg>
  </pc:docChgLst>
  <pc:docChgLst>
    <pc:chgData name="Kjetil Teigen Hansen (KTH)" userId="S::kth_conscia.com#ext#@telenorgroup.onmicrosoft.com::f8a0f255-21b8-4c53-aace-7d9a45a4c72e" providerId="AD" clId="Web-{DB8847BE-FE4D-7886-E90F-CAE6EAC95F37}"/>
    <pc:docChg chg="modSld">
      <pc:chgData name="Kjetil Teigen Hansen (KTH)" userId="S::kth_conscia.com#ext#@telenorgroup.onmicrosoft.com::f8a0f255-21b8-4c53-aace-7d9a45a4c72e" providerId="AD" clId="Web-{DB8847BE-FE4D-7886-E90F-CAE6EAC95F37}" dt="2024-09-06T07:36:21.388" v="27" actId="20577"/>
      <pc:docMkLst>
        <pc:docMk/>
      </pc:docMkLst>
      <pc:sldChg chg="addSp delSp modSp">
        <pc:chgData name="Kjetil Teigen Hansen (KTH)" userId="S::kth_conscia.com#ext#@telenorgroup.onmicrosoft.com::f8a0f255-21b8-4c53-aace-7d9a45a4c72e" providerId="AD" clId="Web-{DB8847BE-FE4D-7886-E90F-CAE6EAC95F37}" dt="2024-09-06T07:36:21.388" v="27" actId="20577"/>
        <pc:sldMkLst>
          <pc:docMk/>
          <pc:sldMk cId="2014202690" sldId="1030"/>
        </pc:sldMkLst>
        <pc:spChg chg="del">
          <ac:chgData name="Kjetil Teigen Hansen (KTH)" userId="S::kth_conscia.com#ext#@telenorgroup.onmicrosoft.com::f8a0f255-21b8-4c53-aace-7d9a45a4c72e" providerId="AD" clId="Web-{DB8847BE-FE4D-7886-E90F-CAE6EAC95F37}" dt="2024-09-06T07:23:41.209" v="3"/>
          <ac:spMkLst>
            <pc:docMk/>
            <pc:sldMk cId="2014202690" sldId="1030"/>
            <ac:spMk id="5" creationId="{AC488030-F70D-583F-595B-31F08E56436A}"/>
          </ac:spMkLst>
        </pc:spChg>
        <pc:spChg chg="add del mod">
          <ac:chgData name="Kjetil Teigen Hansen (KTH)" userId="S::kth_conscia.com#ext#@telenorgroup.onmicrosoft.com::f8a0f255-21b8-4c53-aace-7d9a45a4c72e" providerId="AD" clId="Web-{DB8847BE-FE4D-7886-E90F-CAE6EAC95F37}" dt="2024-09-06T07:36:21.388" v="27" actId="20577"/>
          <ac:spMkLst>
            <pc:docMk/>
            <pc:sldMk cId="2014202690" sldId="1030"/>
            <ac:spMk id="24" creationId="{45E9A616-4247-B02C-A519-9265B9C7694C}"/>
          </ac:spMkLst>
        </pc:spChg>
      </pc:sldChg>
    </pc:docChg>
  </pc:docChgLst>
  <pc:docChgLst>
    <pc:chgData name="Koksrud Andreas" userId="9d9beba6-c052-407a-8599-c781a677a996" providerId="ADAL" clId="{C7E37F34-6F54-43DB-95E2-955F8CDF9C61}"/>
    <pc:docChg chg="undo custSel modSld">
      <pc:chgData name="Koksrud Andreas" userId="9d9beba6-c052-407a-8599-c781a677a996" providerId="ADAL" clId="{C7E37F34-6F54-43DB-95E2-955F8CDF9C61}" dt="2023-10-26T10:29:20.878" v="86" actId="20577"/>
      <pc:docMkLst>
        <pc:docMk/>
      </pc:docMkLst>
      <pc:sldChg chg="modSp mod">
        <pc:chgData name="Koksrud Andreas" userId="9d9beba6-c052-407a-8599-c781a677a996" providerId="ADAL" clId="{C7E37F34-6F54-43DB-95E2-955F8CDF9C61}" dt="2023-10-26T10:29:20.878" v="86" actId="20577"/>
        <pc:sldMkLst>
          <pc:docMk/>
          <pc:sldMk cId="697137886" sldId="679"/>
        </pc:sldMkLst>
        <pc:spChg chg="mod">
          <ac:chgData name="Koksrud Andreas" userId="9d9beba6-c052-407a-8599-c781a677a996" providerId="ADAL" clId="{C7E37F34-6F54-43DB-95E2-955F8CDF9C61}" dt="2023-10-26T10:29:20.878" v="86" actId="20577"/>
          <ac:spMkLst>
            <pc:docMk/>
            <pc:sldMk cId="697137886" sldId="679"/>
            <ac:spMk id="2" creationId="{00000000-0000-0000-0000-000000000000}"/>
          </ac:spMkLst>
        </pc:spChg>
      </pc:sldChg>
    </pc:docChg>
  </pc:docChgLst>
  <pc:docChgLst>
    <pc:chgData name="Koksrud Andreas" userId="9d9beba6-c052-407a-8599-c781a677a996" providerId="ADAL" clId="{4FE90A26-74BB-45D9-B110-78981551CFFA}"/>
    <pc:docChg chg="undo custSel addSld delSld modSld modSection">
      <pc:chgData name="Koksrud Andreas" userId="9d9beba6-c052-407a-8599-c781a677a996" providerId="ADAL" clId="{4FE90A26-74BB-45D9-B110-78981551CFFA}" dt="2022-10-12T20:54:44.818" v="1440" actId="47"/>
      <pc:docMkLst>
        <pc:docMk/>
      </pc:docMkLst>
      <pc:sldChg chg="modSp mod">
        <pc:chgData name="Koksrud Andreas" userId="9d9beba6-c052-407a-8599-c781a677a996" providerId="ADAL" clId="{4FE90A26-74BB-45D9-B110-78981551CFFA}" dt="2022-10-12T19:26:40.009" v="34" actId="20577"/>
        <pc:sldMkLst>
          <pc:docMk/>
          <pc:sldMk cId="697137886" sldId="679"/>
        </pc:sldMkLst>
        <pc:spChg chg="mod">
          <ac:chgData name="Koksrud Andreas" userId="9d9beba6-c052-407a-8599-c781a677a996" providerId="ADAL" clId="{4FE90A26-74BB-45D9-B110-78981551CFFA}" dt="2022-10-12T19:26:40.009" v="34" actId="20577"/>
          <ac:spMkLst>
            <pc:docMk/>
            <pc:sldMk cId="697137886" sldId="679"/>
            <ac:spMk id="2" creationId="{00000000-0000-0000-0000-000000000000}"/>
          </ac:spMkLst>
        </pc:spChg>
      </pc:sldChg>
      <pc:sldChg chg="modSp mod">
        <pc:chgData name="Koksrud Andreas" userId="9d9beba6-c052-407a-8599-c781a677a996" providerId="ADAL" clId="{4FE90A26-74BB-45D9-B110-78981551CFFA}" dt="2022-10-12T19:27:23.535" v="152" actId="20577"/>
        <pc:sldMkLst>
          <pc:docMk/>
          <pc:sldMk cId="2087783305" sldId="730"/>
        </pc:sldMkLst>
        <pc:spChg chg="mod">
          <ac:chgData name="Koksrud Andreas" userId="9d9beba6-c052-407a-8599-c781a677a996" providerId="ADAL" clId="{4FE90A26-74BB-45D9-B110-78981551CFFA}" dt="2022-10-12T19:27:23.535" v="152" actId="20577"/>
          <ac:spMkLst>
            <pc:docMk/>
            <pc:sldMk cId="2087783305" sldId="730"/>
            <ac:spMk id="2" creationId="{E83F8947-299D-4698-B80E-56B8E23125F0}"/>
          </ac:spMkLst>
        </pc:spChg>
      </pc:sldChg>
      <pc:sldChg chg="addSp delSp modSp mod">
        <pc:chgData name="Koksrud Andreas" userId="9d9beba6-c052-407a-8599-c781a677a996" providerId="ADAL" clId="{4FE90A26-74BB-45D9-B110-78981551CFFA}" dt="2022-10-12T19:59:20.056" v="735" actId="14100"/>
        <pc:sldMkLst>
          <pc:docMk/>
          <pc:sldMk cId="396736890" sldId="757"/>
        </pc:sldMkLst>
        <pc:spChg chg="mod">
          <ac:chgData name="Koksrud Andreas" userId="9d9beba6-c052-407a-8599-c781a677a996" providerId="ADAL" clId="{4FE90A26-74BB-45D9-B110-78981551CFFA}" dt="2022-10-12T19:58:14.957" v="721" actId="14100"/>
          <ac:spMkLst>
            <pc:docMk/>
            <pc:sldMk cId="396736890" sldId="757"/>
            <ac:spMk id="4" creationId="{2ECF3AB8-A6F7-4C86-8007-5158B60C6A0E}"/>
          </ac:spMkLst>
        </pc:spChg>
        <pc:spChg chg="mod">
          <ac:chgData name="Koksrud Andreas" userId="9d9beba6-c052-407a-8599-c781a677a996" providerId="ADAL" clId="{4FE90A26-74BB-45D9-B110-78981551CFFA}" dt="2022-10-12T19:57:55.139" v="715" actId="14100"/>
          <ac:spMkLst>
            <pc:docMk/>
            <pc:sldMk cId="396736890" sldId="757"/>
            <ac:spMk id="7" creationId="{6068465B-FC64-4B96-946D-409C1A0164D1}"/>
          </ac:spMkLst>
        </pc:spChg>
        <pc:spChg chg="mod">
          <ac:chgData name="Koksrud Andreas" userId="9d9beba6-c052-407a-8599-c781a677a996" providerId="ADAL" clId="{4FE90A26-74BB-45D9-B110-78981551CFFA}" dt="2022-10-12T19:58:22.597" v="722" actId="1076"/>
          <ac:spMkLst>
            <pc:docMk/>
            <pc:sldMk cId="396736890" sldId="757"/>
            <ac:spMk id="10" creationId="{B8AD7035-B1E6-4BAC-809E-880AE16677EC}"/>
          </ac:spMkLst>
        </pc:spChg>
        <pc:spChg chg="add del mod">
          <ac:chgData name="Koksrud Andreas" userId="9d9beba6-c052-407a-8599-c781a677a996" providerId="ADAL" clId="{4FE90A26-74BB-45D9-B110-78981551CFFA}" dt="2022-10-12T19:55:16.165" v="612" actId="478"/>
          <ac:spMkLst>
            <pc:docMk/>
            <pc:sldMk cId="396736890" sldId="757"/>
            <ac:spMk id="11" creationId="{5232FF80-411C-4F2C-9A3C-E32740E81A95}"/>
          </ac:spMkLst>
        </pc:spChg>
        <pc:spChg chg="add mod">
          <ac:chgData name="Koksrud Andreas" userId="9d9beba6-c052-407a-8599-c781a677a996" providerId="ADAL" clId="{4FE90A26-74BB-45D9-B110-78981551CFFA}" dt="2022-10-12T19:57:06.514" v="688" actId="20577"/>
          <ac:spMkLst>
            <pc:docMk/>
            <pc:sldMk cId="396736890" sldId="757"/>
            <ac:spMk id="12" creationId="{12E40938-6728-48DC-A135-E93B4CFB06AF}"/>
          </ac:spMkLst>
        </pc:spChg>
        <pc:spChg chg="mod">
          <ac:chgData name="Koksrud Andreas" userId="9d9beba6-c052-407a-8599-c781a677a996" providerId="ADAL" clId="{4FE90A26-74BB-45D9-B110-78981551CFFA}" dt="2022-10-12T19:57:43.407" v="712" actId="14100"/>
          <ac:spMkLst>
            <pc:docMk/>
            <pc:sldMk cId="396736890" sldId="757"/>
            <ac:spMk id="15" creationId="{C9C592CD-35F0-4396-97D0-9E7728F1C86D}"/>
          </ac:spMkLst>
        </pc:spChg>
        <pc:spChg chg="add mod">
          <ac:chgData name="Koksrud Andreas" userId="9d9beba6-c052-407a-8599-c781a677a996" providerId="ADAL" clId="{4FE90A26-74BB-45D9-B110-78981551CFFA}" dt="2022-10-12T19:52:06.263" v="610" actId="14100"/>
          <ac:spMkLst>
            <pc:docMk/>
            <pc:sldMk cId="396736890" sldId="757"/>
            <ac:spMk id="16" creationId="{07DBB511-C5F0-4D38-9327-A4DD7CCD8691}"/>
          </ac:spMkLst>
        </pc:spChg>
        <pc:spChg chg="add mod">
          <ac:chgData name="Koksrud Andreas" userId="9d9beba6-c052-407a-8599-c781a677a996" providerId="ADAL" clId="{4FE90A26-74BB-45D9-B110-78981551CFFA}" dt="2022-10-12T19:57:19.931" v="699" actId="20577"/>
          <ac:spMkLst>
            <pc:docMk/>
            <pc:sldMk cId="396736890" sldId="757"/>
            <ac:spMk id="21" creationId="{6863767D-A90F-4028-8874-5F81AE2B27F3}"/>
          </ac:spMkLst>
        </pc:spChg>
        <pc:spChg chg="add mod">
          <ac:chgData name="Koksrud Andreas" userId="9d9beba6-c052-407a-8599-c781a677a996" providerId="ADAL" clId="{4FE90A26-74BB-45D9-B110-78981551CFFA}" dt="2022-10-12T19:58:59.079" v="730" actId="14100"/>
          <ac:spMkLst>
            <pc:docMk/>
            <pc:sldMk cId="396736890" sldId="757"/>
            <ac:spMk id="30" creationId="{76B2A01D-6F66-4771-97AD-3C58C01E7EF7}"/>
          </ac:spMkLst>
        </pc:spChg>
        <pc:spChg chg="add mod">
          <ac:chgData name="Koksrud Andreas" userId="9d9beba6-c052-407a-8599-c781a677a996" providerId="ADAL" clId="{4FE90A26-74BB-45D9-B110-78981551CFFA}" dt="2022-10-12T19:59:08.531" v="732" actId="1076"/>
          <ac:spMkLst>
            <pc:docMk/>
            <pc:sldMk cId="396736890" sldId="757"/>
            <ac:spMk id="31" creationId="{7ACC2683-E91B-4ACE-8782-1EC35BE01537}"/>
          </ac:spMkLst>
        </pc:spChg>
        <pc:spChg chg="mod">
          <ac:chgData name="Koksrud Andreas" userId="9d9beba6-c052-407a-8599-c781a677a996" providerId="ADAL" clId="{4FE90A26-74BB-45D9-B110-78981551CFFA}" dt="2022-10-12T19:51:14.711" v="498" actId="20577"/>
          <ac:spMkLst>
            <pc:docMk/>
            <pc:sldMk cId="396736890" sldId="757"/>
            <ac:spMk id="180" creationId="{00000000-0000-0000-0000-000000000000}"/>
          </ac:spMkLst>
        </pc:spChg>
        <pc:picChg chg="del">
          <ac:chgData name="Koksrud Andreas" userId="9d9beba6-c052-407a-8599-c781a677a996" providerId="ADAL" clId="{4FE90A26-74BB-45D9-B110-78981551CFFA}" dt="2022-10-12T19:55:06.686" v="611" actId="478"/>
          <ac:picMkLst>
            <pc:docMk/>
            <pc:sldMk cId="396736890" sldId="757"/>
            <ac:picMk id="3" creationId="{21988043-E318-4771-B6B5-07823EFDB4E4}"/>
          </ac:picMkLst>
        </pc:picChg>
        <pc:picChg chg="add mod ord">
          <ac:chgData name="Koksrud Andreas" userId="9d9beba6-c052-407a-8599-c781a677a996" providerId="ADAL" clId="{4FE90A26-74BB-45D9-B110-78981551CFFA}" dt="2022-10-12T19:58:49.498" v="728" actId="1076"/>
          <ac:picMkLst>
            <pc:docMk/>
            <pc:sldMk cId="396736890" sldId="757"/>
            <ac:picMk id="17" creationId="{C6160B23-DB6A-46B7-82CB-D12F6C26C5F6}"/>
          </ac:picMkLst>
        </pc:picChg>
        <pc:cxnChg chg="mod">
          <ac:chgData name="Koksrud Andreas" userId="9d9beba6-c052-407a-8599-c781a677a996" providerId="ADAL" clId="{4FE90A26-74BB-45D9-B110-78981551CFFA}" dt="2022-10-12T19:58:29.336" v="724" actId="14100"/>
          <ac:cxnSpMkLst>
            <pc:docMk/>
            <pc:sldMk cId="396736890" sldId="757"/>
            <ac:cxnSpMk id="6" creationId="{277973A1-4F9D-496B-AED6-59A78234FF48}"/>
          </ac:cxnSpMkLst>
        </pc:cxnChg>
        <pc:cxnChg chg="mod">
          <ac:chgData name="Koksrud Andreas" userId="9d9beba6-c052-407a-8599-c781a677a996" providerId="ADAL" clId="{4FE90A26-74BB-45D9-B110-78981551CFFA}" dt="2022-10-12T19:57:58.353" v="716" actId="14100"/>
          <ac:cxnSpMkLst>
            <pc:docMk/>
            <pc:sldMk cId="396736890" sldId="757"/>
            <ac:cxnSpMk id="9" creationId="{9ECF109E-52D4-4978-8BB7-265D06CCB3E5}"/>
          </ac:cxnSpMkLst>
        </pc:cxnChg>
        <pc:cxnChg chg="add mod">
          <ac:chgData name="Koksrud Andreas" userId="9d9beba6-c052-407a-8599-c781a677a996" providerId="ADAL" clId="{4FE90A26-74BB-45D9-B110-78981551CFFA}" dt="2022-10-12T19:58:41.578" v="725" actId="14100"/>
          <ac:cxnSpMkLst>
            <pc:docMk/>
            <pc:sldMk cId="396736890" sldId="757"/>
            <ac:cxnSpMk id="13" creationId="{5E61798F-0846-4D58-A3D1-175853F3945A}"/>
          </ac:cxnSpMkLst>
        </pc:cxnChg>
        <pc:cxnChg chg="add mod">
          <ac:chgData name="Koksrud Andreas" userId="9d9beba6-c052-407a-8599-c781a677a996" providerId="ADAL" clId="{4FE90A26-74BB-45D9-B110-78981551CFFA}" dt="2022-10-12T19:59:20.056" v="735" actId="14100"/>
          <ac:cxnSpMkLst>
            <pc:docMk/>
            <pc:sldMk cId="396736890" sldId="757"/>
            <ac:cxnSpMk id="32" creationId="{1F6C5685-455E-4868-A46C-95B393FC102D}"/>
          </ac:cxnSpMkLst>
        </pc:cxnChg>
      </pc:sldChg>
      <pc:sldChg chg="del">
        <pc:chgData name="Koksrud Andreas" userId="9d9beba6-c052-407a-8599-c781a677a996" providerId="ADAL" clId="{4FE90A26-74BB-45D9-B110-78981551CFFA}" dt="2022-10-12T19:59:44.074" v="737" actId="47"/>
        <pc:sldMkLst>
          <pc:docMk/>
          <pc:sldMk cId="2706780473" sldId="758"/>
        </pc:sldMkLst>
      </pc:sldChg>
      <pc:sldChg chg="del">
        <pc:chgData name="Koksrud Andreas" userId="9d9beba6-c052-407a-8599-c781a677a996" providerId="ADAL" clId="{4FE90A26-74BB-45D9-B110-78981551CFFA}" dt="2022-10-12T19:59:56.077" v="740" actId="47"/>
        <pc:sldMkLst>
          <pc:docMk/>
          <pc:sldMk cId="2616277657" sldId="759"/>
        </pc:sldMkLst>
      </pc:sldChg>
      <pc:sldChg chg="del">
        <pc:chgData name="Koksrud Andreas" userId="9d9beba6-c052-407a-8599-c781a677a996" providerId="ADAL" clId="{4FE90A26-74BB-45D9-B110-78981551CFFA}" dt="2022-10-12T20:10:58.414" v="867" actId="47"/>
        <pc:sldMkLst>
          <pc:docMk/>
          <pc:sldMk cId="1725751202" sldId="760"/>
        </pc:sldMkLst>
      </pc:sldChg>
      <pc:sldChg chg="del">
        <pc:chgData name="Koksrud Andreas" userId="9d9beba6-c052-407a-8599-c781a677a996" providerId="ADAL" clId="{4FE90A26-74BB-45D9-B110-78981551CFFA}" dt="2022-10-12T20:11:01.710" v="870" actId="47"/>
        <pc:sldMkLst>
          <pc:docMk/>
          <pc:sldMk cId="1019764475" sldId="761"/>
        </pc:sldMkLst>
      </pc:sldChg>
      <pc:sldChg chg="modSp mod">
        <pc:chgData name="Koksrud Andreas" userId="9d9beba6-c052-407a-8599-c781a677a996" providerId="ADAL" clId="{4FE90A26-74BB-45D9-B110-78981551CFFA}" dt="2022-10-12T20:16:50.641" v="1114" actId="1076"/>
        <pc:sldMkLst>
          <pc:docMk/>
          <pc:sldMk cId="3548956945" sldId="762"/>
        </pc:sldMkLst>
        <pc:spChg chg="mod">
          <ac:chgData name="Koksrud Andreas" userId="9d9beba6-c052-407a-8599-c781a677a996" providerId="ADAL" clId="{4FE90A26-74BB-45D9-B110-78981551CFFA}" dt="2022-10-12T20:16:50.641" v="1114" actId="1076"/>
          <ac:spMkLst>
            <pc:docMk/>
            <pc:sldMk cId="3548956945" sldId="762"/>
            <ac:spMk id="19" creationId="{5D456D15-BECC-4AA9-909E-81B3C7B91D77}"/>
          </ac:spMkLst>
        </pc:spChg>
        <pc:spChg chg="mod">
          <ac:chgData name="Koksrud Andreas" userId="9d9beba6-c052-407a-8599-c781a677a996" providerId="ADAL" clId="{4FE90A26-74BB-45D9-B110-78981551CFFA}" dt="2022-10-12T20:16:36.832" v="1112" actId="20577"/>
          <ac:spMkLst>
            <pc:docMk/>
            <pc:sldMk cId="3548956945" sldId="762"/>
            <ac:spMk id="180" creationId="{00000000-0000-0000-0000-000000000000}"/>
          </ac:spMkLst>
        </pc:spChg>
        <pc:picChg chg="mod">
          <ac:chgData name="Koksrud Andreas" userId="9d9beba6-c052-407a-8599-c781a677a996" providerId="ADAL" clId="{4FE90A26-74BB-45D9-B110-78981551CFFA}" dt="2022-10-12T20:16:45.665" v="1113" actId="1076"/>
          <ac:picMkLst>
            <pc:docMk/>
            <pc:sldMk cId="3548956945" sldId="762"/>
            <ac:picMk id="18" creationId="{82FBB2CF-FD0D-468E-A54F-86B9E9FE8D36}"/>
          </ac:picMkLst>
        </pc:picChg>
      </pc:sldChg>
      <pc:sldChg chg="del">
        <pc:chgData name="Koksrud Andreas" userId="9d9beba6-c052-407a-8599-c781a677a996" providerId="ADAL" clId="{4FE90A26-74BB-45D9-B110-78981551CFFA}" dt="2022-10-12T20:11:30.888" v="884" actId="47"/>
        <pc:sldMkLst>
          <pc:docMk/>
          <pc:sldMk cId="1523800458" sldId="763"/>
        </pc:sldMkLst>
      </pc:sldChg>
      <pc:sldChg chg="del">
        <pc:chgData name="Koksrud Andreas" userId="9d9beba6-c052-407a-8599-c781a677a996" providerId="ADAL" clId="{4FE90A26-74BB-45D9-B110-78981551CFFA}" dt="2022-10-12T20:11:00.768" v="869" actId="47"/>
        <pc:sldMkLst>
          <pc:docMk/>
          <pc:sldMk cId="1963101599" sldId="764"/>
        </pc:sldMkLst>
      </pc:sldChg>
      <pc:sldChg chg="del">
        <pc:chgData name="Koksrud Andreas" userId="9d9beba6-c052-407a-8599-c781a677a996" providerId="ADAL" clId="{4FE90A26-74BB-45D9-B110-78981551CFFA}" dt="2022-10-12T20:11:05.440" v="872" actId="47"/>
        <pc:sldMkLst>
          <pc:docMk/>
          <pc:sldMk cId="1133620909" sldId="765"/>
        </pc:sldMkLst>
      </pc:sldChg>
      <pc:sldChg chg="del">
        <pc:chgData name="Koksrud Andreas" userId="9d9beba6-c052-407a-8599-c781a677a996" providerId="ADAL" clId="{4FE90A26-74BB-45D9-B110-78981551CFFA}" dt="2022-10-12T20:11:10.049" v="876" actId="47"/>
        <pc:sldMkLst>
          <pc:docMk/>
          <pc:sldMk cId="2033200031" sldId="766"/>
        </pc:sldMkLst>
      </pc:sldChg>
      <pc:sldChg chg="del">
        <pc:chgData name="Koksrud Andreas" userId="9d9beba6-c052-407a-8599-c781a677a996" providerId="ADAL" clId="{4FE90A26-74BB-45D9-B110-78981551CFFA}" dt="2022-10-12T20:11:07.093" v="873" actId="47"/>
        <pc:sldMkLst>
          <pc:docMk/>
          <pc:sldMk cId="3428711004" sldId="767"/>
        </pc:sldMkLst>
      </pc:sldChg>
      <pc:sldChg chg="del">
        <pc:chgData name="Koksrud Andreas" userId="9d9beba6-c052-407a-8599-c781a677a996" providerId="ADAL" clId="{4FE90A26-74BB-45D9-B110-78981551CFFA}" dt="2022-10-12T20:11:09.247" v="875" actId="47"/>
        <pc:sldMkLst>
          <pc:docMk/>
          <pc:sldMk cId="1456486215" sldId="768"/>
        </pc:sldMkLst>
      </pc:sldChg>
      <pc:sldChg chg="del">
        <pc:chgData name="Koksrud Andreas" userId="9d9beba6-c052-407a-8599-c781a677a996" providerId="ADAL" clId="{4FE90A26-74BB-45D9-B110-78981551CFFA}" dt="2022-10-12T20:11:12.822" v="877" actId="47"/>
        <pc:sldMkLst>
          <pc:docMk/>
          <pc:sldMk cId="1313933673" sldId="769"/>
        </pc:sldMkLst>
      </pc:sldChg>
      <pc:sldChg chg="del">
        <pc:chgData name="Koksrud Andreas" userId="9d9beba6-c052-407a-8599-c781a677a996" providerId="ADAL" clId="{4FE90A26-74BB-45D9-B110-78981551CFFA}" dt="2022-10-12T20:11:15.032" v="878" actId="47"/>
        <pc:sldMkLst>
          <pc:docMk/>
          <pc:sldMk cId="284321844" sldId="770"/>
        </pc:sldMkLst>
      </pc:sldChg>
      <pc:sldChg chg="del">
        <pc:chgData name="Koksrud Andreas" userId="9d9beba6-c052-407a-8599-c781a677a996" providerId="ADAL" clId="{4FE90A26-74BB-45D9-B110-78981551CFFA}" dt="2022-10-12T20:11:16.569" v="879" actId="47"/>
        <pc:sldMkLst>
          <pc:docMk/>
          <pc:sldMk cId="3521944309" sldId="771"/>
        </pc:sldMkLst>
      </pc:sldChg>
      <pc:sldChg chg="del">
        <pc:chgData name="Koksrud Andreas" userId="9d9beba6-c052-407a-8599-c781a677a996" providerId="ADAL" clId="{4FE90A26-74BB-45D9-B110-78981551CFFA}" dt="2022-10-12T20:11:24.140" v="880" actId="47"/>
        <pc:sldMkLst>
          <pc:docMk/>
          <pc:sldMk cId="4174575932" sldId="772"/>
        </pc:sldMkLst>
      </pc:sldChg>
      <pc:sldChg chg="del">
        <pc:chgData name="Koksrud Andreas" userId="9d9beba6-c052-407a-8599-c781a677a996" providerId="ADAL" clId="{4FE90A26-74BB-45D9-B110-78981551CFFA}" dt="2022-10-12T20:11:26.072" v="881" actId="47"/>
        <pc:sldMkLst>
          <pc:docMk/>
          <pc:sldMk cId="1893841773" sldId="773"/>
        </pc:sldMkLst>
      </pc:sldChg>
      <pc:sldChg chg="del">
        <pc:chgData name="Koksrud Andreas" userId="9d9beba6-c052-407a-8599-c781a677a996" providerId="ADAL" clId="{4FE90A26-74BB-45D9-B110-78981551CFFA}" dt="2022-10-12T20:11:27.296" v="882" actId="47"/>
        <pc:sldMkLst>
          <pc:docMk/>
          <pc:sldMk cId="1749779748" sldId="774"/>
        </pc:sldMkLst>
      </pc:sldChg>
      <pc:sldChg chg="del">
        <pc:chgData name="Koksrud Andreas" userId="9d9beba6-c052-407a-8599-c781a677a996" providerId="ADAL" clId="{4FE90A26-74BB-45D9-B110-78981551CFFA}" dt="2022-10-12T20:11:29.779" v="883" actId="47"/>
        <pc:sldMkLst>
          <pc:docMk/>
          <pc:sldMk cId="2963068298" sldId="775"/>
        </pc:sldMkLst>
      </pc:sldChg>
      <pc:sldChg chg="addSp delSp modSp mod">
        <pc:chgData name="Koksrud Andreas" userId="9d9beba6-c052-407a-8599-c781a677a996" providerId="ADAL" clId="{4FE90A26-74BB-45D9-B110-78981551CFFA}" dt="2022-10-12T20:22:16.039" v="1241" actId="1076"/>
        <pc:sldMkLst>
          <pc:docMk/>
          <pc:sldMk cId="2831047971" sldId="776"/>
        </pc:sldMkLst>
        <pc:spChg chg="add del mod">
          <ac:chgData name="Koksrud Andreas" userId="9d9beba6-c052-407a-8599-c781a677a996" providerId="ADAL" clId="{4FE90A26-74BB-45D9-B110-78981551CFFA}" dt="2022-10-12T20:16:09.173" v="1079" actId="478"/>
          <ac:spMkLst>
            <pc:docMk/>
            <pc:sldMk cId="2831047971" sldId="776"/>
            <ac:spMk id="4" creationId="{C8BC275D-F912-48B3-8D8B-3D2A4EA23D8D}"/>
          </ac:spMkLst>
        </pc:spChg>
        <pc:spChg chg="add mod">
          <ac:chgData name="Koksrud Andreas" userId="9d9beba6-c052-407a-8599-c781a677a996" providerId="ADAL" clId="{4FE90A26-74BB-45D9-B110-78981551CFFA}" dt="2022-10-12T20:21:55.690" v="1236" actId="14100"/>
          <ac:spMkLst>
            <pc:docMk/>
            <pc:sldMk cId="2831047971" sldId="776"/>
            <ac:spMk id="13" creationId="{0C341034-813F-4889-BFA8-0E22D92271B6}"/>
          </ac:spMkLst>
        </pc:spChg>
        <pc:spChg chg="add mod">
          <ac:chgData name="Koksrud Andreas" userId="9d9beba6-c052-407a-8599-c781a677a996" providerId="ADAL" clId="{4FE90A26-74BB-45D9-B110-78981551CFFA}" dt="2022-10-12T20:22:06.766" v="1239" actId="14100"/>
          <ac:spMkLst>
            <pc:docMk/>
            <pc:sldMk cId="2831047971" sldId="776"/>
            <ac:spMk id="14" creationId="{216E1D07-528B-4841-8DD5-451F1091E1D4}"/>
          </ac:spMkLst>
        </pc:spChg>
        <pc:spChg chg="add mod">
          <ac:chgData name="Koksrud Andreas" userId="9d9beba6-c052-407a-8599-c781a677a996" providerId="ADAL" clId="{4FE90A26-74BB-45D9-B110-78981551CFFA}" dt="2022-10-12T20:22:16.039" v="1241" actId="1076"/>
          <ac:spMkLst>
            <pc:docMk/>
            <pc:sldMk cId="2831047971" sldId="776"/>
            <ac:spMk id="15" creationId="{6D2CD49D-7972-4CBA-9E1D-AE67CA6C2509}"/>
          </ac:spMkLst>
        </pc:spChg>
        <pc:spChg chg="mod">
          <ac:chgData name="Koksrud Andreas" userId="9d9beba6-c052-407a-8599-c781a677a996" providerId="ADAL" clId="{4FE90A26-74BB-45D9-B110-78981551CFFA}" dt="2022-10-12T20:18:01.829" v="1149" actId="20577"/>
          <ac:spMkLst>
            <pc:docMk/>
            <pc:sldMk cId="2831047971" sldId="776"/>
            <ac:spMk id="180" creationId="{00000000-0000-0000-0000-000000000000}"/>
          </ac:spMkLst>
        </pc:spChg>
        <pc:spChg chg="del">
          <ac:chgData name="Koksrud Andreas" userId="9d9beba6-c052-407a-8599-c781a677a996" providerId="ADAL" clId="{4FE90A26-74BB-45D9-B110-78981551CFFA}" dt="2022-10-12T20:16:03.695" v="1078" actId="478"/>
          <ac:spMkLst>
            <pc:docMk/>
            <pc:sldMk cId="2831047971" sldId="776"/>
            <ac:spMk id="181" creationId="{00000000-0000-0000-0000-000000000000}"/>
          </ac:spMkLst>
        </pc:spChg>
        <pc:picChg chg="del">
          <ac:chgData name="Koksrud Andreas" userId="9d9beba6-c052-407a-8599-c781a677a996" providerId="ADAL" clId="{4FE90A26-74BB-45D9-B110-78981551CFFA}" dt="2022-10-12T20:16:10.633" v="1080" actId="478"/>
          <ac:picMkLst>
            <pc:docMk/>
            <pc:sldMk cId="2831047971" sldId="776"/>
            <ac:picMk id="3" creationId="{11D96017-4683-4EA7-8338-CB14A3C6A78B}"/>
          </ac:picMkLst>
        </pc:picChg>
        <pc:picChg chg="add mod">
          <ac:chgData name="Koksrud Andreas" userId="9d9beba6-c052-407a-8599-c781a677a996" providerId="ADAL" clId="{4FE90A26-74BB-45D9-B110-78981551CFFA}" dt="2022-10-12T20:20:49.538" v="1229" actId="931"/>
          <ac:picMkLst>
            <pc:docMk/>
            <pc:sldMk cId="2831047971" sldId="776"/>
            <ac:picMk id="6" creationId="{C196C345-90F3-48B1-B5A0-0C8E497C94F6}"/>
          </ac:picMkLst>
        </pc:picChg>
        <pc:picChg chg="add mod">
          <ac:chgData name="Koksrud Andreas" userId="9d9beba6-c052-407a-8599-c781a677a996" providerId="ADAL" clId="{4FE90A26-74BB-45D9-B110-78981551CFFA}" dt="2022-10-12T20:21:36.396" v="1233" actId="14100"/>
          <ac:picMkLst>
            <pc:docMk/>
            <pc:sldMk cId="2831047971" sldId="776"/>
            <ac:picMk id="8" creationId="{CB717F23-0F01-421D-BF21-FE8BD1C1188E}"/>
          </ac:picMkLst>
        </pc:picChg>
      </pc:sldChg>
      <pc:sldChg chg="modSp mod">
        <pc:chgData name="Koksrud Andreas" userId="9d9beba6-c052-407a-8599-c781a677a996" providerId="ADAL" clId="{4FE90A26-74BB-45D9-B110-78981551CFFA}" dt="2022-10-12T20:16:26.582" v="1096" actId="20577"/>
        <pc:sldMkLst>
          <pc:docMk/>
          <pc:sldMk cId="1447749266" sldId="777"/>
        </pc:sldMkLst>
        <pc:spChg chg="mod">
          <ac:chgData name="Koksrud Andreas" userId="9d9beba6-c052-407a-8599-c781a677a996" providerId="ADAL" clId="{4FE90A26-74BB-45D9-B110-78981551CFFA}" dt="2022-10-12T20:16:26.582" v="1096" actId="20577"/>
          <ac:spMkLst>
            <pc:docMk/>
            <pc:sldMk cId="1447749266" sldId="777"/>
            <ac:spMk id="180" creationId="{00000000-0000-0000-0000-000000000000}"/>
          </ac:spMkLst>
        </pc:spChg>
      </pc:sldChg>
      <pc:sldChg chg="del">
        <pc:chgData name="Koksrud Andreas" userId="9d9beba6-c052-407a-8599-c781a677a996" providerId="ADAL" clId="{4FE90A26-74BB-45D9-B110-78981551CFFA}" dt="2022-10-12T20:17:36.492" v="1135" actId="47"/>
        <pc:sldMkLst>
          <pc:docMk/>
          <pc:sldMk cId="286125317" sldId="779"/>
        </pc:sldMkLst>
      </pc:sldChg>
      <pc:sldChg chg="modSp mod">
        <pc:chgData name="Koksrud Andreas" userId="9d9beba6-c052-407a-8599-c781a677a996" providerId="ADAL" clId="{4FE90A26-74BB-45D9-B110-78981551CFFA}" dt="2022-10-12T20:17:14.991" v="1134" actId="20577"/>
        <pc:sldMkLst>
          <pc:docMk/>
          <pc:sldMk cId="2127300312" sldId="780"/>
        </pc:sldMkLst>
        <pc:spChg chg="mod">
          <ac:chgData name="Koksrud Andreas" userId="9d9beba6-c052-407a-8599-c781a677a996" providerId="ADAL" clId="{4FE90A26-74BB-45D9-B110-78981551CFFA}" dt="2022-10-12T20:17:14.991" v="1134" actId="20577"/>
          <ac:spMkLst>
            <pc:docMk/>
            <pc:sldMk cId="2127300312" sldId="780"/>
            <ac:spMk id="180" creationId="{00000000-0000-0000-0000-000000000000}"/>
          </ac:spMkLst>
        </pc:spChg>
      </pc:sldChg>
      <pc:sldChg chg="del">
        <pc:chgData name="Koksrud Andreas" userId="9d9beba6-c052-407a-8599-c781a677a996" providerId="ADAL" clId="{4FE90A26-74BB-45D9-B110-78981551CFFA}" dt="2022-10-12T19:59:54.252" v="739" actId="47"/>
        <pc:sldMkLst>
          <pc:docMk/>
          <pc:sldMk cId="2324317775" sldId="781"/>
        </pc:sldMkLst>
      </pc:sldChg>
      <pc:sldChg chg="del">
        <pc:chgData name="Koksrud Andreas" userId="9d9beba6-c052-407a-8599-c781a677a996" providerId="ADAL" clId="{4FE90A26-74BB-45D9-B110-78981551CFFA}" dt="2022-10-12T19:59:52.571" v="738" actId="47"/>
        <pc:sldMkLst>
          <pc:docMk/>
          <pc:sldMk cId="1584291209" sldId="782"/>
        </pc:sldMkLst>
      </pc:sldChg>
      <pc:sldChg chg="del">
        <pc:chgData name="Koksrud Andreas" userId="9d9beba6-c052-407a-8599-c781a677a996" providerId="ADAL" clId="{4FE90A26-74BB-45D9-B110-78981551CFFA}" dt="2022-10-12T19:59:41.994" v="736" actId="47"/>
        <pc:sldMkLst>
          <pc:docMk/>
          <pc:sldMk cId="2272527178" sldId="783"/>
        </pc:sldMkLst>
      </pc:sldChg>
      <pc:sldChg chg="del">
        <pc:chgData name="Koksrud Andreas" userId="9d9beba6-c052-407a-8599-c781a677a996" providerId="ADAL" clId="{4FE90A26-74BB-45D9-B110-78981551CFFA}" dt="2022-10-12T19:59:56.780" v="741" actId="47"/>
        <pc:sldMkLst>
          <pc:docMk/>
          <pc:sldMk cId="2035997049" sldId="784"/>
        </pc:sldMkLst>
      </pc:sldChg>
      <pc:sldChg chg="del">
        <pc:chgData name="Koksrud Andreas" userId="9d9beba6-c052-407a-8599-c781a677a996" providerId="ADAL" clId="{4FE90A26-74BB-45D9-B110-78981551CFFA}" dt="2022-10-12T19:59:57.428" v="742" actId="47"/>
        <pc:sldMkLst>
          <pc:docMk/>
          <pc:sldMk cId="1437315232" sldId="785"/>
        </pc:sldMkLst>
      </pc:sldChg>
      <pc:sldChg chg="del">
        <pc:chgData name="Koksrud Andreas" userId="9d9beba6-c052-407a-8599-c781a677a996" providerId="ADAL" clId="{4FE90A26-74BB-45D9-B110-78981551CFFA}" dt="2022-10-12T19:59:58.089" v="743" actId="47"/>
        <pc:sldMkLst>
          <pc:docMk/>
          <pc:sldMk cId="439586449" sldId="786"/>
        </pc:sldMkLst>
      </pc:sldChg>
      <pc:sldChg chg="del">
        <pc:chgData name="Koksrud Andreas" userId="9d9beba6-c052-407a-8599-c781a677a996" providerId="ADAL" clId="{4FE90A26-74BB-45D9-B110-78981551CFFA}" dt="2022-10-12T19:59:58.929" v="744" actId="47"/>
        <pc:sldMkLst>
          <pc:docMk/>
          <pc:sldMk cId="3919586401" sldId="787"/>
        </pc:sldMkLst>
      </pc:sldChg>
      <pc:sldChg chg="del">
        <pc:chgData name="Koksrud Andreas" userId="9d9beba6-c052-407a-8599-c781a677a996" providerId="ADAL" clId="{4FE90A26-74BB-45D9-B110-78981551CFFA}" dt="2022-10-12T20:00:00.164" v="745" actId="47"/>
        <pc:sldMkLst>
          <pc:docMk/>
          <pc:sldMk cId="463834088" sldId="788"/>
        </pc:sldMkLst>
      </pc:sldChg>
      <pc:sldChg chg="del">
        <pc:chgData name="Koksrud Andreas" userId="9d9beba6-c052-407a-8599-c781a677a996" providerId="ADAL" clId="{4FE90A26-74BB-45D9-B110-78981551CFFA}" dt="2022-10-12T20:00:00.997" v="746" actId="47"/>
        <pc:sldMkLst>
          <pc:docMk/>
          <pc:sldMk cId="1168678729" sldId="789"/>
        </pc:sldMkLst>
      </pc:sldChg>
      <pc:sldChg chg="del">
        <pc:chgData name="Koksrud Andreas" userId="9d9beba6-c052-407a-8599-c781a677a996" providerId="ADAL" clId="{4FE90A26-74BB-45D9-B110-78981551CFFA}" dt="2022-10-12T20:11:02.807" v="871" actId="47"/>
        <pc:sldMkLst>
          <pc:docMk/>
          <pc:sldMk cId="2352117430" sldId="790"/>
        </pc:sldMkLst>
      </pc:sldChg>
      <pc:sldChg chg="del">
        <pc:chgData name="Koksrud Andreas" userId="9d9beba6-c052-407a-8599-c781a677a996" providerId="ADAL" clId="{4FE90A26-74BB-45D9-B110-78981551CFFA}" dt="2022-10-12T20:11:08.038" v="874" actId="47"/>
        <pc:sldMkLst>
          <pc:docMk/>
          <pc:sldMk cId="1582857246" sldId="791"/>
        </pc:sldMkLst>
      </pc:sldChg>
      <pc:sldChg chg="del">
        <pc:chgData name="Koksrud Andreas" userId="9d9beba6-c052-407a-8599-c781a677a996" providerId="ADAL" clId="{4FE90A26-74BB-45D9-B110-78981551CFFA}" dt="2022-10-12T20:16:13.631" v="1081" actId="47"/>
        <pc:sldMkLst>
          <pc:docMk/>
          <pc:sldMk cId="95454940" sldId="792"/>
        </pc:sldMkLst>
      </pc:sldChg>
      <pc:sldChg chg="del">
        <pc:chgData name="Koksrud Andreas" userId="9d9beba6-c052-407a-8599-c781a677a996" providerId="ADAL" clId="{4FE90A26-74BB-45D9-B110-78981551CFFA}" dt="2022-10-12T20:10:59.769" v="868" actId="47"/>
        <pc:sldMkLst>
          <pc:docMk/>
          <pc:sldMk cId="2873046022" sldId="793"/>
        </pc:sldMkLst>
      </pc:sldChg>
      <pc:sldChg chg="modSp mod">
        <pc:chgData name="Koksrud Andreas" userId="9d9beba6-c052-407a-8599-c781a677a996" providerId="ADAL" clId="{4FE90A26-74BB-45D9-B110-78981551CFFA}" dt="2022-10-12T19:41:26.587" v="406" actId="20577"/>
        <pc:sldMkLst>
          <pc:docMk/>
          <pc:sldMk cId="3764478461" sldId="795"/>
        </pc:sldMkLst>
        <pc:spChg chg="mod">
          <ac:chgData name="Koksrud Andreas" userId="9d9beba6-c052-407a-8599-c781a677a996" providerId="ADAL" clId="{4FE90A26-74BB-45D9-B110-78981551CFFA}" dt="2022-10-12T19:41:20.883" v="394" actId="20577"/>
          <ac:spMkLst>
            <pc:docMk/>
            <pc:sldMk cId="3764478461" sldId="795"/>
            <ac:spMk id="11" creationId="{618A10C5-431B-4229-87F2-69FEAE5298F3}"/>
          </ac:spMkLst>
        </pc:spChg>
        <pc:spChg chg="mod">
          <ac:chgData name="Koksrud Andreas" userId="9d9beba6-c052-407a-8599-c781a677a996" providerId="ADAL" clId="{4FE90A26-74BB-45D9-B110-78981551CFFA}" dt="2022-10-12T19:41:26.587" v="406" actId="20577"/>
          <ac:spMkLst>
            <pc:docMk/>
            <pc:sldMk cId="3764478461" sldId="795"/>
            <ac:spMk id="12" creationId="{F4823D76-F745-416B-B271-20B77344DBD4}"/>
          </ac:spMkLst>
        </pc:spChg>
        <pc:spChg chg="mod">
          <ac:chgData name="Koksrud Andreas" userId="9d9beba6-c052-407a-8599-c781a677a996" providerId="ADAL" clId="{4FE90A26-74BB-45D9-B110-78981551CFFA}" dt="2022-10-12T19:41:03.033" v="373" actId="20577"/>
          <ac:spMkLst>
            <pc:docMk/>
            <pc:sldMk cId="3764478461" sldId="795"/>
            <ac:spMk id="13" creationId="{65A2EA35-6E56-4E08-BAAC-9895D08AD256}"/>
          </ac:spMkLst>
        </pc:spChg>
      </pc:sldChg>
      <pc:sldChg chg="addSp delSp modSp add mod">
        <pc:chgData name="Koksrud Andreas" userId="9d9beba6-c052-407a-8599-c781a677a996" providerId="ADAL" clId="{4FE90A26-74BB-45D9-B110-78981551CFFA}" dt="2022-10-12T20:11:53.947" v="900" actId="20577"/>
        <pc:sldMkLst>
          <pc:docMk/>
          <pc:sldMk cId="1907635855" sldId="796"/>
        </pc:sldMkLst>
        <pc:spChg chg="del">
          <ac:chgData name="Koksrud Andreas" userId="9d9beba6-c052-407a-8599-c781a677a996" providerId="ADAL" clId="{4FE90A26-74BB-45D9-B110-78981551CFFA}" dt="2022-10-12T20:00:41.463" v="774" actId="478"/>
          <ac:spMkLst>
            <pc:docMk/>
            <pc:sldMk cId="1907635855" sldId="796"/>
            <ac:spMk id="4" creationId="{2ECF3AB8-A6F7-4C86-8007-5158B60C6A0E}"/>
          </ac:spMkLst>
        </pc:spChg>
        <pc:spChg chg="del">
          <ac:chgData name="Koksrud Andreas" userId="9d9beba6-c052-407a-8599-c781a677a996" providerId="ADAL" clId="{4FE90A26-74BB-45D9-B110-78981551CFFA}" dt="2022-10-12T20:00:41.463" v="774" actId="478"/>
          <ac:spMkLst>
            <pc:docMk/>
            <pc:sldMk cId="1907635855" sldId="796"/>
            <ac:spMk id="7" creationId="{6068465B-FC64-4B96-946D-409C1A0164D1}"/>
          </ac:spMkLst>
        </pc:spChg>
        <pc:spChg chg="del">
          <ac:chgData name="Koksrud Andreas" userId="9d9beba6-c052-407a-8599-c781a677a996" providerId="ADAL" clId="{4FE90A26-74BB-45D9-B110-78981551CFFA}" dt="2022-10-12T20:00:41.463" v="774" actId="478"/>
          <ac:spMkLst>
            <pc:docMk/>
            <pc:sldMk cId="1907635855" sldId="796"/>
            <ac:spMk id="10" creationId="{B8AD7035-B1E6-4BAC-809E-880AE16677EC}"/>
          </ac:spMkLst>
        </pc:spChg>
        <pc:spChg chg="del">
          <ac:chgData name="Koksrud Andreas" userId="9d9beba6-c052-407a-8599-c781a677a996" providerId="ADAL" clId="{4FE90A26-74BB-45D9-B110-78981551CFFA}" dt="2022-10-12T20:00:45.390" v="775" actId="478"/>
          <ac:spMkLst>
            <pc:docMk/>
            <pc:sldMk cId="1907635855" sldId="796"/>
            <ac:spMk id="12" creationId="{12E40938-6728-48DC-A135-E93B4CFB06AF}"/>
          </ac:spMkLst>
        </pc:spChg>
        <pc:spChg chg="del">
          <ac:chgData name="Koksrud Andreas" userId="9d9beba6-c052-407a-8599-c781a677a996" providerId="ADAL" clId="{4FE90A26-74BB-45D9-B110-78981551CFFA}" dt="2022-10-12T20:00:41.463" v="774" actId="478"/>
          <ac:spMkLst>
            <pc:docMk/>
            <pc:sldMk cId="1907635855" sldId="796"/>
            <ac:spMk id="15" creationId="{C9C592CD-35F0-4396-97D0-9E7728F1C86D}"/>
          </ac:spMkLst>
        </pc:spChg>
        <pc:spChg chg="mod">
          <ac:chgData name="Koksrud Andreas" userId="9d9beba6-c052-407a-8599-c781a677a996" providerId="ADAL" clId="{4FE90A26-74BB-45D9-B110-78981551CFFA}" dt="2022-10-12T20:03:05.327" v="778" actId="20577"/>
          <ac:spMkLst>
            <pc:docMk/>
            <pc:sldMk cId="1907635855" sldId="796"/>
            <ac:spMk id="16" creationId="{07DBB511-C5F0-4D38-9327-A4DD7CCD8691}"/>
          </ac:spMkLst>
        </pc:spChg>
        <pc:spChg chg="del">
          <ac:chgData name="Koksrud Andreas" userId="9d9beba6-c052-407a-8599-c781a677a996" providerId="ADAL" clId="{4FE90A26-74BB-45D9-B110-78981551CFFA}" dt="2022-10-12T20:00:45.390" v="775" actId="478"/>
          <ac:spMkLst>
            <pc:docMk/>
            <pc:sldMk cId="1907635855" sldId="796"/>
            <ac:spMk id="21" creationId="{6863767D-A90F-4028-8874-5F81AE2B27F3}"/>
          </ac:spMkLst>
        </pc:spChg>
        <pc:spChg chg="del">
          <ac:chgData name="Koksrud Andreas" userId="9d9beba6-c052-407a-8599-c781a677a996" providerId="ADAL" clId="{4FE90A26-74BB-45D9-B110-78981551CFFA}" dt="2022-10-12T20:00:41.463" v="774" actId="478"/>
          <ac:spMkLst>
            <pc:docMk/>
            <pc:sldMk cId="1907635855" sldId="796"/>
            <ac:spMk id="30" creationId="{76B2A01D-6F66-4771-97AD-3C58C01E7EF7}"/>
          </ac:spMkLst>
        </pc:spChg>
        <pc:spChg chg="del">
          <ac:chgData name="Koksrud Andreas" userId="9d9beba6-c052-407a-8599-c781a677a996" providerId="ADAL" clId="{4FE90A26-74BB-45D9-B110-78981551CFFA}" dt="2022-10-12T20:00:45.390" v="775" actId="478"/>
          <ac:spMkLst>
            <pc:docMk/>
            <pc:sldMk cId="1907635855" sldId="796"/>
            <ac:spMk id="31" creationId="{7ACC2683-E91B-4ACE-8782-1EC35BE01537}"/>
          </ac:spMkLst>
        </pc:spChg>
        <pc:spChg chg="mod">
          <ac:chgData name="Koksrud Andreas" userId="9d9beba6-c052-407a-8599-c781a677a996" providerId="ADAL" clId="{4FE90A26-74BB-45D9-B110-78981551CFFA}" dt="2022-10-12T20:11:53.947" v="900" actId="20577"/>
          <ac:spMkLst>
            <pc:docMk/>
            <pc:sldMk cId="1907635855" sldId="796"/>
            <ac:spMk id="180" creationId="{00000000-0000-0000-0000-000000000000}"/>
          </ac:spMkLst>
        </pc:spChg>
        <pc:picChg chg="add mod modCrop">
          <ac:chgData name="Koksrud Andreas" userId="9d9beba6-c052-407a-8599-c781a677a996" providerId="ADAL" clId="{4FE90A26-74BB-45D9-B110-78981551CFFA}" dt="2022-10-12T20:04:54.821" v="787" actId="732"/>
          <ac:picMkLst>
            <pc:docMk/>
            <pc:sldMk cId="1907635855" sldId="796"/>
            <ac:picMk id="3" creationId="{0795624C-FAC5-4B4C-B67F-C14A716416D1}"/>
          </ac:picMkLst>
        </pc:picChg>
        <pc:picChg chg="add mod">
          <ac:chgData name="Koksrud Andreas" userId="9d9beba6-c052-407a-8599-c781a677a996" providerId="ADAL" clId="{4FE90A26-74BB-45D9-B110-78981551CFFA}" dt="2022-10-12T20:04:10.256" v="782" actId="1076"/>
          <ac:picMkLst>
            <pc:docMk/>
            <pc:sldMk cId="1907635855" sldId="796"/>
            <ac:picMk id="8" creationId="{23582907-3160-41B0-A874-64BD1F1E7507}"/>
          </ac:picMkLst>
        </pc:picChg>
        <pc:picChg chg="add mod modCrop">
          <ac:chgData name="Koksrud Andreas" userId="9d9beba6-c052-407a-8599-c781a677a996" providerId="ADAL" clId="{4FE90A26-74BB-45D9-B110-78981551CFFA}" dt="2022-10-12T20:06:17.252" v="791" actId="732"/>
          <ac:picMkLst>
            <pc:docMk/>
            <pc:sldMk cId="1907635855" sldId="796"/>
            <ac:picMk id="14" creationId="{107818D8-79C6-4080-9D24-53E85B3DA644}"/>
          </ac:picMkLst>
        </pc:picChg>
        <pc:picChg chg="del">
          <ac:chgData name="Koksrud Andreas" userId="9d9beba6-c052-407a-8599-c781a677a996" providerId="ADAL" clId="{4FE90A26-74BB-45D9-B110-78981551CFFA}" dt="2022-10-12T20:00:38.315" v="773" actId="478"/>
          <ac:picMkLst>
            <pc:docMk/>
            <pc:sldMk cId="1907635855" sldId="796"/>
            <ac:picMk id="17" creationId="{C6160B23-DB6A-46B7-82CB-D12F6C26C5F6}"/>
          </ac:picMkLst>
        </pc:picChg>
        <pc:cxnChg chg="del">
          <ac:chgData name="Koksrud Andreas" userId="9d9beba6-c052-407a-8599-c781a677a996" providerId="ADAL" clId="{4FE90A26-74BB-45D9-B110-78981551CFFA}" dt="2022-10-12T20:00:41.463" v="774" actId="478"/>
          <ac:cxnSpMkLst>
            <pc:docMk/>
            <pc:sldMk cId="1907635855" sldId="796"/>
            <ac:cxnSpMk id="6" creationId="{277973A1-4F9D-496B-AED6-59A78234FF48}"/>
          </ac:cxnSpMkLst>
        </pc:cxnChg>
        <pc:cxnChg chg="del mod">
          <ac:chgData name="Koksrud Andreas" userId="9d9beba6-c052-407a-8599-c781a677a996" providerId="ADAL" clId="{4FE90A26-74BB-45D9-B110-78981551CFFA}" dt="2022-10-12T20:00:41.463" v="774" actId="478"/>
          <ac:cxnSpMkLst>
            <pc:docMk/>
            <pc:sldMk cId="1907635855" sldId="796"/>
            <ac:cxnSpMk id="9" creationId="{9ECF109E-52D4-4978-8BB7-265D06CCB3E5}"/>
          </ac:cxnSpMkLst>
        </pc:cxnChg>
        <pc:cxnChg chg="del">
          <ac:chgData name="Koksrud Andreas" userId="9d9beba6-c052-407a-8599-c781a677a996" providerId="ADAL" clId="{4FE90A26-74BB-45D9-B110-78981551CFFA}" dt="2022-10-12T20:00:45.390" v="775" actId="478"/>
          <ac:cxnSpMkLst>
            <pc:docMk/>
            <pc:sldMk cId="1907635855" sldId="796"/>
            <ac:cxnSpMk id="13" creationId="{5E61798F-0846-4D58-A3D1-175853F3945A}"/>
          </ac:cxnSpMkLst>
        </pc:cxnChg>
        <pc:cxnChg chg="del mod">
          <ac:chgData name="Koksrud Andreas" userId="9d9beba6-c052-407a-8599-c781a677a996" providerId="ADAL" clId="{4FE90A26-74BB-45D9-B110-78981551CFFA}" dt="2022-10-12T20:00:45.390" v="775" actId="478"/>
          <ac:cxnSpMkLst>
            <pc:docMk/>
            <pc:sldMk cId="1907635855" sldId="796"/>
            <ac:cxnSpMk id="32" creationId="{1F6C5685-455E-4868-A46C-95B393FC102D}"/>
          </ac:cxnSpMkLst>
        </pc:cxnChg>
      </pc:sldChg>
      <pc:sldChg chg="addSp delSp modSp add mod">
        <pc:chgData name="Koksrud Andreas" userId="9d9beba6-c052-407a-8599-c781a677a996" providerId="ADAL" clId="{4FE90A26-74BB-45D9-B110-78981551CFFA}" dt="2022-10-12T20:12:01.475" v="913" actId="20577"/>
        <pc:sldMkLst>
          <pc:docMk/>
          <pc:sldMk cId="1982064828" sldId="797"/>
        </pc:sldMkLst>
        <pc:spChg chg="mod">
          <ac:chgData name="Koksrud Andreas" userId="9d9beba6-c052-407a-8599-c781a677a996" providerId="ADAL" clId="{4FE90A26-74BB-45D9-B110-78981551CFFA}" dt="2022-10-12T20:10:40.926" v="865" actId="14100"/>
          <ac:spMkLst>
            <pc:docMk/>
            <pc:sldMk cId="1982064828" sldId="797"/>
            <ac:spMk id="16" creationId="{07DBB511-C5F0-4D38-9327-A4DD7CCD8691}"/>
          </ac:spMkLst>
        </pc:spChg>
        <pc:spChg chg="mod">
          <ac:chgData name="Koksrud Andreas" userId="9d9beba6-c052-407a-8599-c781a677a996" providerId="ADAL" clId="{4FE90A26-74BB-45D9-B110-78981551CFFA}" dt="2022-10-12T20:12:01.475" v="913" actId="20577"/>
          <ac:spMkLst>
            <pc:docMk/>
            <pc:sldMk cId="1982064828" sldId="797"/>
            <ac:spMk id="180" creationId="{00000000-0000-0000-0000-000000000000}"/>
          </ac:spMkLst>
        </pc:spChg>
        <pc:picChg chg="del">
          <ac:chgData name="Koksrud Andreas" userId="9d9beba6-c052-407a-8599-c781a677a996" providerId="ADAL" clId="{4FE90A26-74BB-45D9-B110-78981551CFFA}" dt="2022-10-12T20:07:58.654" v="814" actId="478"/>
          <ac:picMkLst>
            <pc:docMk/>
            <pc:sldMk cId="1982064828" sldId="797"/>
            <ac:picMk id="3" creationId="{0795624C-FAC5-4B4C-B67F-C14A716416D1}"/>
          </ac:picMkLst>
        </pc:picChg>
        <pc:picChg chg="add mod">
          <ac:chgData name="Koksrud Andreas" userId="9d9beba6-c052-407a-8599-c781a677a996" providerId="ADAL" clId="{4FE90A26-74BB-45D9-B110-78981551CFFA}" dt="2022-10-12T20:10:44.353" v="866" actId="1076"/>
          <ac:picMkLst>
            <pc:docMk/>
            <pc:sldMk cId="1982064828" sldId="797"/>
            <ac:picMk id="4" creationId="{7891C853-CDA4-472D-9162-47563510944C}"/>
          </ac:picMkLst>
        </pc:picChg>
        <pc:picChg chg="add del mod">
          <ac:chgData name="Koksrud Andreas" userId="9d9beba6-c052-407a-8599-c781a677a996" providerId="ADAL" clId="{4FE90A26-74BB-45D9-B110-78981551CFFA}" dt="2022-10-12T20:09:06.948" v="819" actId="478"/>
          <ac:picMkLst>
            <pc:docMk/>
            <pc:sldMk cId="1982064828" sldId="797"/>
            <ac:picMk id="6" creationId="{692E9468-62BC-40E3-B182-D3E38F1C34C7}"/>
          </ac:picMkLst>
        </pc:picChg>
        <pc:picChg chg="del">
          <ac:chgData name="Koksrud Andreas" userId="9d9beba6-c052-407a-8599-c781a677a996" providerId="ADAL" clId="{4FE90A26-74BB-45D9-B110-78981551CFFA}" dt="2022-10-12T20:08:00.539" v="815" actId="478"/>
          <ac:picMkLst>
            <pc:docMk/>
            <pc:sldMk cId="1982064828" sldId="797"/>
            <ac:picMk id="8" creationId="{23582907-3160-41B0-A874-64BD1F1E7507}"/>
          </ac:picMkLst>
        </pc:picChg>
        <pc:picChg chg="add del mod">
          <ac:chgData name="Koksrud Andreas" userId="9d9beba6-c052-407a-8599-c781a677a996" providerId="ADAL" clId="{4FE90A26-74BB-45D9-B110-78981551CFFA}" dt="2022-10-12T20:09:26.541" v="822" actId="478"/>
          <ac:picMkLst>
            <pc:docMk/>
            <pc:sldMk cId="1982064828" sldId="797"/>
            <ac:picMk id="9" creationId="{FAF59FAD-86F5-44E3-AFFF-12F11F48454C}"/>
          </ac:picMkLst>
        </pc:picChg>
        <pc:picChg chg="add mod modCrop">
          <ac:chgData name="Koksrud Andreas" userId="9d9beba6-c052-407a-8599-c781a677a996" providerId="ADAL" clId="{4FE90A26-74BB-45D9-B110-78981551CFFA}" dt="2022-10-12T20:10:29.740" v="863" actId="1076"/>
          <ac:picMkLst>
            <pc:docMk/>
            <pc:sldMk cId="1982064828" sldId="797"/>
            <ac:picMk id="11" creationId="{E492126D-5EC5-4497-9B11-E4D46B3F63C6}"/>
          </ac:picMkLst>
        </pc:picChg>
        <pc:picChg chg="del">
          <ac:chgData name="Koksrud Andreas" userId="9d9beba6-c052-407a-8599-c781a677a996" providerId="ADAL" clId="{4FE90A26-74BB-45D9-B110-78981551CFFA}" dt="2022-10-12T20:08:02.093" v="816" actId="478"/>
          <ac:picMkLst>
            <pc:docMk/>
            <pc:sldMk cId="1982064828" sldId="797"/>
            <ac:picMk id="14" creationId="{107818D8-79C6-4080-9D24-53E85B3DA644}"/>
          </ac:picMkLst>
        </pc:picChg>
      </pc:sldChg>
      <pc:sldChg chg="addSp delSp modSp add mod">
        <pc:chgData name="Koksrud Andreas" userId="9d9beba6-c052-407a-8599-c781a677a996" providerId="ADAL" clId="{4FE90A26-74BB-45D9-B110-78981551CFFA}" dt="2022-10-12T20:14:45.324" v="1035" actId="1076"/>
        <pc:sldMkLst>
          <pc:docMk/>
          <pc:sldMk cId="3022261891" sldId="798"/>
        </pc:sldMkLst>
        <pc:spChg chg="mod">
          <ac:chgData name="Koksrud Andreas" userId="9d9beba6-c052-407a-8599-c781a677a996" providerId="ADAL" clId="{4FE90A26-74BB-45D9-B110-78981551CFFA}" dt="2022-10-12T20:13:38.087" v="1025" actId="14100"/>
          <ac:spMkLst>
            <pc:docMk/>
            <pc:sldMk cId="3022261891" sldId="798"/>
            <ac:spMk id="16" creationId="{07DBB511-C5F0-4D38-9327-A4DD7CCD8691}"/>
          </ac:spMkLst>
        </pc:spChg>
        <pc:spChg chg="mod">
          <ac:chgData name="Koksrud Andreas" userId="9d9beba6-c052-407a-8599-c781a677a996" providerId="ADAL" clId="{4FE90A26-74BB-45D9-B110-78981551CFFA}" dt="2022-10-12T20:12:21.885" v="968" actId="20577"/>
          <ac:spMkLst>
            <pc:docMk/>
            <pc:sldMk cId="3022261891" sldId="798"/>
            <ac:spMk id="180" creationId="{00000000-0000-0000-0000-000000000000}"/>
          </ac:spMkLst>
        </pc:spChg>
        <pc:picChg chg="add mod modCrop">
          <ac:chgData name="Koksrud Andreas" userId="9d9beba6-c052-407a-8599-c781a677a996" providerId="ADAL" clId="{4FE90A26-74BB-45D9-B110-78981551CFFA}" dt="2022-10-12T20:14:38.386" v="1034" actId="1076"/>
          <ac:picMkLst>
            <pc:docMk/>
            <pc:sldMk cId="3022261891" sldId="798"/>
            <ac:picMk id="3" creationId="{6ABB57AC-7592-47D1-B631-85AFA423E9EF}"/>
          </ac:picMkLst>
        </pc:picChg>
        <pc:picChg chg="del">
          <ac:chgData name="Koksrud Andreas" userId="9d9beba6-c052-407a-8599-c781a677a996" providerId="ADAL" clId="{4FE90A26-74BB-45D9-B110-78981551CFFA}" dt="2022-10-12T20:12:44.488" v="1000" actId="478"/>
          <ac:picMkLst>
            <pc:docMk/>
            <pc:sldMk cId="3022261891" sldId="798"/>
            <ac:picMk id="4" creationId="{7891C853-CDA4-472D-9162-47563510944C}"/>
          </ac:picMkLst>
        </pc:picChg>
        <pc:picChg chg="add mod">
          <ac:chgData name="Koksrud Andreas" userId="9d9beba6-c052-407a-8599-c781a677a996" providerId="ADAL" clId="{4FE90A26-74BB-45D9-B110-78981551CFFA}" dt="2022-10-12T20:14:45.324" v="1035" actId="1076"/>
          <ac:picMkLst>
            <pc:docMk/>
            <pc:sldMk cId="3022261891" sldId="798"/>
            <ac:picMk id="6" creationId="{6DABEE66-A329-43B4-BF14-D98B56393712}"/>
          </ac:picMkLst>
        </pc:picChg>
        <pc:picChg chg="add del mod">
          <ac:chgData name="Koksrud Andreas" userId="9d9beba6-c052-407a-8599-c781a677a996" providerId="ADAL" clId="{4FE90A26-74BB-45D9-B110-78981551CFFA}" dt="2022-10-12T20:13:58.922" v="1027" actId="478"/>
          <ac:picMkLst>
            <pc:docMk/>
            <pc:sldMk cId="3022261891" sldId="798"/>
            <ac:picMk id="8" creationId="{007847FC-438C-4F08-B9CB-E47B1380D488}"/>
          </ac:picMkLst>
        </pc:picChg>
        <pc:picChg chg="add mod modCrop">
          <ac:chgData name="Koksrud Andreas" userId="9d9beba6-c052-407a-8599-c781a677a996" providerId="ADAL" clId="{4FE90A26-74BB-45D9-B110-78981551CFFA}" dt="2022-10-12T20:14:16.054" v="1030" actId="732"/>
          <ac:picMkLst>
            <pc:docMk/>
            <pc:sldMk cId="3022261891" sldId="798"/>
            <ac:picMk id="10" creationId="{75DBD8B8-9F53-470C-8D87-984D384A448D}"/>
          </ac:picMkLst>
        </pc:picChg>
        <pc:picChg chg="del">
          <ac:chgData name="Koksrud Andreas" userId="9d9beba6-c052-407a-8599-c781a677a996" providerId="ADAL" clId="{4FE90A26-74BB-45D9-B110-78981551CFFA}" dt="2022-10-12T20:12:25.157" v="969" actId="478"/>
          <ac:picMkLst>
            <pc:docMk/>
            <pc:sldMk cId="3022261891" sldId="798"/>
            <ac:picMk id="11" creationId="{E492126D-5EC5-4497-9B11-E4D46B3F63C6}"/>
          </ac:picMkLst>
        </pc:picChg>
      </pc:sldChg>
      <pc:sldChg chg="addSp modSp add mod">
        <pc:chgData name="Koksrud Andreas" userId="9d9beba6-c052-407a-8599-c781a677a996" providerId="ADAL" clId="{4FE90A26-74BB-45D9-B110-78981551CFFA}" dt="2022-10-12T20:26:01.516" v="1253" actId="1582"/>
        <pc:sldMkLst>
          <pc:docMk/>
          <pc:sldMk cId="3047001927" sldId="799"/>
        </pc:sldMkLst>
        <pc:spChg chg="add mod">
          <ac:chgData name="Koksrud Andreas" userId="9d9beba6-c052-407a-8599-c781a677a996" providerId="ADAL" clId="{4FE90A26-74BB-45D9-B110-78981551CFFA}" dt="2022-10-12T20:25:07.304" v="1248" actId="14100"/>
          <ac:spMkLst>
            <pc:docMk/>
            <pc:sldMk cId="3047001927" sldId="799"/>
            <ac:spMk id="9" creationId="{F822F018-9315-4889-AC17-787B1BD79F2F}"/>
          </ac:spMkLst>
        </pc:spChg>
        <pc:spChg chg="add mod">
          <ac:chgData name="Koksrud Andreas" userId="9d9beba6-c052-407a-8599-c781a677a996" providerId="ADAL" clId="{4FE90A26-74BB-45D9-B110-78981551CFFA}" dt="2022-10-12T20:25:14.981" v="1250" actId="1076"/>
          <ac:spMkLst>
            <pc:docMk/>
            <pc:sldMk cId="3047001927" sldId="799"/>
            <ac:spMk id="10" creationId="{E6CE9D03-47C8-4C83-B559-7DE6C4A3B822}"/>
          </ac:spMkLst>
        </pc:spChg>
        <pc:spChg chg="mod">
          <ac:chgData name="Koksrud Andreas" userId="9d9beba6-c052-407a-8599-c781a677a996" providerId="ADAL" clId="{4FE90A26-74BB-45D9-B110-78981551CFFA}" dt="2022-10-12T20:18:17.547" v="1175" actId="20577"/>
          <ac:spMkLst>
            <pc:docMk/>
            <pc:sldMk cId="3047001927" sldId="799"/>
            <ac:spMk id="180" creationId="{00000000-0000-0000-0000-000000000000}"/>
          </ac:spMkLst>
        </pc:spChg>
        <pc:picChg chg="add mod">
          <ac:chgData name="Koksrud Andreas" userId="9d9beba6-c052-407a-8599-c781a677a996" providerId="ADAL" clId="{4FE90A26-74BB-45D9-B110-78981551CFFA}" dt="2022-10-12T20:24:18.671" v="1243" actId="1076"/>
          <ac:picMkLst>
            <pc:docMk/>
            <pc:sldMk cId="3047001927" sldId="799"/>
            <ac:picMk id="3" creationId="{B1A6F25B-7528-4B3D-8975-9F5FEC3F5683}"/>
          </ac:picMkLst>
        </pc:picChg>
        <pc:picChg chg="add mod">
          <ac:chgData name="Koksrud Andreas" userId="9d9beba6-c052-407a-8599-c781a677a996" providerId="ADAL" clId="{4FE90A26-74BB-45D9-B110-78981551CFFA}" dt="2022-10-12T20:24:54.626" v="1245" actId="1076"/>
          <ac:picMkLst>
            <pc:docMk/>
            <pc:sldMk cId="3047001927" sldId="799"/>
            <ac:picMk id="5" creationId="{2011A7F9-D50B-4F3A-8B63-E2465B601E87}"/>
          </ac:picMkLst>
        </pc:picChg>
        <pc:cxnChg chg="add mod">
          <ac:chgData name="Koksrud Andreas" userId="9d9beba6-c052-407a-8599-c781a677a996" providerId="ADAL" clId="{4FE90A26-74BB-45D9-B110-78981551CFFA}" dt="2022-10-12T20:26:01.516" v="1253" actId="1582"/>
          <ac:cxnSpMkLst>
            <pc:docMk/>
            <pc:sldMk cId="3047001927" sldId="799"/>
            <ac:cxnSpMk id="7" creationId="{CDCB4572-7212-4095-A5A4-4D454AA3FDCC}"/>
          </ac:cxnSpMkLst>
        </pc:cxnChg>
      </pc:sldChg>
      <pc:sldChg chg="addSp delSp modSp add mod">
        <pc:chgData name="Koksrud Andreas" userId="9d9beba6-c052-407a-8599-c781a677a996" providerId="ADAL" clId="{4FE90A26-74BB-45D9-B110-78981551CFFA}" dt="2022-10-12T20:33:53.537" v="1265" actId="931"/>
        <pc:sldMkLst>
          <pc:docMk/>
          <pc:sldMk cId="370428494" sldId="800"/>
        </pc:sldMkLst>
        <pc:spChg chg="add mod">
          <ac:chgData name="Koksrud Andreas" userId="9d9beba6-c052-407a-8599-c781a677a996" providerId="ADAL" clId="{4FE90A26-74BB-45D9-B110-78981551CFFA}" dt="2022-10-12T20:28:41.958" v="1257" actId="1076"/>
          <ac:spMkLst>
            <pc:docMk/>
            <pc:sldMk cId="370428494" sldId="800"/>
            <ac:spMk id="5" creationId="{09F02E7C-7E64-4F56-B9D3-2867D1136F02}"/>
          </ac:spMkLst>
        </pc:spChg>
        <pc:spChg chg="mod">
          <ac:chgData name="Koksrud Andreas" userId="9d9beba6-c052-407a-8599-c781a677a996" providerId="ADAL" clId="{4FE90A26-74BB-45D9-B110-78981551CFFA}" dt="2022-10-12T20:18:28.200" v="1197" actId="20577"/>
          <ac:spMkLst>
            <pc:docMk/>
            <pc:sldMk cId="370428494" sldId="800"/>
            <ac:spMk id="180" creationId="{00000000-0000-0000-0000-000000000000}"/>
          </ac:spMkLst>
        </pc:spChg>
        <pc:picChg chg="add del mod">
          <ac:chgData name="Koksrud Andreas" userId="9d9beba6-c052-407a-8599-c781a677a996" providerId="ADAL" clId="{4FE90A26-74BB-45D9-B110-78981551CFFA}" dt="2022-10-12T20:33:27.264" v="1262" actId="478"/>
          <ac:picMkLst>
            <pc:docMk/>
            <pc:sldMk cId="370428494" sldId="800"/>
            <ac:picMk id="3" creationId="{223CA683-CA82-4ACC-BC3E-B62560C0FF17}"/>
          </ac:picMkLst>
        </pc:picChg>
        <pc:picChg chg="add mod">
          <ac:chgData name="Koksrud Andreas" userId="9d9beba6-c052-407a-8599-c781a677a996" providerId="ADAL" clId="{4FE90A26-74BB-45D9-B110-78981551CFFA}" dt="2022-10-12T20:33:33.593" v="1264" actId="1076"/>
          <ac:picMkLst>
            <pc:docMk/>
            <pc:sldMk cId="370428494" sldId="800"/>
            <ac:picMk id="6" creationId="{93C1DF32-AC33-4EF8-96C1-411C83A95BDD}"/>
          </ac:picMkLst>
        </pc:picChg>
        <pc:picChg chg="add mod">
          <ac:chgData name="Koksrud Andreas" userId="9d9beba6-c052-407a-8599-c781a677a996" providerId="ADAL" clId="{4FE90A26-74BB-45D9-B110-78981551CFFA}" dt="2022-10-12T20:33:53.537" v="1265" actId="931"/>
          <ac:picMkLst>
            <pc:docMk/>
            <pc:sldMk cId="370428494" sldId="800"/>
            <ac:picMk id="8" creationId="{F87FAB7C-4F6C-4ED5-BD32-480BFBBE0350}"/>
          </ac:picMkLst>
        </pc:picChg>
      </pc:sldChg>
      <pc:sldChg chg="addSp modSp add mod">
        <pc:chgData name="Koksrud Andreas" userId="9d9beba6-c052-407a-8599-c781a677a996" providerId="ADAL" clId="{4FE90A26-74BB-45D9-B110-78981551CFFA}" dt="2022-10-12T20:41:14.406" v="1329" actId="1035"/>
        <pc:sldMkLst>
          <pc:docMk/>
          <pc:sldMk cId="490059796" sldId="801"/>
        </pc:sldMkLst>
        <pc:spChg chg="mod">
          <ac:chgData name="Koksrud Andreas" userId="9d9beba6-c052-407a-8599-c781a677a996" providerId="ADAL" clId="{4FE90A26-74BB-45D9-B110-78981551CFFA}" dt="2022-10-12T20:18:37.687" v="1211" actId="20577"/>
          <ac:spMkLst>
            <pc:docMk/>
            <pc:sldMk cId="490059796" sldId="801"/>
            <ac:spMk id="180" creationId="{00000000-0000-0000-0000-000000000000}"/>
          </ac:spMkLst>
        </pc:spChg>
        <pc:picChg chg="add mod">
          <ac:chgData name="Koksrud Andreas" userId="9d9beba6-c052-407a-8599-c781a677a996" providerId="ADAL" clId="{4FE90A26-74BB-45D9-B110-78981551CFFA}" dt="2022-10-12T20:40:22.056" v="1315" actId="14100"/>
          <ac:picMkLst>
            <pc:docMk/>
            <pc:sldMk cId="490059796" sldId="801"/>
            <ac:picMk id="3" creationId="{E716569D-0FB9-4EB7-8281-D55FCCCADF90}"/>
          </ac:picMkLst>
        </pc:picChg>
        <pc:picChg chg="add mod">
          <ac:chgData name="Koksrud Andreas" userId="9d9beba6-c052-407a-8599-c781a677a996" providerId="ADAL" clId="{4FE90A26-74BB-45D9-B110-78981551CFFA}" dt="2022-10-12T20:41:14.406" v="1329" actId="1035"/>
          <ac:picMkLst>
            <pc:docMk/>
            <pc:sldMk cId="490059796" sldId="801"/>
            <ac:picMk id="5" creationId="{F7EC644E-5B8E-4772-AA5A-7CBC1C3A6FD0}"/>
          </ac:picMkLst>
        </pc:picChg>
        <pc:picChg chg="add mod modCrop">
          <ac:chgData name="Koksrud Andreas" userId="9d9beba6-c052-407a-8599-c781a677a996" providerId="ADAL" clId="{4FE90A26-74BB-45D9-B110-78981551CFFA}" dt="2022-10-12T20:41:10.118" v="1326" actId="14100"/>
          <ac:picMkLst>
            <pc:docMk/>
            <pc:sldMk cId="490059796" sldId="801"/>
            <ac:picMk id="7" creationId="{E38D5BF8-8BBE-478C-AEDC-060E2FB5EB0F}"/>
          </ac:picMkLst>
        </pc:picChg>
      </pc:sldChg>
      <pc:sldChg chg="addSp modSp add mod">
        <pc:chgData name="Koksrud Andreas" userId="9d9beba6-c052-407a-8599-c781a677a996" providerId="ADAL" clId="{4FE90A26-74BB-45D9-B110-78981551CFFA}" dt="2022-10-12T20:43:44.086" v="1345" actId="732"/>
        <pc:sldMkLst>
          <pc:docMk/>
          <pc:sldMk cId="4103761933" sldId="802"/>
        </pc:sldMkLst>
        <pc:spChg chg="add mod">
          <ac:chgData name="Koksrud Andreas" userId="9d9beba6-c052-407a-8599-c781a677a996" providerId="ADAL" clId="{4FE90A26-74BB-45D9-B110-78981551CFFA}" dt="2022-10-12T20:42:48.917" v="1341" actId="14100"/>
          <ac:spMkLst>
            <pc:docMk/>
            <pc:sldMk cId="4103761933" sldId="802"/>
            <ac:spMk id="5" creationId="{ECC38A9E-8065-42B9-9FA7-05E11395ACA0}"/>
          </ac:spMkLst>
        </pc:spChg>
        <pc:spChg chg="mod">
          <ac:chgData name="Koksrud Andreas" userId="9d9beba6-c052-407a-8599-c781a677a996" providerId="ADAL" clId="{4FE90A26-74BB-45D9-B110-78981551CFFA}" dt="2022-10-12T20:18:49.130" v="1227" actId="20577"/>
          <ac:spMkLst>
            <pc:docMk/>
            <pc:sldMk cId="4103761933" sldId="802"/>
            <ac:spMk id="180" creationId="{00000000-0000-0000-0000-000000000000}"/>
          </ac:spMkLst>
        </pc:spChg>
        <pc:picChg chg="add mod modCrop">
          <ac:chgData name="Koksrud Andreas" userId="9d9beba6-c052-407a-8599-c781a677a996" providerId="ADAL" clId="{4FE90A26-74BB-45D9-B110-78981551CFFA}" dt="2022-10-12T20:43:44.086" v="1345" actId="732"/>
          <ac:picMkLst>
            <pc:docMk/>
            <pc:sldMk cId="4103761933" sldId="802"/>
            <ac:picMk id="3" creationId="{36E1633A-388A-4E21-8FB4-DD0A99F6CD79}"/>
          </ac:picMkLst>
        </pc:picChg>
      </pc:sldChg>
      <pc:sldChg chg="add del">
        <pc:chgData name="Koksrud Andreas" userId="9d9beba6-c052-407a-8599-c781a677a996" providerId="ADAL" clId="{4FE90A26-74BB-45D9-B110-78981551CFFA}" dt="2022-10-12T20:18:58.222" v="1228" actId="47"/>
        <pc:sldMkLst>
          <pc:docMk/>
          <pc:sldMk cId="1711339699" sldId="803"/>
        </pc:sldMkLst>
      </pc:sldChg>
      <pc:sldChg chg="addSp delSp modSp add mod">
        <pc:chgData name="Koksrud Andreas" userId="9d9beba6-c052-407a-8599-c781a677a996" providerId="ADAL" clId="{4FE90A26-74BB-45D9-B110-78981551CFFA}" dt="2022-10-12T20:36:41.492" v="1311" actId="1076"/>
        <pc:sldMkLst>
          <pc:docMk/>
          <pc:sldMk cId="2082423837" sldId="803"/>
        </pc:sldMkLst>
        <pc:spChg chg="mod">
          <ac:chgData name="Koksrud Andreas" userId="9d9beba6-c052-407a-8599-c781a677a996" providerId="ADAL" clId="{4FE90A26-74BB-45D9-B110-78981551CFFA}" dt="2022-10-12T20:35:32.037" v="1303" actId="6549"/>
          <ac:spMkLst>
            <pc:docMk/>
            <pc:sldMk cId="2082423837" sldId="803"/>
            <ac:spMk id="180" creationId="{00000000-0000-0000-0000-000000000000}"/>
          </ac:spMkLst>
        </pc:spChg>
        <pc:picChg chg="add mod">
          <ac:chgData name="Koksrud Andreas" userId="9d9beba6-c052-407a-8599-c781a677a996" providerId="ADAL" clId="{4FE90A26-74BB-45D9-B110-78981551CFFA}" dt="2022-10-12T20:35:44.425" v="1305" actId="1076"/>
          <ac:picMkLst>
            <pc:docMk/>
            <pc:sldMk cId="2082423837" sldId="803"/>
            <ac:picMk id="3" creationId="{43708057-FAA4-4CA5-9347-8AB8B6A3C87F}"/>
          </ac:picMkLst>
        </pc:picChg>
        <pc:picChg chg="del">
          <ac:chgData name="Koksrud Andreas" userId="9d9beba6-c052-407a-8599-c781a677a996" providerId="ADAL" clId="{4FE90A26-74BB-45D9-B110-78981551CFFA}" dt="2022-10-12T20:35:08.210" v="1280" actId="478"/>
          <ac:picMkLst>
            <pc:docMk/>
            <pc:sldMk cId="2082423837" sldId="803"/>
            <ac:picMk id="6" creationId="{93C1DF32-AC33-4EF8-96C1-411C83A95BDD}"/>
          </ac:picMkLst>
        </pc:picChg>
        <pc:picChg chg="add mod modCrop">
          <ac:chgData name="Koksrud Andreas" userId="9d9beba6-c052-407a-8599-c781a677a996" providerId="ADAL" clId="{4FE90A26-74BB-45D9-B110-78981551CFFA}" dt="2022-10-12T20:36:41.492" v="1311" actId="1076"/>
          <ac:picMkLst>
            <pc:docMk/>
            <pc:sldMk cId="2082423837" sldId="803"/>
            <ac:picMk id="7" creationId="{3F19B2D2-A6F4-44AD-8293-9052DB5034F5}"/>
          </ac:picMkLst>
        </pc:picChg>
        <pc:picChg chg="del">
          <ac:chgData name="Koksrud Andreas" userId="9d9beba6-c052-407a-8599-c781a677a996" providerId="ADAL" clId="{4FE90A26-74BB-45D9-B110-78981551CFFA}" dt="2022-10-12T20:35:10.378" v="1281" actId="478"/>
          <ac:picMkLst>
            <pc:docMk/>
            <pc:sldMk cId="2082423837" sldId="803"/>
            <ac:picMk id="8" creationId="{F87FAB7C-4F6C-4ED5-BD32-480BFBBE0350}"/>
          </ac:picMkLst>
        </pc:picChg>
      </pc:sldChg>
      <pc:sldChg chg="delSp modSp add mod">
        <pc:chgData name="Koksrud Andreas" userId="9d9beba6-c052-407a-8599-c781a677a996" providerId="ADAL" clId="{4FE90A26-74BB-45D9-B110-78981551CFFA}" dt="2022-10-12T20:44:57.067" v="1363" actId="20577"/>
        <pc:sldMkLst>
          <pc:docMk/>
          <pc:sldMk cId="652182716" sldId="804"/>
        </pc:sldMkLst>
        <pc:spChg chg="del">
          <ac:chgData name="Koksrud Andreas" userId="9d9beba6-c052-407a-8599-c781a677a996" providerId="ADAL" clId="{4FE90A26-74BB-45D9-B110-78981551CFFA}" dt="2022-10-12T20:44:48.915" v="1348" actId="478"/>
          <ac:spMkLst>
            <pc:docMk/>
            <pc:sldMk cId="652182716" sldId="804"/>
            <ac:spMk id="4" creationId="{2ECF3AB8-A6F7-4C86-8007-5158B60C6A0E}"/>
          </ac:spMkLst>
        </pc:spChg>
        <pc:spChg chg="del">
          <ac:chgData name="Koksrud Andreas" userId="9d9beba6-c052-407a-8599-c781a677a996" providerId="ADAL" clId="{4FE90A26-74BB-45D9-B110-78981551CFFA}" dt="2022-10-12T20:44:48.915" v="1348" actId="478"/>
          <ac:spMkLst>
            <pc:docMk/>
            <pc:sldMk cId="652182716" sldId="804"/>
            <ac:spMk id="7" creationId="{6068465B-FC64-4B96-946D-409C1A0164D1}"/>
          </ac:spMkLst>
        </pc:spChg>
        <pc:spChg chg="del">
          <ac:chgData name="Koksrud Andreas" userId="9d9beba6-c052-407a-8599-c781a677a996" providerId="ADAL" clId="{4FE90A26-74BB-45D9-B110-78981551CFFA}" dt="2022-10-12T20:44:48.915" v="1348" actId="478"/>
          <ac:spMkLst>
            <pc:docMk/>
            <pc:sldMk cId="652182716" sldId="804"/>
            <ac:spMk id="10" creationId="{B8AD7035-B1E6-4BAC-809E-880AE16677EC}"/>
          </ac:spMkLst>
        </pc:spChg>
        <pc:spChg chg="del">
          <ac:chgData name="Koksrud Andreas" userId="9d9beba6-c052-407a-8599-c781a677a996" providerId="ADAL" clId="{4FE90A26-74BB-45D9-B110-78981551CFFA}" dt="2022-10-12T20:44:48.915" v="1348" actId="478"/>
          <ac:spMkLst>
            <pc:docMk/>
            <pc:sldMk cId="652182716" sldId="804"/>
            <ac:spMk id="12" creationId="{12E40938-6728-48DC-A135-E93B4CFB06AF}"/>
          </ac:spMkLst>
        </pc:spChg>
        <pc:spChg chg="del">
          <ac:chgData name="Koksrud Andreas" userId="9d9beba6-c052-407a-8599-c781a677a996" providerId="ADAL" clId="{4FE90A26-74BB-45D9-B110-78981551CFFA}" dt="2022-10-12T20:44:48.915" v="1348" actId="478"/>
          <ac:spMkLst>
            <pc:docMk/>
            <pc:sldMk cId="652182716" sldId="804"/>
            <ac:spMk id="15" creationId="{C9C592CD-35F0-4396-97D0-9E7728F1C86D}"/>
          </ac:spMkLst>
        </pc:spChg>
        <pc:spChg chg="mod">
          <ac:chgData name="Koksrud Andreas" userId="9d9beba6-c052-407a-8599-c781a677a996" providerId="ADAL" clId="{4FE90A26-74BB-45D9-B110-78981551CFFA}" dt="2022-10-12T20:44:57.067" v="1363" actId="20577"/>
          <ac:spMkLst>
            <pc:docMk/>
            <pc:sldMk cId="652182716" sldId="804"/>
            <ac:spMk id="16" creationId="{07DBB511-C5F0-4D38-9327-A4DD7CCD8691}"/>
          </ac:spMkLst>
        </pc:spChg>
        <pc:spChg chg="del">
          <ac:chgData name="Koksrud Andreas" userId="9d9beba6-c052-407a-8599-c781a677a996" providerId="ADAL" clId="{4FE90A26-74BB-45D9-B110-78981551CFFA}" dt="2022-10-12T20:44:48.915" v="1348" actId="478"/>
          <ac:spMkLst>
            <pc:docMk/>
            <pc:sldMk cId="652182716" sldId="804"/>
            <ac:spMk id="21" creationId="{6863767D-A90F-4028-8874-5F81AE2B27F3}"/>
          </ac:spMkLst>
        </pc:spChg>
        <pc:spChg chg="del">
          <ac:chgData name="Koksrud Andreas" userId="9d9beba6-c052-407a-8599-c781a677a996" providerId="ADAL" clId="{4FE90A26-74BB-45D9-B110-78981551CFFA}" dt="2022-10-12T20:44:48.915" v="1348" actId="478"/>
          <ac:spMkLst>
            <pc:docMk/>
            <pc:sldMk cId="652182716" sldId="804"/>
            <ac:spMk id="30" creationId="{76B2A01D-6F66-4771-97AD-3C58C01E7EF7}"/>
          </ac:spMkLst>
        </pc:spChg>
        <pc:spChg chg="del">
          <ac:chgData name="Koksrud Andreas" userId="9d9beba6-c052-407a-8599-c781a677a996" providerId="ADAL" clId="{4FE90A26-74BB-45D9-B110-78981551CFFA}" dt="2022-10-12T20:44:51.464" v="1349" actId="478"/>
          <ac:spMkLst>
            <pc:docMk/>
            <pc:sldMk cId="652182716" sldId="804"/>
            <ac:spMk id="31" creationId="{7ACC2683-E91B-4ACE-8782-1EC35BE01537}"/>
          </ac:spMkLst>
        </pc:spChg>
        <pc:picChg chg="del">
          <ac:chgData name="Koksrud Andreas" userId="9d9beba6-c052-407a-8599-c781a677a996" providerId="ADAL" clId="{4FE90A26-74BB-45D9-B110-78981551CFFA}" dt="2022-10-12T20:44:43.128" v="1347" actId="478"/>
          <ac:picMkLst>
            <pc:docMk/>
            <pc:sldMk cId="652182716" sldId="804"/>
            <ac:picMk id="17" creationId="{C6160B23-DB6A-46B7-82CB-D12F6C26C5F6}"/>
          </ac:picMkLst>
        </pc:picChg>
        <pc:cxnChg chg="del">
          <ac:chgData name="Koksrud Andreas" userId="9d9beba6-c052-407a-8599-c781a677a996" providerId="ADAL" clId="{4FE90A26-74BB-45D9-B110-78981551CFFA}" dt="2022-10-12T20:44:48.915" v="1348" actId="478"/>
          <ac:cxnSpMkLst>
            <pc:docMk/>
            <pc:sldMk cId="652182716" sldId="804"/>
            <ac:cxnSpMk id="6" creationId="{277973A1-4F9D-496B-AED6-59A78234FF48}"/>
          </ac:cxnSpMkLst>
        </pc:cxnChg>
        <pc:cxnChg chg="del mod">
          <ac:chgData name="Koksrud Andreas" userId="9d9beba6-c052-407a-8599-c781a677a996" providerId="ADAL" clId="{4FE90A26-74BB-45D9-B110-78981551CFFA}" dt="2022-10-12T20:44:48.915" v="1348" actId="478"/>
          <ac:cxnSpMkLst>
            <pc:docMk/>
            <pc:sldMk cId="652182716" sldId="804"/>
            <ac:cxnSpMk id="9" creationId="{9ECF109E-52D4-4978-8BB7-265D06CCB3E5}"/>
          </ac:cxnSpMkLst>
        </pc:cxnChg>
        <pc:cxnChg chg="del">
          <ac:chgData name="Koksrud Andreas" userId="9d9beba6-c052-407a-8599-c781a677a996" providerId="ADAL" clId="{4FE90A26-74BB-45D9-B110-78981551CFFA}" dt="2022-10-12T20:44:48.915" v="1348" actId="478"/>
          <ac:cxnSpMkLst>
            <pc:docMk/>
            <pc:sldMk cId="652182716" sldId="804"/>
            <ac:cxnSpMk id="13" creationId="{5E61798F-0846-4D58-A3D1-175853F3945A}"/>
          </ac:cxnSpMkLst>
        </pc:cxnChg>
        <pc:cxnChg chg="del mod">
          <ac:chgData name="Koksrud Andreas" userId="9d9beba6-c052-407a-8599-c781a677a996" providerId="ADAL" clId="{4FE90A26-74BB-45D9-B110-78981551CFFA}" dt="2022-10-12T20:44:48.915" v="1348" actId="478"/>
          <ac:cxnSpMkLst>
            <pc:docMk/>
            <pc:sldMk cId="652182716" sldId="804"/>
            <ac:cxnSpMk id="32" creationId="{1F6C5685-455E-4868-A46C-95B393FC102D}"/>
          </ac:cxnSpMkLst>
        </pc:cxnChg>
      </pc:sldChg>
      <pc:sldChg chg="delSp modSp add mod">
        <pc:chgData name="Koksrud Andreas" userId="9d9beba6-c052-407a-8599-c781a677a996" providerId="ADAL" clId="{4FE90A26-74BB-45D9-B110-78981551CFFA}" dt="2022-10-12T20:45:37.855" v="1396" actId="1076"/>
        <pc:sldMkLst>
          <pc:docMk/>
          <pc:sldMk cId="2465847695" sldId="805"/>
        </pc:sldMkLst>
        <pc:spChg chg="mod">
          <ac:chgData name="Koksrud Andreas" userId="9d9beba6-c052-407a-8599-c781a677a996" providerId="ADAL" clId="{4FE90A26-74BB-45D9-B110-78981551CFFA}" dt="2022-10-12T20:45:37.855" v="1396" actId="1076"/>
          <ac:spMkLst>
            <pc:docMk/>
            <pc:sldMk cId="2465847695" sldId="805"/>
            <ac:spMk id="16" creationId="{07DBB511-C5F0-4D38-9327-A4DD7CCD8691}"/>
          </ac:spMkLst>
        </pc:spChg>
        <pc:spChg chg="mod">
          <ac:chgData name="Koksrud Andreas" userId="9d9beba6-c052-407a-8599-c781a677a996" providerId="ADAL" clId="{4FE90A26-74BB-45D9-B110-78981551CFFA}" dt="2022-10-12T20:45:17.519" v="1371" actId="20577"/>
          <ac:spMkLst>
            <pc:docMk/>
            <pc:sldMk cId="2465847695" sldId="805"/>
            <ac:spMk id="180" creationId="{00000000-0000-0000-0000-000000000000}"/>
          </ac:spMkLst>
        </pc:spChg>
        <pc:picChg chg="del">
          <ac:chgData name="Koksrud Andreas" userId="9d9beba6-c052-407a-8599-c781a677a996" providerId="ADAL" clId="{4FE90A26-74BB-45D9-B110-78981551CFFA}" dt="2022-10-12T20:45:21.169" v="1373" actId="478"/>
          <ac:picMkLst>
            <pc:docMk/>
            <pc:sldMk cId="2465847695" sldId="805"/>
            <ac:picMk id="4" creationId="{7891C853-CDA4-472D-9162-47563510944C}"/>
          </ac:picMkLst>
        </pc:picChg>
        <pc:picChg chg="del">
          <ac:chgData name="Koksrud Andreas" userId="9d9beba6-c052-407a-8599-c781a677a996" providerId="ADAL" clId="{4FE90A26-74BB-45D9-B110-78981551CFFA}" dt="2022-10-12T20:45:19.753" v="1372" actId="478"/>
          <ac:picMkLst>
            <pc:docMk/>
            <pc:sldMk cId="2465847695" sldId="805"/>
            <ac:picMk id="11" creationId="{E492126D-5EC5-4497-9B11-E4D46B3F63C6}"/>
          </ac:picMkLst>
        </pc:picChg>
      </pc:sldChg>
      <pc:sldChg chg="delSp modSp add mod">
        <pc:chgData name="Koksrud Andreas" userId="9d9beba6-c052-407a-8599-c781a677a996" providerId="ADAL" clId="{4FE90A26-74BB-45D9-B110-78981551CFFA}" dt="2022-10-12T20:46:13.772" v="1427" actId="478"/>
        <pc:sldMkLst>
          <pc:docMk/>
          <pc:sldMk cId="2061140835" sldId="806"/>
        </pc:sldMkLst>
        <pc:spChg chg="mod">
          <ac:chgData name="Koksrud Andreas" userId="9d9beba6-c052-407a-8599-c781a677a996" providerId="ADAL" clId="{4FE90A26-74BB-45D9-B110-78981551CFFA}" dt="2022-10-12T20:46:09.510" v="1424" actId="14100"/>
          <ac:spMkLst>
            <pc:docMk/>
            <pc:sldMk cId="2061140835" sldId="806"/>
            <ac:spMk id="16" creationId="{07DBB511-C5F0-4D38-9327-A4DD7CCD8691}"/>
          </ac:spMkLst>
        </pc:spChg>
        <pc:picChg chg="del">
          <ac:chgData name="Koksrud Andreas" userId="9d9beba6-c052-407a-8599-c781a677a996" providerId="ADAL" clId="{4FE90A26-74BB-45D9-B110-78981551CFFA}" dt="2022-10-12T20:46:12.348" v="1426" actId="478"/>
          <ac:picMkLst>
            <pc:docMk/>
            <pc:sldMk cId="2061140835" sldId="806"/>
            <ac:picMk id="3" creationId="{6ABB57AC-7592-47D1-B631-85AFA423E9EF}"/>
          </ac:picMkLst>
        </pc:picChg>
        <pc:picChg chg="del">
          <ac:chgData name="Koksrud Andreas" userId="9d9beba6-c052-407a-8599-c781a677a996" providerId="ADAL" clId="{4FE90A26-74BB-45D9-B110-78981551CFFA}" dt="2022-10-12T20:46:13.772" v="1427" actId="478"/>
          <ac:picMkLst>
            <pc:docMk/>
            <pc:sldMk cId="2061140835" sldId="806"/>
            <ac:picMk id="6" creationId="{6DABEE66-A329-43B4-BF14-D98B56393712}"/>
          </ac:picMkLst>
        </pc:picChg>
        <pc:picChg chg="del">
          <ac:chgData name="Koksrud Andreas" userId="9d9beba6-c052-407a-8599-c781a677a996" providerId="ADAL" clId="{4FE90A26-74BB-45D9-B110-78981551CFFA}" dt="2022-10-12T20:46:10.849" v="1425" actId="478"/>
          <ac:picMkLst>
            <pc:docMk/>
            <pc:sldMk cId="2061140835" sldId="806"/>
            <ac:picMk id="10" creationId="{75DBD8B8-9F53-470C-8D87-984D384A448D}"/>
          </ac:picMkLst>
        </pc:picChg>
      </pc:sldChg>
      <pc:sldChg chg="delSp modSp add del mod">
        <pc:chgData name="Koksrud Andreas" userId="9d9beba6-c052-407a-8599-c781a677a996" providerId="ADAL" clId="{4FE90A26-74BB-45D9-B110-78981551CFFA}" dt="2022-10-12T20:54:44.818" v="1440" actId="47"/>
        <pc:sldMkLst>
          <pc:docMk/>
          <pc:sldMk cId="1126792161" sldId="807"/>
        </pc:sldMkLst>
        <pc:spChg chg="mod">
          <ac:chgData name="Koksrud Andreas" userId="9d9beba6-c052-407a-8599-c781a677a996" providerId="ADAL" clId="{4FE90A26-74BB-45D9-B110-78981551CFFA}" dt="2022-10-12T20:52:51.108" v="1438" actId="20577"/>
          <ac:spMkLst>
            <pc:docMk/>
            <pc:sldMk cId="1126792161" sldId="807"/>
            <ac:spMk id="16" creationId="{07DBB511-C5F0-4D38-9327-A4DD7CCD8691}"/>
          </ac:spMkLst>
        </pc:spChg>
        <pc:picChg chg="del">
          <ac:chgData name="Koksrud Andreas" userId="9d9beba6-c052-407a-8599-c781a677a996" providerId="ADAL" clId="{4FE90A26-74BB-45D9-B110-78981551CFFA}" dt="2022-10-12T20:52:54.738" v="1439" actId="478"/>
          <ac:picMkLst>
            <pc:docMk/>
            <pc:sldMk cId="1126792161" sldId="807"/>
            <ac:picMk id="17" creationId="{C6160B23-DB6A-46B7-82CB-D12F6C26C5F6}"/>
          </ac:picMkLst>
        </pc:picChg>
      </pc:sldChg>
    </pc:docChg>
  </pc:docChgLst>
  <pc:docChgLst>
    <pc:chgData name="Koksrud Andreas" userId="9d9beba6-c052-407a-8599-c781a677a996" providerId="ADAL" clId="{4CD5824D-6142-4CBD-9878-FA57E0D27293}"/>
    <pc:docChg chg="undo redo custSel addSld delSld modSld sldOrd addSection modSection">
      <pc:chgData name="Koksrud Andreas" userId="9d9beba6-c052-407a-8599-c781a677a996" providerId="ADAL" clId="{4CD5824D-6142-4CBD-9878-FA57E0D27293}" dt="2023-12-03T19:04:08.867" v="4695" actId="1076"/>
      <pc:docMkLst>
        <pc:docMk/>
      </pc:docMkLst>
      <pc:sldChg chg="del">
        <pc:chgData name="Koksrud Andreas" userId="9d9beba6-c052-407a-8599-c781a677a996" providerId="ADAL" clId="{4CD5824D-6142-4CBD-9878-FA57E0D27293}" dt="2023-11-13T19:16:43.185" v="76" actId="47"/>
        <pc:sldMkLst>
          <pc:docMk/>
          <pc:sldMk cId="0" sldId="269"/>
        </pc:sldMkLst>
      </pc:sldChg>
      <pc:sldChg chg="modSp mod">
        <pc:chgData name="Koksrud Andreas" userId="9d9beba6-c052-407a-8599-c781a677a996" providerId="ADAL" clId="{4CD5824D-6142-4CBD-9878-FA57E0D27293}" dt="2023-11-13T19:15:15.476" v="35" actId="20577"/>
        <pc:sldMkLst>
          <pc:docMk/>
          <pc:sldMk cId="697137886" sldId="679"/>
        </pc:sldMkLst>
        <pc:spChg chg="mod">
          <ac:chgData name="Koksrud Andreas" userId="9d9beba6-c052-407a-8599-c781a677a996" providerId="ADAL" clId="{4CD5824D-6142-4CBD-9878-FA57E0D27293}" dt="2023-11-13T19:15:15.476" v="35" actId="20577"/>
          <ac:spMkLst>
            <pc:docMk/>
            <pc:sldMk cId="697137886" sldId="679"/>
            <ac:spMk id="2" creationId="{00000000-0000-0000-0000-000000000000}"/>
          </ac:spMkLst>
        </pc:spChg>
      </pc:sldChg>
      <pc:sldChg chg="modSp mod">
        <pc:chgData name="Koksrud Andreas" userId="9d9beba6-c052-407a-8599-c781a677a996" providerId="ADAL" clId="{4CD5824D-6142-4CBD-9878-FA57E0D27293}" dt="2023-11-24T08:19:19.587" v="2520" actId="6549"/>
        <pc:sldMkLst>
          <pc:docMk/>
          <pc:sldMk cId="2087783305" sldId="730"/>
        </pc:sldMkLst>
        <pc:spChg chg="mod">
          <ac:chgData name="Koksrud Andreas" userId="9d9beba6-c052-407a-8599-c781a677a996" providerId="ADAL" clId="{4CD5824D-6142-4CBD-9878-FA57E0D27293}" dt="2023-11-24T08:19:19.587" v="2520" actId="6549"/>
          <ac:spMkLst>
            <pc:docMk/>
            <pc:sldMk cId="2087783305" sldId="730"/>
            <ac:spMk id="2" creationId="{E83F8947-299D-4698-B80E-56B8E23125F0}"/>
          </ac:spMkLst>
        </pc:spChg>
      </pc:sldChg>
      <pc:sldChg chg="del">
        <pc:chgData name="Koksrud Andreas" userId="9d9beba6-c052-407a-8599-c781a677a996" providerId="ADAL" clId="{4CD5824D-6142-4CBD-9878-FA57E0D27293}" dt="2023-11-13T19:16:39.370" v="58" actId="47"/>
        <pc:sldMkLst>
          <pc:docMk/>
          <pc:sldMk cId="662028914" sldId="756"/>
        </pc:sldMkLst>
      </pc:sldChg>
      <pc:sldChg chg="del">
        <pc:chgData name="Koksrud Andreas" userId="9d9beba6-c052-407a-8599-c781a677a996" providerId="ADAL" clId="{4CD5824D-6142-4CBD-9878-FA57E0D27293}" dt="2023-11-13T19:16:40.031" v="62" actId="47"/>
        <pc:sldMkLst>
          <pc:docMk/>
          <pc:sldMk cId="1459679819" sldId="757"/>
        </pc:sldMkLst>
      </pc:sldChg>
      <pc:sldChg chg="del">
        <pc:chgData name="Koksrud Andreas" userId="9d9beba6-c052-407a-8599-c781a677a996" providerId="ADAL" clId="{4CD5824D-6142-4CBD-9878-FA57E0D27293}" dt="2023-11-13T19:16:40.207" v="63" actId="47"/>
        <pc:sldMkLst>
          <pc:docMk/>
          <pc:sldMk cId="3262562090" sldId="758"/>
        </pc:sldMkLst>
      </pc:sldChg>
      <pc:sldChg chg="del">
        <pc:chgData name="Koksrud Andreas" userId="9d9beba6-c052-407a-8599-c781a677a996" providerId="ADAL" clId="{4CD5824D-6142-4CBD-9878-FA57E0D27293}" dt="2023-11-13T19:16:40.745" v="65" actId="47"/>
        <pc:sldMkLst>
          <pc:docMk/>
          <pc:sldMk cId="461679863" sldId="759"/>
        </pc:sldMkLst>
      </pc:sldChg>
      <pc:sldChg chg="del">
        <pc:chgData name="Koksrud Andreas" userId="9d9beba6-c052-407a-8599-c781a677a996" providerId="ADAL" clId="{4CD5824D-6142-4CBD-9878-FA57E0D27293}" dt="2023-11-13T19:16:41.139" v="67" actId="47"/>
        <pc:sldMkLst>
          <pc:docMk/>
          <pc:sldMk cId="1172803293" sldId="761"/>
        </pc:sldMkLst>
      </pc:sldChg>
      <pc:sldChg chg="del">
        <pc:chgData name="Koksrud Andreas" userId="9d9beba6-c052-407a-8599-c781a677a996" providerId="ADAL" clId="{4CD5824D-6142-4CBD-9878-FA57E0D27293}" dt="2023-11-13T19:16:39.572" v="59" actId="47"/>
        <pc:sldMkLst>
          <pc:docMk/>
          <pc:sldMk cId="4159893121" sldId="762"/>
        </pc:sldMkLst>
      </pc:sldChg>
      <pc:sldChg chg="del">
        <pc:chgData name="Koksrud Andreas" userId="9d9beba6-c052-407a-8599-c781a677a996" providerId="ADAL" clId="{4CD5824D-6142-4CBD-9878-FA57E0D27293}" dt="2023-11-13T19:16:39.730" v="60" actId="47"/>
        <pc:sldMkLst>
          <pc:docMk/>
          <pc:sldMk cId="2660123184" sldId="763"/>
        </pc:sldMkLst>
      </pc:sldChg>
      <pc:sldChg chg="del">
        <pc:chgData name="Koksrud Andreas" userId="9d9beba6-c052-407a-8599-c781a677a996" providerId="ADAL" clId="{4CD5824D-6142-4CBD-9878-FA57E0D27293}" dt="2023-11-13T19:16:39.887" v="61" actId="47"/>
        <pc:sldMkLst>
          <pc:docMk/>
          <pc:sldMk cId="1888191167" sldId="764"/>
        </pc:sldMkLst>
      </pc:sldChg>
      <pc:sldChg chg="del">
        <pc:chgData name="Koksrud Andreas" userId="9d9beba6-c052-407a-8599-c781a677a996" providerId="ADAL" clId="{4CD5824D-6142-4CBD-9878-FA57E0D27293}" dt="2023-11-13T19:16:41.937" v="70" actId="47"/>
        <pc:sldMkLst>
          <pc:docMk/>
          <pc:sldMk cId="1743956420" sldId="765"/>
        </pc:sldMkLst>
      </pc:sldChg>
      <pc:sldChg chg="del">
        <pc:chgData name="Koksrud Andreas" userId="9d9beba6-c052-407a-8599-c781a677a996" providerId="ADAL" clId="{4CD5824D-6142-4CBD-9878-FA57E0D27293}" dt="2023-11-13T19:16:42.108" v="71" actId="47"/>
        <pc:sldMkLst>
          <pc:docMk/>
          <pc:sldMk cId="3156992607" sldId="766"/>
        </pc:sldMkLst>
      </pc:sldChg>
      <pc:sldChg chg="del">
        <pc:chgData name="Koksrud Andreas" userId="9d9beba6-c052-407a-8599-c781a677a996" providerId="ADAL" clId="{4CD5824D-6142-4CBD-9878-FA57E0D27293}" dt="2023-11-13T19:16:42.275" v="72" actId="47"/>
        <pc:sldMkLst>
          <pc:docMk/>
          <pc:sldMk cId="3099146481" sldId="767"/>
        </pc:sldMkLst>
      </pc:sldChg>
      <pc:sldChg chg="del">
        <pc:chgData name="Koksrud Andreas" userId="9d9beba6-c052-407a-8599-c781a677a996" providerId="ADAL" clId="{4CD5824D-6142-4CBD-9878-FA57E0D27293}" dt="2023-11-13T19:16:42.456" v="73" actId="47"/>
        <pc:sldMkLst>
          <pc:docMk/>
          <pc:sldMk cId="4003498005" sldId="768"/>
        </pc:sldMkLst>
      </pc:sldChg>
      <pc:sldChg chg="del">
        <pc:chgData name="Koksrud Andreas" userId="9d9beba6-c052-407a-8599-c781a677a996" providerId="ADAL" clId="{4CD5824D-6142-4CBD-9878-FA57E0D27293}" dt="2023-11-13T19:16:42.865" v="74" actId="47"/>
        <pc:sldMkLst>
          <pc:docMk/>
          <pc:sldMk cId="257484981" sldId="769"/>
        </pc:sldMkLst>
      </pc:sldChg>
      <pc:sldChg chg="del">
        <pc:chgData name="Koksrud Andreas" userId="9d9beba6-c052-407a-8599-c781a677a996" providerId="ADAL" clId="{4CD5824D-6142-4CBD-9878-FA57E0D27293}" dt="2023-11-13T19:16:37.920" v="53" actId="47"/>
        <pc:sldMkLst>
          <pc:docMk/>
          <pc:sldMk cId="3236957713" sldId="774"/>
        </pc:sldMkLst>
      </pc:sldChg>
      <pc:sldChg chg="delSp modSp mod">
        <pc:chgData name="Koksrud Andreas" userId="9d9beba6-c052-407a-8599-c781a677a996" providerId="ADAL" clId="{4CD5824D-6142-4CBD-9878-FA57E0D27293}" dt="2023-11-23T15:56:47.518" v="1399" actId="20577"/>
        <pc:sldMkLst>
          <pc:docMk/>
          <pc:sldMk cId="4184721091" sldId="775"/>
        </pc:sldMkLst>
        <pc:spChg chg="mod">
          <ac:chgData name="Koksrud Andreas" userId="9d9beba6-c052-407a-8599-c781a677a996" providerId="ADAL" clId="{4CD5824D-6142-4CBD-9878-FA57E0D27293}" dt="2023-11-13T19:17:18.919" v="112" actId="20577"/>
          <ac:spMkLst>
            <pc:docMk/>
            <pc:sldMk cId="4184721091" sldId="775"/>
            <ac:spMk id="180" creationId="{00000000-0000-0000-0000-000000000000}"/>
          </ac:spMkLst>
        </pc:spChg>
        <pc:spChg chg="mod">
          <ac:chgData name="Koksrud Andreas" userId="9d9beba6-c052-407a-8599-c781a677a996" providerId="ADAL" clId="{4CD5824D-6142-4CBD-9878-FA57E0D27293}" dt="2023-11-23T15:56:47.518" v="1399" actId="20577"/>
          <ac:spMkLst>
            <pc:docMk/>
            <pc:sldMk cId="4184721091" sldId="775"/>
            <ac:spMk id="181" creationId="{00000000-0000-0000-0000-000000000000}"/>
          </ac:spMkLst>
        </pc:spChg>
        <pc:picChg chg="del">
          <ac:chgData name="Koksrud Andreas" userId="9d9beba6-c052-407a-8599-c781a677a996" providerId="ADAL" clId="{4CD5824D-6142-4CBD-9878-FA57E0D27293}" dt="2023-11-13T19:16:25.892" v="41" actId="478"/>
          <ac:picMkLst>
            <pc:docMk/>
            <pc:sldMk cId="4184721091" sldId="775"/>
            <ac:picMk id="3" creationId="{98CAB3EE-A208-4F00-EDC8-E5A810FC41EF}"/>
          </ac:picMkLst>
        </pc:picChg>
      </pc:sldChg>
      <pc:sldChg chg="addSp delSp modSp add mod">
        <pc:chgData name="Koksrud Andreas" userId="9d9beba6-c052-407a-8599-c781a677a996" providerId="ADAL" clId="{4CD5824D-6142-4CBD-9878-FA57E0D27293}" dt="2023-11-30T13:54:54.880" v="3726" actId="1076"/>
        <pc:sldMkLst>
          <pc:docMk/>
          <pc:sldMk cId="267941889" sldId="776"/>
        </pc:sldMkLst>
        <pc:spChg chg="add del">
          <ac:chgData name="Koksrud Andreas" userId="9d9beba6-c052-407a-8599-c781a677a996" providerId="ADAL" clId="{4CD5824D-6142-4CBD-9878-FA57E0D27293}" dt="2023-11-14T07:31:29.592" v="778"/>
          <ac:spMkLst>
            <pc:docMk/>
            <pc:sldMk cId="267941889" sldId="776"/>
            <ac:spMk id="2" creationId="{156052B2-A727-AD87-99FE-C82C88EF9063}"/>
          </ac:spMkLst>
        </pc:spChg>
        <pc:spChg chg="add mod">
          <ac:chgData name="Koksrud Andreas" userId="9d9beba6-c052-407a-8599-c781a677a996" providerId="ADAL" clId="{4CD5824D-6142-4CBD-9878-FA57E0D27293}" dt="2023-11-30T13:54:54.880" v="3726" actId="1076"/>
          <ac:spMkLst>
            <pc:docMk/>
            <pc:sldMk cId="267941889" sldId="776"/>
            <ac:spMk id="2" creationId="{9DFEA761-9758-CCB6-454F-76D77B537567}"/>
          </ac:spMkLst>
        </pc:spChg>
        <pc:spChg chg="add del">
          <ac:chgData name="Koksrud Andreas" userId="9d9beba6-c052-407a-8599-c781a677a996" providerId="ADAL" clId="{4CD5824D-6142-4CBD-9878-FA57E0D27293}" dt="2023-11-14T07:31:39.359" v="788"/>
          <ac:spMkLst>
            <pc:docMk/>
            <pc:sldMk cId="267941889" sldId="776"/>
            <ac:spMk id="3" creationId="{7CF648DE-5C8A-C798-7187-C0E08007991F}"/>
          </ac:spMkLst>
        </pc:spChg>
        <pc:spChg chg="add del">
          <ac:chgData name="Koksrud Andreas" userId="9d9beba6-c052-407a-8599-c781a677a996" providerId="ADAL" clId="{4CD5824D-6142-4CBD-9878-FA57E0D27293}" dt="2023-11-14T07:33:38.146" v="792"/>
          <ac:spMkLst>
            <pc:docMk/>
            <pc:sldMk cId="267941889" sldId="776"/>
            <ac:spMk id="4" creationId="{6A54A27E-3E19-4895-F999-C0EF695F36EE}"/>
          </ac:spMkLst>
        </pc:spChg>
        <pc:spChg chg="mod">
          <ac:chgData name="Koksrud Andreas" userId="9d9beba6-c052-407a-8599-c781a677a996" providerId="ADAL" clId="{4CD5824D-6142-4CBD-9878-FA57E0D27293}" dt="2023-11-24T09:08:14.062" v="2778" actId="20577"/>
          <ac:spMkLst>
            <pc:docMk/>
            <pc:sldMk cId="267941889" sldId="776"/>
            <ac:spMk id="180" creationId="{00000000-0000-0000-0000-000000000000}"/>
          </ac:spMkLst>
        </pc:spChg>
        <pc:spChg chg="del mod">
          <ac:chgData name="Koksrud Andreas" userId="9d9beba6-c052-407a-8599-c781a677a996" providerId="ADAL" clId="{4CD5824D-6142-4CBD-9878-FA57E0D27293}" dt="2023-11-24T09:08:05.781" v="2758" actId="478"/>
          <ac:spMkLst>
            <pc:docMk/>
            <pc:sldMk cId="267941889" sldId="776"/>
            <ac:spMk id="181" creationId="{00000000-0000-0000-0000-000000000000}"/>
          </ac:spMkLst>
        </pc:spChg>
      </pc:sldChg>
      <pc:sldChg chg="del">
        <pc:chgData name="Koksrud Andreas" userId="9d9beba6-c052-407a-8599-c781a677a996" providerId="ADAL" clId="{4CD5824D-6142-4CBD-9878-FA57E0D27293}" dt="2023-11-13T19:16:38.513" v="54" actId="47"/>
        <pc:sldMkLst>
          <pc:docMk/>
          <pc:sldMk cId="3102905591" sldId="776"/>
        </pc:sldMkLst>
      </pc:sldChg>
      <pc:sldChg chg="del">
        <pc:chgData name="Koksrud Andreas" userId="9d9beba6-c052-407a-8599-c781a677a996" providerId="ADAL" clId="{4CD5824D-6142-4CBD-9878-FA57E0D27293}" dt="2023-11-13T19:16:38.703" v="55" actId="47"/>
        <pc:sldMkLst>
          <pc:docMk/>
          <pc:sldMk cId="298508261" sldId="777"/>
        </pc:sldMkLst>
      </pc:sldChg>
      <pc:sldChg chg="addSp delSp modSp add mod">
        <pc:chgData name="Koksrud Andreas" userId="9d9beba6-c052-407a-8599-c781a677a996" providerId="ADAL" clId="{4CD5824D-6142-4CBD-9878-FA57E0D27293}" dt="2023-11-14T08:15:28.036" v="924" actId="2711"/>
        <pc:sldMkLst>
          <pc:docMk/>
          <pc:sldMk cId="3268319793" sldId="777"/>
        </pc:sldMkLst>
        <pc:spChg chg="add del">
          <ac:chgData name="Koksrud Andreas" userId="9d9beba6-c052-407a-8599-c781a677a996" providerId="ADAL" clId="{4CD5824D-6142-4CBD-9878-FA57E0D27293}" dt="2023-11-13T20:35:16.791" v="508"/>
          <ac:spMkLst>
            <pc:docMk/>
            <pc:sldMk cId="3268319793" sldId="777"/>
            <ac:spMk id="2" creationId="{54E42D8C-3D28-F3A0-E8FA-3EDBB2941443}"/>
          </ac:spMkLst>
        </pc:spChg>
        <pc:spChg chg="add del">
          <ac:chgData name="Koksrud Andreas" userId="9d9beba6-c052-407a-8599-c781a677a996" providerId="ADAL" clId="{4CD5824D-6142-4CBD-9878-FA57E0D27293}" dt="2023-11-13T20:35:25.089" v="515"/>
          <ac:spMkLst>
            <pc:docMk/>
            <pc:sldMk cId="3268319793" sldId="777"/>
            <ac:spMk id="3" creationId="{1363B1FA-2972-39F0-1AB5-33A4581E7D90}"/>
          </ac:spMkLst>
        </pc:spChg>
        <pc:spChg chg="add del">
          <ac:chgData name="Koksrud Andreas" userId="9d9beba6-c052-407a-8599-c781a677a996" providerId="ADAL" clId="{4CD5824D-6142-4CBD-9878-FA57E0D27293}" dt="2023-11-13T20:36:07.256" v="520"/>
          <ac:spMkLst>
            <pc:docMk/>
            <pc:sldMk cId="3268319793" sldId="777"/>
            <ac:spMk id="4" creationId="{2D19174F-0758-A9A7-629F-CF0DBCE14F94}"/>
          </ac:spMkLst>
        </pc:spChg>
        <pc:spChg chg="add del">
          <ac:chgData name="Koksrud Andreas" userId="9d9beba6-c052-407a-8599-c781a677a996" providerId="ADAL" clId="{4CD5824D-6142-4CBD-9878-FA57E0D27293}" dt="2023-11-13T20:36:12.087" v="526"/>
          <ac:spMkLst>
            <pc:docMk/>
            <pc:sldMk cId="3268319793" sldId="777"/>
            <ac:spMk id="5" creationId="{BF3A45EC-EF46-1954-3B2E-4D4314DE7D09}"/>
          </ac:spMkLst>
        </pc:spChg>
        <pc:spChg chg="mod">
          <ac:chgData name="Koksrud Andreas" userId="9d9beba6-c052-407a-8599-c781a677a996" providerId="ADAL" clId="{4CD5824D-6142-4CBD-9878-FA57E0D27293}" dt="2023-11-14T08:14:36.899" v="859" actId="20577"/>
          <ac:spMkLst>
            <pc:docMk/>
            <pc:sldMk cId="3268319793" sldId="777"/>
            <ac:spMk id="180" creationId="{00000000-0000-0000-0000-000000000000}"/>
          </ac:spMkLst>
        </pc:spChg>
        <pc:spChg chg="mod">
          <ac:chgData name="Koksrud Andreas" userId="9d9beba6-c052-407a-8599-c781a677a996" providerId="ADAL" clId="{4CD5824D-6142-4CBD-9878-FA57E0D27293}" dt="2023-11-14T08:15:28.036" v="924" actId="2711"/>
          <ac:spMkLst>
            <pc:docMk/>
            <pc:sldMk cId="3268319793" sldId="777"/>
            <ac:spMk id="181" creationId="{00000000-0000-0000-0000-000000000000}"/>
          </ac:spMkLst>
        </pc:spChg>
      </pc:sldChg>
      <pc:sldChg chg="del">
        <pc:chgData name="Koksrud Andreas" userId="9d9beba6-c052-407a-8599-c781a677a996" providerId="ADAL" clId="{4CD5824D-6142-4CBD-9878-FA57E0D27293}" dt="2023-11-13T19:16:39.016" v="57" actId="47"/>
        <pc:sldMkLst>
          <pc:docMk/>
          <pc:sldMk cId="867521254" sldId="778"/>
        </pc:sldMkLst>
      </pc:sldChg>
      <pc:sldChg chg="modSp add mod">
        <pc:chgData name="Koksrud Andreas" userId="9d9beba6-c052-407a-8599-c781a677a996" providerId="ADAL" clId="{4CD5824D-6142-4CBD-9878-FA57E0D27293}" dt="2023-11-24T11:44:49.204" v="3133" actId="21"/>
        <pc:sldMkLst>
          <pc:docMk/>
          <pc:sldMk cId="2866642472" sldId="778"/>
        </pc:sldMkLst>
        <pc:spChg chg="mod">
          <ac:chgData name="Koksrud Andreas" userId="9d9beba6-c052-407a-8599-c781a677a996" providerId="ADAL" clId="{4CD5824D-6142-4CBD-9878-FA57E0D27293}" dt="2023-11-13T19:19:39.280" v="336" actId="20577"/>
          <ac:spMkLst>
            <pc:docMk/>
            <pc:sldMk cId="2866642472" sldId="778"/>
            <ac:spMk id="180" creationId="{00000000-0000-0000-0000-000000000000}"/>
          </ac:spMkLst>
        </pc:spChg>
        <pc:spChg chg="mod">
          <ac:chgData name="Koksrud Andreas" userId="9d9beba6-c052-407a-8599-c781a677a996" providerId="ADAL" clId="{4CD5824D-6142-4CBD-9878-FA57E0D27293}" dt="2023-11-24T11:44:49.204" v="3133" actId="21"/>
          <ac:spMkLst>
            <pc:docMk/>
            <pc:sldMk cId="2866642472" sldId="778"/>
            <ac:spMk id="181" creationId="{00000000-0000-0000-0000-000000000000}"/>
          </ac:spMkLst>
        </pc:spChg>
      </pc:sldChg>
      <pc:sldChg chg="modSp add del mod">
        <pc:chgData name="Koksrud Andreas" userId="9d9beba6-c052-407a-8599-c781a677a996" providerId="ADAL" clId="{4CD5824D-6142-4CBD-9878-FA57E0D27293}" dt="2023-11-24T11:50:18.109" v="3340" actId="47"/>
        <pc:sldMkLst>
          <pc:docMk/>
          <pc:sldMk cId="411238224" sldId="779"/>
        </pc:sldMkLst>
        <pc:spChg chg="mod">
          <ac:chgData name="Koksrud Andreas" userId="9d9beba6-c052-407a-8599-c781a677a996" providerId="ADAL" clId="{4CD5824D-6142-4CBD-9878-FA57E0D27293}" dt="2023-11-13T19:20:07.467" v="438" actId="20577"/>
          <ac:spMkLst>
            <pc:docMk/>
            <pc:sldMk cId="411238224" sldId="779"/>
            <ac:spMk id="180" creationId="{00000000-0000-0000-0000-000000000000}"/>
          </ac:spMkLst>
        </pc:spChg>
        <pc:spChg chg="mod">
          <ac:chgData name="Koksrud Andreas" userId="9d9beba6-c052-407a-8599-c781a677a996" providerId="ADAL" clId="{4CD5824D-6142-4CBD-9878-FA57E0D27293}" dt="2023-11-23T17:28:03.006" v="2142" actId="20577"/>
          <ac:spMkLst>
            <pc:docMk/>
            <pc:sldMk cId="411238224" sldId="779"/>
            <ac:spMk id="181" creationId="{00000000-0000-0000-0000-000000000000}"/>
          </ac:spMkLst>
        </pc:spChg>
      </pc:sldChg>
      <pc:sldChg chg="del">
        <pc:chgData name="Koksrud Andreas" userId="9d9beba6-c052-407a-8599-c781a677a996" providerId="ADAL" clId="{4CD5824D-6142-4CBD-9878-FA57E0D27293}" dt="2023-11-13T19:16:38.860" v="56" actId="47"/>
        <pc:sldMkLst>
          <pc:docMk/>
          <pc:sldMk cId="2800815207" sldId="779"/>
        </pc:sldMkLst>
      </pc:sldChg>
      <pc:sldChg chg="del">
        <pc:chgData name="Koksrud Andreas" userId="9d9beba6-c052-407a-8599-c781a677a996" providerId="ADAL" clId="{4CD5824D-6142-4CBD-9878-FA57E0D27293}" dt="2023-11-13T19:16:40.544" v="64" actId="47"/>
        <pc:sldMkLst>
          <pc:docMk/>
          <pc:sldMk cId="5783671" sldId="780"/>
        </pc:sldMkLst>
      </pc:sldChg>
      <pc:sldChg chg="modSp add mod ord">
        <pc:chgData name="Koksrud Andreas" userId="9d9beba6-c052-407a-8599-c781a677a996" providerId="ADAL" clId="{4CD5824D-6142-4CBD-9878-FA57E0D27293}" dt="2023-12-01T11:36:39.972" v="4285" actId="14"/>
        <pc:sldMkLst>
          <pc:docMk/>
          <pc:sldMk cId="2950788596" sldId="780"/>
        </pc:sldMkLst>
        <pc:spChg chg="mod">
          <ac:chgData name="Koksrud Andreas" userId="9d9beba6-c052-407a-8599-c781a677a996" providerId="ADAL" clId="{4CD5824D-6142-4CBD-9878-FA57E0D27293}" dt="2023-11-14T09:35:15.977" v="933" actId="20577"/>
          <ac:spMkLst>
            <pc:docMk/>
            <pc:sldMk cId="2950788596" sldId="780"/>
            <ac:spMk id="180" creationId="{00000000-0000-0000-0000-000000000000}"/>
          </ac:spMkLst>
        </pc:spChg>
        <pc:spChg chg="mod">
          <ac:chgData name="Koksrud Andreas" userId="9d9beba6-c052-407a-8599-c781a677a996" providerId="ADAL" clId="{4CD5824D-6142-4CBD-9878-FA57E0D27293}" dt="2023-12-01T11:36:39.972" v="4285" actId="14"/>
          <ac:spMkLst>
            <pc:docMk/>
            <pc:sldMk cId="2950788596" sldId="780"/>
            <ac:spMk id="181" creationId="{00000000-0000-0000-0000-000000000000}"/>
          </ac:spMkLst>
        </pc:spChg>
      </pc:sldChg>
      <pc:sldChg chg="del">
        <pc:chgData name="Koksrud Andreas" userId="9d9beba6-c052-407a-8599-c781a677a996" providerId="ADAL" clId="{4CD5824D-6142-4CBD-9878-FA57E0D27293}" dt="2023-11-13T19:16:40.957" v="66" actId="47"/>
        <pc:sldMkLst>
          <pc:docMk/>
          <pc:sldMk cId="135523954" sldId="781"/>
        </pc:sldMkLst>
      </pc:sldChg>
      <pc:sldChg chg="addSp delSp modSp add mod">
        <pc:chgData name="Koksrud Andreas" userId="9d9beba6-c052-407a-8599-c781a677a996" providerId="ADAL" clId="{4CD5824D-6142-4CBD-9878-FA57E0D27293}" dt="2023-12-03T18:59:57.069" v="4478" actId="14100"/>
        <pc:sldMkLst>
          <pc:docMk/>
          <pc:sldMk cId="1603511548" sldId="781"/>
        </pc:sldMkLst>
        <pc:spChg chg="add del mod">
          <ac:chgData name="Koksrud Andreas" userId="9d9beba6-c052-407a-8599-c781a677a996" providerId="ADAL" clId="{4CD5824D-6142-4CBD-9878-FA57E0D27293}" dt="2023-12-03T18:53:55.945" v="4417" actId="478"/>
          <ac:spMkLst>
            <pc:docMk/>
            <pc:sldMk cId="1603511548" sldId="781"/>
            <ac:spMk id="5" creationId="{02B3B4A9-D2FF-11E7-C2E3-5CEA891C9E6D}"/>
          </ac:spMkLst>
        </pc:spChg>
        <pc:spChg chg="add mod">
          <ac:chgData name="Koksrud Andreas" userId="9d9beba6-c052-407a-8599-c781a677a996" providerId="ADAL" clId="{4CD5824D-6142-4CBD-9878-FA57E0D27293}" dt="2023-12-03T18:59:38.082" v="4469" actId="20577"/>
          <ac:spMkLst>
            <pc:docMk/>
            <pc:sldMk cId="1603511548" sldId="781"/>
            <ac:spMk id="9" creationId="{1332ADAB-347F-B30A-F36B-957ADACDE929}"/>
          </ac:spMkLst>
        </pc:spChg>
        <pc:spChg chg="mod">
          <ac:chgData name="Koksrud Andreas" userId="9d9beba6-c052-407a-8599-c781a677a996" providerId="ADAL" clId="{4CD5824D-6142-4CBD-9878-FA57E0D27293}" dt="2023-11-14T09:36:10.811" v="1016" actId="20577"/>
          <ac:spMkLst>
            <pc:docMk/>
            <pc:sldMk cId="1603511548" sldId="781"/>
            <ac:spMk id="180" creationId="{00000000-0000-0000-0000-000000000000}"/>
          </ac:spMkLst>
        </pc:spChg>
        <pc:spChg chg="del mod">
          <ac:chgData name="Koksrud Andreas" userId="9d9beba6-c052-407a-8599-c781a677a996" providerId="ADAL" clId="{4CD5824D-6142-4CBD-9878-FA57E0D27293}" dt="2023-12-03T18:53:38.235" v="4413" actId="478"/>
          <ac:spMkLst>
            <pc:docMk/>
            <pc:sldMk cId="1603511548" sldId="781"/>
            <ac:spMk id="181" creationId="{00000000-0000-0000-0000-000000000000}"/>
          </ac:spMkLst>
        </pc:spChg>
        <pc:picChg chg="add mod">
          <ac:chgData name="Koksrud Andreas" userId="9d9beba6-c052-407a-8599-c781a677a996" providerId="ADAL" clId="{4CD5824D-6142-4CBD-9878-FA57E0D27293}" dt="2023-12-03T18:56:25.315" v="4429" actId="1076"/>
          <ac:picMkLst>
            <pc:docMk/>
            <pc:sldMk cId="1603511548" sldId="781"/>
            <ac:picMk id="3" creationId="{AD52EE61-7E4E-1B44-3695-5FC7299A31F9}"/>
          </ac:picMkLst>
        </pc:picChg>
        <pc:picChg chg="add mod">
          <ac:chgData name="Koksrud Andreas" userId="9d9beba6-c052-407a-8599-c781a677a996" providerId="ADAL" clId="{4CD5824D-6142-4CBD-9878-FA57E0D27293}" dt="2023-12-03T18:55:29.411" v="4425" actId="1076"/>
          <ac:picMkLst>
            <pc:docMk/>
            <pc:sldMk cId="1603511548" sldId="781"/>
            <ac:picMk id="7" creationId="{3B5165A8-2E47-DB9A-D70F-42184181D404}"/>
          </ac:picMkLst>
        </pc:picChg>
        <pc:picChg chg="add mod">
          <ac:chgData name="Koksrud Andreas" userId="9d9beba6-c052-407a-8599-c781a677a996" providerId="ADAL" clId="{4CD5824D-6142-4CBD-9878-FA57E0D27293}" dt="2023-12-03T18:57:38.953" v="4444" actId="1076"/>
          <ac:picMkLst>
            <pc:docMk/>
            <pc:sldMk cId="1603511548" sldId="781"/>
            <ac:picMk id="16" creationId="{961D96A4-A69D-0361-0078-7F141954E90E}"/>
          </ac:picMkLst>
        </pc:picChg>
        <pc:picChg chg="add mod">
          <ac:chgData name="Koksrud Andreas" userId="9d9beba6-c052-407a-8599-c781a677a996" providerId="ADAL" clId="{4CD5824D-6142-4CBD-9878-FA57E0D27293}" dt="2023-12-03T18:58:09.233" v="4447" actId="1076"/>
          <ac:picMkLst>
            <pc:docMk/>
            <pc:sldMk cId="1603511548" sldId="781"/>
            <ac:picMk id="18" creationId="{5F2765F5-E3C5-9975-D386-F47D6D3848E1}"/>
          </ac:picMkLst>
        </pc:picChg>
        <pc:picChg chg="add mod">
          <ac:chgData name="Koksrud Andreas" userId="9d9beba6-c052-407a-8599-c781a677a996" providerId="ADAL" clId="{4CD5824D-6142-4CBD-9878-FA57E0D27293}" dt="2023-12-03T18:59:40.902" v="4470" actId="1076"/>
          <ac:picMkLst>
            <pc:docMk/>
            <pc:sldMk cId="1603511548" sldId="781"/>
            <ac:picMk id="20" creationId="{0F55C9D1-D5B8-D7F1-9D93-C96F070522F1}"/>
          </ac:picMkLst>
        </pc:picChg>
        <pc:picChg chg="add mod">
          <ac:chgData name="Koksrud Andreas" userId="9d9beba6-c052-407a-8599-c781a677a996" providerId="ADAL" clId="{4CD5824D-6142-4CBD-9878-FA57E0D27293}" dt="2023-12-03T18:59:50.638" v="4475" actId="1076"/>
          <ac:picMkLst>
            <pc:docMk/>
            <pc:sldMk cId="1603511548" sldId="781"/>
            <ac:picMk id="22" creationId="{52191FCE-8033-8D9C-1721-9A06CDDCF90B}"/>
          </ac:picMkLst>
        </pc:picChg>
        <pc:inkChg chg="add del">
          <ac:chgData name="Koksrud Andreas" userId="9d9beba6-c052-407a-8599-c781a677a996" providerId="ADAL" clId="{4CD5824D-6142-4CBD-9878-FA57E0D27293}" dt="2023-12-03T18:56:14.682" v="4427"/>
          <ac:inkMkLst>
            <pc:docMk/>
            <pc:sldMk cId="1603511548" sldId="781"/>
            <ac:inkMk id="10" creationId="{98D24884-84A8-93E5-F0A0-064ABA879277}"/>
          </ac:inkMkLst>
        </pc:inkChg>
        <pc:cxnChg chg="add mod">
          <ac:chgData name="Koksrud Andreas" userId="9d9beba6-c052-407a-8599-c781a677a996" providerId="ADAL" clId="{4CD5824D-6142-4CBD-9878-FA57E0D27293}" dt="2023-12-03T18:56:45.651" v="4433" actId="13822"/>
          <ac:cxnSpMkLst>
            <pc:docMk/>
            <pc:sldMk cId="1603511548" sldId="781"/>
            <ac:cxnSpMk id="12" creationId="{F9EDA9A0-28CB-B69E-2779-848131E05BF9}"/>
          </ac:cxnSpMkLst>
        </pc:cxnChg>
        <pc:cxnChg chg="add mod">
          <ac:chgData name="Koksrud Andreas" userId="9d9beba6-c052-407a-8599-c781a677a996" providerId="ADAL" clId="{4CD5824D-6142-4CBD-9878-FA57E0D27293}" dt="2023-12-03T18:59:57.069" v="4478" actId="14100"/>
          <ac:cxnSpMkLst>
            <pc:docMk/>
            <pc:sldMk cId="1603511548" sldId="781"/>
            <ac:cxnSpMk id="23" creationId="{D5B766C6-F903-83AD-F8DD-2017BBF8697A}"/>
          </ac:cxnSpMkLst>
        </pc:cxnChg>
      </pc:sldChg>
      <pc:sldChg chg="modSp add mod">
        <pc:chgData name="Koksrud Andreas" userId="9d9beba6-c052-407a-8599-c781a677a996" providerId="ADAL" clId="{4CD5824D-6142-4CBD-9878-FA57E0D27293}" dt="2023-11-24T07:31:13.694" v="2467" actId="20577"/>
        <pc:sldMkLst>
          <pc:docMk/>
          <pc:sldMk cId="1881751481" sldId="782"/>
        </pc:sldMkLst>
        <pc:spChg chg="mod">
          <ac:chgData name="Koksrud Andreas" userId="9d9beba6-c052-407a-8599-c781a677a996" providerId="ADAL" clId="{4CD5824D-6142-4CBD-9878-FA57E0D27293}" dt="2023-11-24T07:30:26.433" v="2392" actId="20577"/>
          <ac:spMkLst>
            <pc:docMk/>
            <pc:sldMk cId="1881751481" sldId="782"/>
            <ac:spMk id="180" creationId="{00000000-0000-0000-0000-000000000000}"/>
          </ac:spMkLst>
        </pc:spChg>
        <pc:spChg chg="mod">
          <ac:chgData name="Koksrud Andreas" userId="9d9beba6-c052-407a-8599-c781a677a996" providerId="ADAL" clId="{4CD5824D-6142-4CBD-9878-FA57E0D27293}" dt="2023-11-24T07:31:13.694" v="2467" actId="20577"/>
          <ac:spMkLst>
            <pc:docMk/>
            <pc:sldMk cId="1881751481" sldId="782"/>
            <ac:spMk id="181" creationId="{00000000-0000-0000-0000-000000000000}"/>
          </ac:spMkLst>
        </pc:spChg>
      </pc:sldChg>
      <pc:sldChg chg="del">
        <pc:chgData name="Koksrud Andreas" userId="9d9beba6-c052-407a-8599-c781a677a996" providerId="ADAL" clId="{4CD5824D-6142-4CBD-9878-FA57E0D27293}" dt="2023-11-13T19:16:41.318" v="68" actId="47"/>
        <pc:sldMkLst>
          <pc:docMk/>
          <pc:sldMk cId="2431776702" sldId="782"/>
        </pc:sldMkLst>
      </pc:sldChg>
      <pc:sldChg chg="add del">
        <pc:chgData name="Koksrud Andreas" userId="9d9beba6-c052-407a-8599-c781a677a996" providerId="ADAL" clId="{4CD5824D-6142-4CBD-9878-FA57E0D27293}" dt="2023-11-24T07:32:10.953" v="2498" actId="47"/>
        <pc:sldMkLst>
          <pc:docMk/>
          <pc:sldMk cId="1178452431" sldId="783"/>
        </pc:sldMkLst>
      </pc:sldChg>
      <pc:sldChg chg="del">
        <pc:chgData name="Koksrud Andreas" userId="9d9beba6-c052-407a-8599-c781a677a996" providerId="ADAL" clId="{4CD5824D-6142-4CBD-9878-FA57E0D27293}" dt="2023-11-13T19:16:41.773" v="69" actId="47"/>
        <pc:sldMkLst>
          <pc:docMk/>
          <pc:sldMk cId="4084346027" sldId="783"/>
        </pc:sldMkLst>
      </pc:sldChg>
      <pc:sldChg chg="add del">
        <pc:chgData name="Koksrud Andreas" userId="9d9beba6-c052-407a-8599-c781a677a996" providerId="ADAL" clId="{4CD5824D-6142-4CBD-9878-FA57E0D27293}" dt="2023-11-24T07:32:11.657" v="2499" actId="47"/>
        <pc:sldMkLst>
          <pc:docMk/>
          <pc:sldMk cId="1401184782" sldId="784"/>
        </pc:sldMkLst>
      </pc:sldChg>
      <pc:sldChg chg="del">
        <pc:chgData name="Koksrud Andreas" userId="9d9beba6-c052-407a-8599-c781a677a996" providerId="ADAL" clId="{4CD5824D-6142-4CBD-9878-FA57E0D27293}" dt="2023-11-13T19:16:42.989" v="75" actId="47"/>
        <pc:sldMkLst>
          <pc:docMk/>
          <pc:sldMk cId="2842146877" sldId="784"/>
        </pc:sldMkLst>
      </pc:sldChg>
      <pc:sldChg chg="add del">
        <pc:chgData name="Koksrud Andreas" userId="9d9beba6-c052-407a-8599-c781a677a996" providerId="ADAL" clId="{4CD5824D-6142-4CBD-9878-FA57E0D27293}" dt="2023-11-24T07:32:12.069" v="2500" actId="47"/>
        <pc:sldMkLst>
          <pc:docMk/>
          <pc:sldMk cId="476865816" sldId="785"/>
        </pc:sldMkLst>
      </pc:sldChg>
      <pc:sldChg chg="add del">
        <pc:chgData name="Koksrud Andreas" userId="9d9beba6-c052-407a-8599-c781a677a996" providerId="ADAL" clId="{4CD5824D-6142-4CBD-9878-FA57E0D27293}" dt="2023-11-24T07:32:12.414" v="2501" actId="47"/>
        <pc:sldMkLst>
          <pc:docMk/>
          <pc:sldMk cId="952288399" sldId="786"/>
        </pc:sldMkLst>
      </pc:sldChg>
      <pc:sldChg chg="add del">
        <pc:chgData name="Koksrud Andreas" userId="9d9beba6-c052-407a-8599-c781a677a996" providerId="ADAL" clId="{4CD5824D-6142-4CBD-9878-FA57E0D27293}" dt="2023-11-24T07:32:12.702" v="2502" actId="47"/>
        <pc:sldMkLst>
          <pc:docMk/>
          <pc:sldMk cId="2548142618" sldId="787"/>
        </pc:sldMkLst>
      </pc:sldChg>
      <pc:sldChg chg="add del">
        <pc:chgData name="Koksrud Andreas" userId="9d9beba6-c052-407a-8599-c781a677a996" providerId="ADAL" clId="{4CD5824D-6142-4CBD-9878-FA57E0D27293}" dt="2023-11-24T07:32:13.142" v="2503" actId="47"/>
        <pc:sldMkLst>
          <pc:docMk/>
          <pc:sldMk cId="333102911" sldId="788"/>
        </pc:sldMkLst>
      </pc:sldChg>
      <pc:sldChg chg="add del">
        <pc:chgData name="Koksrud Andreas" userId="9d9beba6-c052-407a-8599-c781a677a996" providerId="ADAL" clId="{4CD5824D-6142-4CBD-9878-FA57E0D27293}" dt="2023-11-24T07:32:13.428" v="2504" actId="47"/>
        <pc:sldMkLst>
          <pc:docMk/>
          <pc:sldMk cId="4000107918" sldId="789"/>
        </pc:sldMkLst>
      </pc:sldChg>
      <pc:sldChg chg="add del">
        <pc:chgData name="Koksrud Andreas" userId="9d9beba6-c052-407a-8599-c781a677a996" providerId="ADAL" clId="{4CD5824D-6142-4CBD-9878-FA57E0D27293}" dt="2023-11-24T07:32:13.694" v="2505" actId="47"/>
        <pc:sldMkLst>
          <pc:docMk/>
          <pc:sldMk cId="2696435861" sldId="790"/>
        </pc:sldMkLst>
      </pc:sldChg>
      <pc:sldChg chg="add del">
        <pc:chgData name="Koksrud Andreas" userId="9d9beba6-c052-407a-8599-c781a677a996" providerId="ADAL" clId="{4CD5824D-6142-4CBD-9878-FA57E0D27293}" dt="2023-11-24T07:32:14.233" v="2506" actId="47"/>
        <pc:sldMkLst>
          <pc:docMk/>
          <pc:sldMk cId="795629405" sldId="791"/>
        </pc:sldMkLst>
      </pc:sldChg>
      <pc:sldChg chg="add del">
        <pc:chgData name="Koksrud Andreas" userId="9d9beba6-c052-407a-8599-c781a677a996" providerId="ADAL" clId="{4CD5824D-6142-4CBD-9878-FA57E0D27293}" dt="2023-11-24T07:32:14.632" v="2507" actId="47"/>
        <pc:sldMkLst>
          <pc:docMk/>
          <pc:sldMk cId="976261081" sldId="792"/>
        </pc:sldMkLst>
      </pc:sldChg>
      <pc:sldChg chg="add del">
        <pc:chgData name="Koksrud Andreas" userId="9d9beba6-c052-407a-8599-c781a677a996" providerId="ADAL" clId="{4CD5824D-6142-4CBD-9878-FA57E0D27293}" dt="2023-11-24T07:32:15.039" v="2508" actId="47"/>
        <pc:sldMkLst>
          <pc:docMk/>
          <pc:sldMk cId="2512561598" sldId="793"/>
        </pc:sldMkLst>
      </pc:sldChg>
      <pc:sldChg chg="add del">
        <pc:chgData name="Koksrud Andreas" userId="9d9beba6-c052-407a-8599-c781a677a996" providerId="ADAL" clId="{4CD5824D-6142-4CBD-9878-FA57E0D27293}" dt="2023-11-24T07:32:15.413" v="2509" actId="47"/>
        <pc:sldMkLst>
          <pc:docMk/>
          <pc:sldMk cId="4152653441" sldId="794"/>
        </pc:sldMkLst>
      </pc:sldChg>
      <pc:sldChg chg="add del">
        <pc:chgData name="Koksrud Andreas" userId="9d9beba6-c052-407a-8599-c781a677a996" providerId="ADAL" clId="{4CD5824D-6142-4CBD-9878-FA57E0D27293}" dt="2023-11-24T07:32:15.758" v="2510" actId="47"/>
        <pc:sldMkLst>
          <pc:docMk/>
          <pc:sldMk cId="3773561703" sldId="795"/>
        </pc:sldMkLst>
      </pc:sldChg>
      <pc:sldChg chg="add del">
        <pc:chgData name="Koksrud Andreas" userId="9d9beba6-c052-407a-8599-c781a677a996" providerId="ADAL" clId="{4CD5824D-6142-4CBD-9878-FA57E0D27293}" dt="2023-11-24T07:32:19.466" v="2512" actId="47"/>
        <pc:sldMkLst>
          <pc:docMk/>
          <pc:sldMk cId="1235100158" sldId="796"/>
        </pc:sldMkLst>
      </pc:sldChg>
      <pc:sldChg chg="addSp delSp modSp add del mod ord">
        <pc:chgData name="Koksrud Andreas" userId="9d9beba6-c052-407a-8599-c781a677a996" providerId="ADAL" clId="{4CD5824D-6142-4CBD-9878-FA57E0D27293}" dt="2023-12-01T07:01:33.844" v="3966" actId="14100"/>
        <pc:sldMkLst>
          <pc:docMk/>
          <pc:sldMk cId="1079463624" sldId="797"/>
        </pc:sldMkLst>
        <pc:spChg chg="add del">
          <ac:chgData name="Koksrud Andreas" userId="9d9beba6-c052-407a-8599-c781a677a996" providerId="ADAL" clId="{4CD5824D-6142-4CBD-9878-FA57E0D27293}" dt="2023-11-14T09:38:50.475" v="1086"/>
          <ac:spMkLst>
            <pc:docMk/>
            <pc:sldMk cId="1079463624" sldId="797"/>
            <ac:spMk id="4" creationId="{42AB5390-370A-D1F2-B1DF-C7AC14805E5F}"/>
          </ac:spMkLst>
        </pc:spChg>
        <pc:spChg chg="add del">
          <ac:chgData name="Koksrud Andreas" userId="9d9beba6-c052-407a-8599-c781a677a996" providerId="ADAL" clId="{4CD5824D-6142-4CBD-9878-FA57E0D27293}" dt="2023-11-14T09:38:54.900" v="1088"/>
          <ac:spMkLst>
            <pc:docMk/>
            <pc:sldMk cId="1079463624" sldId="797"/>
            <ac:spMk id="5" creationId="{588FB1E1-1E1E-C7FB-0EDD-ED9A0452DC44}"/>
          </ac:spMkLst>
        </pc:spChg>
        <pc:spChg chg="mod">
          <ac:chgData name="Koksrud Andreas" userId="9d9beba6-c052-407a-8599-c781a677a996" providerId="ADAL" clId="{4CD5824D-6142-4CBD-9878-FA57E0D27293}" dt="2023-11-24T07:27:20.155" v="2361" actId="20577"/>
          <ac:spMkLst>
            <pc:docMk/>
            <pc:sldMk cId="1079463624" sldId="797"/>
            <ac:spMk id="180" creationId="{00000000-0000-0000-0000-000000000000}"/>
          </ac:spMkLst>
        </pc:spChg>
        <pc:spChg chg="mod">
          <ac:chgData name="Koksrud Andreas" userId="9d9beba6-c052-407a-8599-c781a677a996" providerId="ADAL" clId="{4CD5824D-6142-4CBD-9878-FA57E0D27293}" dt="2023-12-01T07:00:06.626" v="3964" actId="20577"/>
          <ac:spMkLst>
            <pc:docMk/>
            <pc:sldMk cId="1079463624" sldId="797"/>
            <ac:spMk id="181" creationId="{00000000-0000-0000-0000-000000000000}"/>
          </ac:spMkLst>
        </pc:spChg>
        <pc:graphicFrameChg chg="add del mod">
          <ac:chgData name="Koksrud Andreas" userId="9d9beba6-c052-407a-8599-c781a677a996" providerId="ADAL" clId="{4CD5824D-6142-4CBD-9878-FA57E0D27293}" dt="2023-11-14T08:10:03.618" v="833"/>
          <ac:graphicFrameMkLst>
            <pc:docMk/>
            <pc:sldMk cId="1079463624" sldId="797"/>
            <ac:graphicFrameMk id="2" creationId="{F9D9067E-92DC-F24A-0EE6-45FD300CBCF1}"/>
          </ac:graphicFrameMkLst>
        </pc:graphicFrameChg>
        <pc:graphicFrameChg chg="add del mod">
          <ac:chgData name="Koksrud Andreas" userId="9d9beba6-c052-407a-8599-c781a677a996" providerId="ADAL" clId="{4CD5824D-6142-4CBD-9878-FA57E0D27293}" dt="2023-11-14T08:10:13.826" v="839"/>
          <ac:graphicFrameMkLst>
            <pc:docMk/>
            <pc:sldMk cId="1079463624" sldId="797"/>
            <ac:graphicFrameMk id="3" creationId="{FAE4EF70-E9BA-4636-DB00-0F8B378DD983}"/>
          </ac:graphicFrameMkLst>
        </pc:graphicFrameChg>
        <pc:picChg chg="add mod">
          <ac:chgData name="Koksrud Andreas" userId="9d9beba6-c052-407a-8599-c781a677a996" providerId="ADAL" clId="{4CD5824D-6142-4CBD-9878-FA57E0D27293}" dt="2023-12-01T07:01:33.844" v="3966" actId="14100"/>
          <ac:picMkLst>
            <pc:docMk/>
            <pc:sldMk cId="1079463624" sldId="797"/>
            <ac:picMk id="3" creationId="{77764897-3F1A-B171-E2D8-7357AC30BADC}"/>
          </ac:picMkLst>
        </pc:picChg>
      </pc:sldChg>
      <pc:sldChg chg="addSp modSp add mod ord">
        <pc:chgData name="Koksrud Andreas" userId="9d9beba6-c052-407a-8599-c781a677a996" providerId="ADAL" clId="{4CD5824D-6142-4CBD-9878-FA57E0D27293}" dt="2023-12-01T06:13:25.487" v="3728" actId="20577"/>
        <pc:sldMkLst>
          <pc:docMk/>
          <pc:sldMk cId="590634226" sldId="798"/>
        </pc:sldMkLst>
        <pc:spChg chg="add mod">
          <ac:chgData name="Koksrud Andreas" userId="9d9beba6-c052-407a-8599-c781a677a996" providerId="ADAL" clId="{4CD5824D-6142-4CBD-9878-FA57E0D27293}" dt="2023-11-24T09:04:03.479" v="2665" actId="14"/>
          <ac:spMkLst>
            <pc:docMk/>
            <pc:sldMk cId="590634226" sldId="798"/>
            <ac:spMk id="2" creationId="{E5D5B057-1D39-AC88-396C-0D888288A2E9}"/>
          </ac:spMkLst>
        </pc:spChg>
        <pc:spChg chg="mod">
          <ac:chgData name="Koksrud Andreas" userId="9d9beba6-c052-407a-8599-c781a677a996" providerId="ADAL" clId="{4CD5824D-6142-4CBD-9878-FA57E0D27293}" dt="2023-12-01T06:13:25.487" v="3728" actId="20577"/>
          <ac:spMkLst>
            <pc:docMk/>
            <pc:sldMk cId="590634226" sldId="798"/>
            <ac:spMk id="181" creationId="{00000000-0000-0000-0000-000000000000}"/>
          </ac:spMkLst>
        </pc:spChg>
      </pc:sldChg>
      <pc:sldChg chg="addSp modSp add mod">
        <pc:chgData name="Koksrud Andreas" userId="9d9beba6-c052-407a-8599-c781a677a996" providerId="ADAL" clId="{4CD5824D-6142-4CBD-9878-FA57E0D27293}" dt="2023-11-23T16:00:17.721" v="1452" actId="20577"/>
        <pc:sldMkLst>
          <pc:docMk/>
          <pc:sldMk cId="1792322963" sldId="799"/>
        </pc:sldMkLst>
        <pc:spChg chg="add mod">
          <ac:chgData name="Koksrud Andreas" userId="9d9beba6-c052-407a-8599-c781a677a996" providerId="ADAL" clId="{4CD5824D-6142-4CBD-9878-FA57E0D27293}" dt="2023-11-23T16:00:17.721" v="1452" actId="20577"/>
          <ac:spMkLst>
            <pc:docMk/>
            <pc:sldMk cId="1792322963" sldId="799"/>
            <ac:spMk id="3" creationId="{6DBAC8E0-D9CE-6A68-DA2F-CA5F6C327794}"/>
          </ac:spMkLst>
        </pc:spChg>
        <pc:spChg chg="mod">
          <ac:chgData name="Koksrud Andreas" userId="9d9beba6-c052-407a-8599-c781a677a996" providerId="ADAL" clId="{4CD5824D-6142-4CBD-9878-FA57E0D27293}" dt="2023-11-23T15:59:07.361" v="1441" actId="27636"/>
          <ac:spMkLst>
            <pc:docMk/>
            <pc:sldMk cId="1792322963" sldId="799"/>
            <ac:spMk id="181" creationId="{00000000-0000-0000-0000-000000000000}"/>
          </ac:spMkLst>
        </pc:spChg>
      </pc:sldChg>
      <pc:sldChg chg="addSp delSp modSp add mod ord">
        <pc:chgData name="Koksrud Andreas" userId="9d9beba6-c052-407a-8599-c781a677a996" providerId="ADAL" clId="{4CD5824D-6142-4CBD-9878-FA57E0D27293}" dt="2023-11-30T13:26:44.661" v="3399" actId="20577"/>
        <pc:sldMkLst>
          <pc:docMk/>
          <pc:sldMk cId="2075912972" sldId="800"/>
        </pc:sldMkLst>
        <pc:spChg chg="add mod">
          <ac:chgData name="Koksrud Andreas" userId="9d9beba6-c052-407a-8599-c781a677a996" providerId="ADAL" clId="{4CD5824D-6142-4CBD-9878-FA57E0D27293}" dt="2023-11-23T17:43:56.704" v="2333" actId="6549"/>
          <ac:spMkLst>
            <pc:docMk/>
            <pc:sldMk cId="2075912972" sldId="800"/>
            <ac:spMk id="4" creationId="{1F0030D3-C16D-0458-39A0-65E4C91CE228}"/>
          </ac:spMkLst>
        </pc:spChg>
        <pc:spChg chg="mod">
          <ac:chgData name="Koksrud Andreas" userId="9d9beba6-c052-407a-8599-c781a677a996" providerId="ADAL" clId="{4CD5824D-6142-4CBD-9878-FA57E0D27293}" dt="2023-11-23T16:01:03.681" v="1491" actId="20577"/>
          <ac:spMkLst>
            <pc:docMk/>
            <pc:sldMk cId="2075912972" sldId="800"/>
            <ac:spMk id="180" creationId="{00000000-0000-0000-0000-000000000000}"/>
          </ac:spMkLst>
        </pc:spChg>
        <pc:spChg chg="del mod">
          <ac:chgData name="Koksrud Andreas" userId="9d9beba6-c052-407a-8599-c781a677a996" providerId="ADAL" clId="{4CD5824D-6142-4CBD-9878-FA57E0D27293}" dt="2023-11-23T16:03:16.970" v="1606" actId="3680"/>
          <ac:spMkLst>
            <pc:docMk/>
            <pc:sldMk cId="2075912972" sldId="800"/>
            <ac:spMk id="181" creationId="{00000000-0000-0000-0000-000000000000}"/>
          </ac:spMkLst>
        </pc:spChg>
        <pc:graphicFrameChg chg="add del mod modGraphic">
          <ac:chgData name="Koksrud Andreas" userId="9d9beba6-c052-407a-8599-c781a677a996" providerId="ADAL" clId="{4CD5824D-6142-4CBD-9878-FA57E0D27293}" dt="2023-11-23T16:06:04.009" v="1812" actId="478"/>
          <ac:graphicFrameMkLst>
            <pc:docMk/>
            <pc:sldMk cId="2075912972" sldId="800"/>
            <ac:graphicFrameMk id="2" creationId="{1F7BFFA6-B758-EE8C-B2E3-E3ACA6F9A311}"/>
          </ac:graphicFrameMkLst>
        </pc:graphicFrameChg>
        <pc:graphicFrameChg chg="add mod ord modGraphic">
          <ac:chgData name="Koksrud Andreas" userId="9d9beba6-c052-407a-8599-c781a677a996" providerId="ADAL" clId="{4CD5824D-6142-4CBD-9878-FA57E0D27293}" dt="2023-11-30T13:26:44.661" v="3399" actId="20577"/>
          <ac:graphicFrameMkLst>
            <pc:docMk/>
            <pc:sldMk cId="2075912972" sldId="800"/>
            <ac:graphicFrameMk id="3" creationId="{9988BFF9-164F-39C7-5576-A1BE9BB1B8AA}"/>
          </ac:graphicFrameMkLst>
        </pc:graphicFrameChg>
      </pc:sldChg>
      <pc:sldChg chg="modSp add del mod">
        <pc:chgData name="Koksrud Andreas" userId="9d9beba6-c052-407a-8599-c781a677a996" providerId="ADAL" clId="{4CD5824D-6142-4CBD-9878-FA57E0D27293}" dt="2023-12-01T11:39:35.527" v="4286" actId="47"/>
        <pc:sldMkLst>
          <pc:docMk/>
          <pc:sldMk cId="1407358056" sldId="801"/>
        </pc:sldMkLst>
        <pc:spChg chg="mod">
          <ac:chgData name="Koksrud Andreas" userId="9d9beba6-c052-407a-8599-c781a677a996" providerId="ADAL" clId="{4CD5824D-6142-4CBD-9878-FA57E0D27293}" dt="2023-11-23T17:28:14.086" v="2160" actId="20577"/>
          <ac:spMkLst>
            <pc:docMk/>
            <pc:sldMk cId="1407358056" sldId="801"/>
            <ac:spMk id="180" creationId="{00000000-0000-0000-0000-000000000000}"/>
          </ac:spMkLst>
        </pc:spChg>
        <pc:spChg chg="mod">
          <ac:chgData name="Koksrud Andreas" userId="9d9beba6-c052-407a-8599-c781a677a996" providerId="ADAL" clId="{4CD5824D-6142-4CBD-9878-FA57E0D27293}" dt="2023-11-24T11:50:31.064" v="3341" actId="20577"/>
          <ac:spMkLst>
            <pc:docMk/>
            <pc:sldMk cId="1407358056" sldId="801"/>
            <ac:spMk id="181" creationId="{00000000-0000-0000-0000-000000000000}"/>
          </ac:spMkLst>
        </pc:spChg>
      </pc:sldChg>
      <pc:sldChg chg="addSp delSp modSp add mod">
        <pc:chgData name="Koksrud Andreas" userId="9d9beba6-c052-407a-8599-c781a677a996" providerId="ADAL" clId="{4CD5824D-6142-4CBD-9878-FA57E0D27293}" dt="2023-12-03T19:02:11.548" v="4563" actId="14100"/>
        <pc:sldMkLst>
          <pc:docMk/>
          <pc:sldMk cId="1498060418" sldId="802"/>
        </pc:sldMkLst>
        <pc:spChg chg="mod">
          <ac:chgData name="Koksrud Andreas" userId="9d9beba6-c052-407a-8599-c781a677a996" providerId="ADAL" clId="{4CD5824D-6142-4CBD-9878-FA57E0D27293}" dt="2023-12-03T19:01:28.379" v="4553" actId="20577"/>
          <ac:spMkLst>
            <pc:docMk/>
            <pc:sldMk cId="1498060418" sldId="802"/>
            <ac:spMk id="181" creationId="{00000000-0000-0000-0000-000000000000}"/>
          </ac:spMkLst>
        </pc:spChg>
        <pc:picChg chg="add mod">
          <ac:chgData name="Koksrud Andreas" userId="9d9beba6-c052-407a-8599-c781a677a996" providerId="ADAL" clId="{4CD5824D-6142-4CBD-9878-FA57E0D27293}" dt="2023-12-03T19:00:37.205" v="4508" actId="14100"/>
          <ac:picMkLst>
            <pc:docMk/>
            <pc:sldMk cId="1498060418" sldId="802"/>
            <ac:picMk id="3" creationId="{CBFEFB0B-3282-7AC0-21B6-52CE33617628}"/>
          </ac:picMkLst>
        </pc:picChg>
        <pc:picChg chg="add mod modCrop">
          <ac:chgData name="Koksrud Andreas" userId="9d9beba6-c052-407a-8599-c781a677a996" providerId="ADAL" clId="{4CD5824D-6142-4CBD-9878-FA57E0D27293}" dt="2023-12-03T19:00:55.848" v="4511" actId="732"/>
          <ac:picMkLst>
            <pc:docMk/>
            <pc:sldMk cId="1498060418" sldId="802"/>
            <ac:picMk id="5" creationId="{23572AA6-9B29-275E-AB67-74C799BC3C20}"/>
          </ac:picMkLst>
        </pc:picChg>
        <pc:picChg chg="add del">
          <ac:chgData name="Koksrud Andreas" userId="9d9beba6-c052-407a-8599-c781a677a996" providerId="ADAL" clId="{4CD5824D-6142-4CBD-9878-FA57E0D27293}" dt="2023-12-03T19:00:59.697" v="4513" actId="478"/>
          <ac:picMkLst>
            <pc:docMk/>
            <pc:sldMk cId="1498060418" sldId="802"/>
            <ac:picMk id="7" creationId="{D9C7E89A-210E-82CC-A244-6900CBDB780E}"/>
          </ac:picMkLst>
        </pc:picChg>
        <pc:picChg chg="add mod modCrop">
          <ac:chgData name="Koksrud Andreas" userId="9d9beba6-c052-407a-8599-c781a677a996" providerId="ADAL" clId="{4CD5824D-6142-4CBD-9878-FA57E0D27293}" dt="2023-12-03T19:01:45.839" v="4556" actId="732"/>
          <ac:picMkLst>
            <pc:docMk/>
            <pc:sldMk cId="1498060418" sldId="802"/>
            <ac:picMk id="11" creationId="{FA3AA484-9678-282F-FA0F-53789CE5C7E0}"/>
          </ac:picMkLst>
        </pc:picChg>
        <pc:picChg chg="add mod">
          <ac:chgData name="Koksrud Andreas" userId="9d9beba6-c052-407a-8599-c781a677a996" providerId="ADAL" clId="{4CD5824D-6142-4CBD-9878-FA57E0D27293}" dt="2023-12-03T19:02:00.188" v="4559" actId="1076"/>
          <ac:picMkLst>
            <pc:docMk/>
            <pc:sldMk cId="1498060418" sldId="802"/>
            <ac:picMk id="13" creationId="{C7A6110E-5CF7-BBCF-6830-61081EFA2E77}"/>
          </ac:picMkLst>
        </pc:picChg>
        <pc:cxnChg chg="add mod">
          <ac:chgData name="Koksrud Andreas" userId="9d9beba6-c052-407a-8599-c781a677a996" providerId="ADAL" clId="{4CD5824D-6142-4CBD-9878-FA57E0D27293}" dt="2023-12-03T19:01:06.758" v="4516" actId="14100"/>
          <ac:cxnSpMkLst>
            <pc:docMk/>
            <pc:sldMk cId="1498060418" sldId="802"/>
            <ac:cxnSpMk id="8" creationId="{61E4DBE9-0D5F-FCD9-C745-13AB35479943}"/>
          </ac:cxnSpMkLst>
        </pc:cxnChg>
        <pc:cxnChg chg="add mod">
          <ac:chgData name="Koksrud Andreas" userId="9d9beba6-c052-407a-8599-c781a677a996" providerId="ADAL" clId="{4CD5824D-6142-4CBD-9878-FA57E0D27293}" dt="2023-12-03T19:02:11.548" v="4563" actId="14100"/>
          <ac:cxnSpMkLst>
            <pc:docMk/>
            <pc:sldMk cId="1498060418" sldId="802"/>
            <ac:cxnSpMk id="14" creationId="{5E62564F-5B58-6220-DA9D-75A1C5F55029}"/>
          </ac:cxnSpMkLst>
        </pc:cxnChg>
      </pc:sldChg>
      <pc:sldChg chg="new del">
        <pc:chgData name="Koksrud Andreas" userId="9d9beba6-c052-407a-8599-c781a677a996" providerId="ADAL" clId="{4CD5824D-6142-4CBD-9878-FA57E0D27293}" dt="2023-11-24T07:27:32.437" v="2363" actId="47"/>
        <pc:sldMkLst>
          <pc:docMk/>
          <pc:sldMk cId="148774009" sldId="803"/>
        </pc:sldMkLst>
      </pc:sldChg>
      <pc:sldChg chg="modSp add mod">
        <pc:chgData name="Koksrud Andreas" userId="9d9beba6-c052-407a-8599-c781a677a996" providerId="ADAL" clId="{4CD5824D-6142-4CBD-9878-FA57E0D27293}" dt="2023-11-24T07:32:00.081" v="2497" actId="20577"/>
        <pc:sldMkLst>
          <pc:docMk/>
          <pc:sldMk cId="4143839114" sldId="803"/>
        </pc:sldMkLst>
        <pc:spChg chg="mod">
          <ac:chgData name="Koksrud Andreas" userId="9d9beba6-c052-407a-8599-c781a677a996" providerId="ADAL" clId="{4CD5824D-6142-4CBD-9878-FA57E0D27293}" dt="2023-11-24T07:32:00.081" v="2497" actId="20577"/>
          <ac:spMkLst>
            <pc:docMk/>
            <pc:sldMk cId="4143839114" sldId="803"/>
            <ac:spMk id="181" creationId="{00000000-0000-0000-0000-000000000000}"/>
          </ac:spMkLst>
        </pc:spChg>
      </pc:sldChg>
      <pc:sldChg chg="addSp delSp modSp add mod ord">
        <pc:chgData name="Koksrud Andreas" userId="9d9beba6-c052-407a-8599-c781a677a996" providerId="ADAL" clId="{4CD5824D-6142-4CBD-9878-FA57E0D27293}" dt="2023-11-24T09:14:05.112" v="2884" actId="20577"/>
        <pc:sldMkLst>
          <pc:docMk/>
          <pc:sldMk cId="650945980" sldId="804"/>
        </pc:sldMkLst>
        <pc:spChg chg="del">
          <ac:chgData name="Koksrud Andreas" userId="9d9beba6-c052-407a-8599-c781a677a996" providerId="ADAL" clId="{4CD5824D-6142-4CBD-9878-FA57E0D27293}" dt="2023-11-24T09:04:20.581" v="2668" actId="478"/>
          <ac:spMkLst>
            <pc:docMk/>
            <pc:sldMk cId="650945980" sldId="804"/>
            <ac:spMk id="2" creationId="{E5D5B057-1D39-AC88-396C-0D888288A2E9}"/>
          </ac:spMkLst>
        </pc:spChg>
        <pc:spChg chg="mod">
          <ac:chgData name="Koksrud Andreas" userId="9d9beba6-c052-407a-8599-c781a677a996" providerId="ADAL" clId="{4CD5824D-6142-4CBD-9878-FA57E0D27293}" dt="2023-11-24T09:14:05.112" v="2884" actId="20577"/>
          <ac:spMkLst>
            <pc:docMk/>
            <pc:sldMk cId="650945980" sldId="804"/>
            <ac:spMk id="181" creationId="{00000000-0000-0000-0000-000000000000}"/>
          </ac:spMkLst>
        </pc:spChg>
        <pc:picChg chg="add del mod">
          <ac:chgData name="Koksrud Andreas" userId="9d9beba6-c052-407a-8599-c781a677a996" providerId="ADAL" clId="{4CD5824D-6142-4CBD-9878-FA57E0D27293}" dt="2023-11-24T09:13:45.705" v="2856" actId="478"/>
          <ac:picMkLst>
            <pc:docMk/>
            <pc:sldMk cId="650945980" sldId="804"/>
            <ac:picMk id="3" creationId="{8591900A-C01C-842D-608E-E78BBF47A16D}"/>
          </ac:picMkLst>
        </pc:picChg>
        <pc:picChg chg="add mod">
          <ac:chgData name="Koksrud Andreas" userId="9d9beba6-c052-407a-8599-c781a677a996" providerId="ADAL" clId="{4CD5824D-6142-4CBD-9878-FA57E0D27293}" dt="2023-11-24T09:13:57.818" v="2860" actId="1076"/>
          <ac:picMkLst>
            <pc:docMk/>
            <pc:sldMk cId="650945980" sldId="804"/>
            <ac:picMk id="4" creationId="{7BDBF2ED-CCAF-D6E8-0EB7-1331549DC910}"/>
          </ac:picMkLst>
        </pc:picChg>
      </pc:sldChg>
      <pc:sldChg chg="addSp delSp modSp add del mod">
        <pc:chgData name="Koksrud Andreas" userId="9d9beba6-c052-407a-8599-c781a677a996" providerId="ADAL" clId="{4CD5824D-6142-4CBD-9878-FA57E0D27293}" dt="2023-11-24T09:10:16.325" v="2823" actId="47"/>
        <pc:sldMkLst>
          <pc:docMk/>
          <pc:sldMk cId="1072299339" sldId="805"/>
        </pc:sldMkLst>
        <pc:spChg chg="add del mod">
          <ac:chgData name="Koksrud Andreas" userId="9d9beba6-c052-407a-8599-c781a677a996" providerId="ADAL" clId="{4CD5824D-6142-4CBD-9878-FA57E0D27293}" dt="2023-11-24T09:08:40.141" v="2782" actId="478"/>
          <ac:spMkLst>
            <pc:docMk/>
            <pc:sldMk cId="1072299339" sldId="805"/>
            <ac:spMk id="3" creationId="{0821E00A-4348-4B7B-3302-9DEBC3D0769A}"/>
          </ac:spMkLst>
        </pc:spChg>
        <pc:spChg chg="mod">
          <ac:chgData name="Koksrud Andreas" userId="9d9beba6-c052-407a-8599-c781a677a996" providerId="ADAL" clId="{4CD5824D-6142-4CBD-9878-FA57E0D27293}" dt="2023-11-24T09:08:44.529" v="2794" actId="27636"/>
          <ac:spMkLst>
            <pc:docMk/>
            <pc:sldMk cId="1072299339" sldId="805"/>
            <ac:spMk id="180" creationId="{00000000-0000-0000-0000-000000000000}"/>
          </ac:spMkLst>
        </pc:spChg>
        <pc:spChg chg="del mod">
          <ac:chgData name="Koksrud Andreas" userId="9d9beba6-c052-407a-8599-c781a677a996" providerId="ADAL" clId="{4CD5824D-6142-4CBD-9878-FA57E0D27293}" dt="2023-11-24T09:08:37.448" v="2781" actId="478"/>
          <ac:spMkLst>
            <pc:docMk/>
            <pc:sldMk cId="1072299339" sldId="805"/>
            <ac:spMk id="181" creationId="{00000000-0000-0000-0000-000000000000}"/>
          </ac:spMkLst>
        </pc:spChg>
      </pc:sldChg>
      <pc:sldChg chg="addSp delSp modSp add mod modShow">
        <pc:chgData name="Koksrud Andreas" userId="9d9beba6-c052-407a-8599-c781a677a996" providerId="ADAL" clId="{4CD5824D-6142-4CBD-9878-FA57E0D27293}" dt="2023-11-24T09:17:40.376" v="3030" actId="729"/>
        <pc:sldMkLst>
          <pc:docMk/>
          <pc:sldMk cId="2074140981" sldId="806"/>
        </pc:sldMkLst>
        <pc:picChg chg="add del mod">
          <ac:chgData name="Koksrud Andreas" userId="9d9beba6-c052-407a-8599-c781a677a996" providerId="ADAL" clId="{4CD5824D-6142-4CBD-9878-FA57E0D27293}" dt="2023-11-24T09:09:40.453" v="2810" actId="21"/>
          <ac:picMkLst>
            <pc:docMk/>
            <pc:sldMk cId="2074140981" sldId="806"/>
            <ac:picMk id="2" creationId="{B2A7B8BA-6EDB-1EAD-2759-91F8D5915765}"/>
          </ac:picMkLst>
        </pc:picChg>
        <pc:picChg chg="add mod">
          <ac:chgData name="Koksrud Andreas" userId="9d9beba6-c052-407a-8599-c781a677a996" providerId="ADAL" clId="{4CD5824D-6142-4CBD-9878-FA57E0D27293}" dt="2023-11-24T09:10:33.444" v="2826" actId="1076"/>
          <ac:picMkLst>
            <pc:docMk/>
            <pc:sldMk cId="2074140981" sldId="806"/>
            <ac:picMk id="3" creationId="{CD99786B-35E2-BD35-7C6B-DEDF65490D16}"/>
          </ac:picMkLst>
        </pc:picChg>
      </pc:sldChg>
      <pc:sldChg chg="addSp delSp modSp add mod modShow">
        <pc:chgData name="Koksrud Andreas" userId="9d9beba6-c052-407a-8599-c781a677a996" providerId="ADAL" clId="{4CD5824D-6142-4CBD-9878-FA57E0D27293}" dt="2023-11-24T09:17:40.376" v="3030" actId="729"/>
        <pc:sldMkLst>
          <pc:docMk/>
          <pc:sldMk cId="3317680748" sldId="807"/>
        </pc:sldMkLst>
        <pc:picChg chg="add del mod">
          <ac:chgData name="Koksrud Andreas" userId="9d9beba6-c052-407a-8599-c781a677a996" providerId="ADAL" clId="{4CD5824D-6142-4CBD-9878-FA57E0D27293}" dt="2023-11-24T09:09:52.251" v="2814" actId="21"/>
          <ac:picMkLst>
            <pc:docMk/>
            <pc:sldMk cId="3317680748" sldId="807"/>
            <ac:picMk id="2" creationId="{6DE557B9-3C0E-290E-C9E8-B065336E15CF}"/>
          </ac:picMkLst>
        </pc:picChg>
        <pc:picChg chg="add mod modCrop">
          <ac:chgData name="Koksrud Andreas" userId="9d9beba6-c052-407a-8599-c781a677a996" providerId="ADAL" clId="{4CD5824D-6142-4CBD-9878-FA57E0D27293}" dt="2023-11-24T09:10:59.502" v="2829" actId="732"/>
          <ac:picMkLst>
            <pc:docMk/>
            <pc:sldMk cId="3317680748" sldId="807"/>
            <ac:picMk id="3" creationId="{EEE812BB-94BC-E75C-8D73-F5325A8C9C2F}"/>
          </ac:picMkLst>
        </pc:picChg>
        <pc:picChg chg="add mod">
          <ac:chgData name="Koksrud Andreas" userId="9d9beba6-c052-407a-8599-c781a677a996" providerId="ADAL" clId="{4CD5824D-6142-4CBD-9878-FA57E0D27293}" dt="2023-11-24T09:11:10.337" v="2832" actId="14100"/>
          <ac:picMkLst>
            <pc:docMk/>
            <pc:sldMk cId="3317680748" sldId="807"/>
            <ac:picMk id="4" creationId="{86EF8AC2-1FA4-0668-002B-4B6191EFAA6F}"/>
          </ac:picMkLst>
        </pc:picChg>
        <pc:picChg chg="add mod">
          <ac:chgData name="Koksrud Andreas" userId="9d9beba6-c052-407a-8599-c781a677a996" providerId="ADAL" clId="{4CD5824D-6142-4CBD-9878-FA57E0D27293}" dt="2023-11-24T09:11:17.971" v="2834" actId="1076"/>
          <ac:picMkLst>
            <pc:docMk/>
            <pc:sldMk cId="3317680748" sldId="807"/>
            <ac:picMk id="5" creationId="{22851178-26BC-966B-A70F-54643C45EFE4}"/>
          </ac:picMkLst>
        </pc:picChg>
      </pc:sldChg>
      <pc:sldChg chg="addSp modSp add mod modShow">
        <pc:chgData name="Koksrud Andreas" userId="9d9beba6-c052-407a-8599-c781a677a996" providerId="ADAL" clId="{4CD5824D-6142-4CBD-9878-FA57E0D27293}" dt="2023-11-24T09:17:40.376" v="3030" actId="729"/>
        <pc:sldMkLst>
          <pc:docMk/>
          <pc:sldMk cId="197388729" sldId="808"/>
        </pc:sldMkLst>
        <pc:picChg chg="add mod">
          <ac:chgData name="Koksrud Andreas" userId="9d9beba6-c052-407a-8599-c781a677a996" providerId="ADAL" clId="{4CD5824D-6142-4CBD-9878-FA57E0D27293}" dt="2023-11-24T09:11:27.962" v="2837" actId="14100"/>
          <ac:picMkLst>
            <pc:docMk/>
            <pc:sldMk cId="197388729" sldId="808"/>
            <ac:picMk id="2" creationId="{D26656AB-9CD0-5850-14CB-D5DF02DE4DBC}"/>
          </ac:picMkLst>
        </pc:picChg>
        <pc:picChg chg="add mod">
          <ac:chgData name="Koksrud Andreas" userId="9d9beba6-c052-407a-8599-c781a677a996" providerId="ADAL" clId="{4CD5824D-6142-4CBD-9878-FA57E0D27293}" dt="2023-11-24T09:11:33.952" v="2839" actId="1076"/>
          <ac:picMkLst>
            <pc:docMk/>
            <pc:sldMk cId="197388729" sldId="808"/>
            <ac:picMk id="3" creationId="{8F622C48-5133-7EAD-E05C-F85C1A5CF491}"/>
          </ac:picMkLst>
        </pc:picChg>
      </pc:sldChg>
      <pc:sldChg chg="add del">
        <pc:chgData name="Koksrud Andreas" userId="9d9beba6-c052-407a-8599-c781a677a996" providerId="ADAL" clId="{4CD5824D-6142-4CBD-9878-FA57E0D27293}" dt="2023-11-24T09:12:02.157" v="2841" actId="47"/>
        <pc:sldMkLst>
          <pc:docMk/>
          <pc:sldMk cId="1862349036" sldId="809"/>
        </pc:sldMkLst>
      </pc:sldChg>
      <pc:sldChg chg="add del">
        <pc:chgData name="Koksrud Andreas" userId="9d9beba6-c052-407a-8599-c781a677a996" providerId="ADAL" clId="{4CD5824D-6142-4CBD-9878-FA57E0D27293}" dt="2023-11-24T09:12:02.939" v="2842" actId="47"/>
        <pc:sldMkLst>
          <pc:docMk/>
          <pc:sldMk cId="3428239464" sldId="810"/>
        </pc:sldMkLst>
      </pc:sldChg>
      <pc:sldChg chg="add del">
        <pc:chgData name="Koksrud Andreas" userId="9d9beba6-c052-407a-8599-c781a677a996" providerId="ADAL" clId="{4CD5824D-6142-4CBD-9878-FA57E0D27293}" dt="2023-11-24T09:12:03.476" v="2843" actId="47"/>
        <pc:sldMkLst>
          <pc:docMk/>
          <pc:sldMk cId="1506935442" sldId="811"/>
        </pc:sldMkLst>
      </pc:sldChg>
      <pc:sldChg chg="add del">
        <pc:chgData name="Koksrud Andreas" userId="9d9beba6-c052-407a-8599-c781a677a996" providerId="ADAL" clId="{4CD5824D-6142-4CBD-9878-FA57E0D27293}" dt="2023-11-24T09:12:04.112" v="2844" actId="47"/>
        <pc:sldMkLst>
          <pc:docMk/>
          <pc:sldMk cId="3566603215" sldId="812"/>
        </pc:sldMkLst>
      </pc:sldChg>
      <pc:sldChg chg="addSp modSp add mod modShow">
        <pc:chgData name="Koksrud Andreas" userId="9d9beba6-c052-407a-8599-c781a677a996" providerId="ADAL" clId="{4CD5824D-6142-4CBD-9878-FA57E0D27293}" dt="2023-11-24T09:17:40.376" v="3030" actId="729"/>
        <pc:sldMkLst>
          <pc:docMk/>
          <pc:sldMk cId="1335476865" sldId="813"/>
        </pc:sldMkLst>
        <pc:picChg chg="add mod">
          <ac:chgData name="Koksrud Andreas" userId="9d9beba6-c052-407a-8599-c781a677a996" providerId="ADAL" clId="{4CD5824D-6142-4CBD-9878-FA57E0D27293}" dt="2023-11-24T09:09:06.952" v="2805" actId="1076"/>
          <ac:picMkLst>
            <pc:docMk/>
            <pc:sldMk cId="1335476865" sldId="813"/>
            <ac:picMk id="2" creationId="{6CD256E6-0C7C-B0D1-6B31-4088F40945C9}"/>
          </ac:picMkLst>
        </pc:picChg>
        <pc:picChg chg="add mod">
          <ac:chgData name="Koksrud Andreas" userId="9d9beba6-c052-407a-8599-c781a677a996" providerId="ADAL" clId="{4CD5824D-6142-4CBD-9878-FA57E0D27293}" dt="2023-11-24T09:10:04.952" v="2821" actId="1076"/>
          <ac:picMkLst>
            <pc:docMk/>
            <pc:sldMk cId="1335476865" sldId="813"/>
            <ac:picMk id="3" creationId="{057FBA2D-1860-A8AE-0DCA-82E5436510A4}"/>
          </ac:picMkLst>
        </pc:picChg>
        <pc:picChg chg="add mod">
          <ac:chgData name="Koksrud Andreas" userId="9d9beba6-c052-407a-8599-c781a677a996" providerId="ADAL" clId="{4CD5824D-6142-4CBD-9878-FA57E0D27293}" dt="2023-11-24T09:10:09.433" v="2822" actId="1076"/>
          <ac:picMkLst>
            <pc:docMk/>
            <pc:sldMk cId="1335476865" sldId="813"/>
            <ac:picMk id="4" creationId="{E555DF2B-41C1-BC0F-6C1E-AE908DB7088B}"/>
          </ac:picMkLst>
        </pc:picChg>
      </pc:sldChg>
      <pc:sldChg chg="addSp modSp add mod ord">
        <pc:chgData name="Koksrud Andreas" userId="9d9beba6-c052-407a-8599-c781a677a996" providerId="ADAL" clId="{4CD5824D-6142-4CBD-9878-FA57E0D27293}" dt="2023-11-24T09:13:43.802" v="2855"/>
        <pc:sldMkLst>
          <pc:docMk/>
          <pc:sldMk cId="248187023" sldId="814"/>
        </pc:sldMkLst>
        <pc:picChg chg="add mod">
          <ac:chgData name="Koksrud Andreas" userId="9d9beba6-c052-407a-8599-c781a677a996" providerId="ADAL" clId="{4CD5824D-6142-4CBD-9878-FA57E0D27293}" dt="2023-11-24T09:13:33.010" v="2853" actId="1076"/>
          <ac:picMkLst>
            <pc:docMk/>
            <pc:sldMk cId="248187023" sldId="814"/>
            <ac:picMk id="2" creationId="{66051F14-18A2-8F70-6F0E-9F3E51887040}"/>
          </ac:picMkLst>
        </pc:picChg>
      </pc:sldChg>
      <pc:sldChg chg="add del">
        <pc:chgData name="Koksrud Andreas" userId="9d9beba6-c052-407a-8599-c781a677a996" providerId="ADAL" clId="{4CD5824D-6142-4CBD-9878-FA57E0D27293}" dt="2023-11-24T09:12:28.179" v="2846" actId="47"/>
        <pc:sldMkLst>
          <pc:docMk/>
          <pc:sldMk cId="1531917809" sldId="814"/>
        </pc:sldMkLst>
      </pc:sldChg>
      <pc:sldChg chg="addSp delSp modSp add mod">
        <pc:chgData name="Koksrud Andreas" userId="9d9beba6-c052-407a-8599-c781a677a996" providerId="ADAL" clId="{4CD5824D-6142-4CBD-9878-FA57E0D27293}" dt="2023-11-24T09:14:31.649" v="2907" actId="20577"/>
        <pc:sldMkLst>
          <pc:docMk/>
          <pc:sldMk cId="2920848915" sldId="815"/>
        </pc:sldMkLst>
        <pc:spChg chg="mod">
          <ac:chgData name="Koksrud Andreas" userId="9d9beba6-c052-407a-8599-c781a677a996" providerId="ADAL" clId="{4CD5824D-6142-4CBD-9878-FA57E0D27293}" dt="2023-11-24T09:14:31.649" v="2907" actId="20577"/>
          <ac:spMkLst>
            <pc:docMk/>
            <pc:sldMk cId="2920848915" sldId="815"/>
            <ac:spMk id="181" creationId="{00000000-0000-0000-0000-000000000000}"/>
          </ac:spMkLst>
        </pc:spChg>
        <pc:picChg chg="add mod">
          <ac:chgData name="Koksrud Andreas" userId="9d9beba6-c052-407a-8599-c781a677a996" providerId="ADAL" clId="{4CD5824D-6142-4CBD-9878-FA57E0D27293}" dt="2023-11-24T09:14:27.046" v="2888" actId="1076"/>
          <ac:picMkLst>
            <pc:docMk/>
            <pc:sldMk cId="2920848915" sldId="815"/>
            <ac:picMk id="2" creationId="{AF392963-2BAA-7151-1D1B-C320A68F69AE}"/>
          </ac:picMkLst>
        </pc:picChg>
        <pc:picChg chg="del">
          <ac:chgData name="Koksrud Andreas" userId="9d9beba6-c052-407a-8599-c781a677a996" providerId="ADAL" clId="{4CD5824D-6142-4CBD-9878-FA57E0D27293}" dt="2023-11-24T09:14:24.123" v="2886" actId="478"/>
          <ac:picMkLst>
            <pc:docMk/>
            <pc:sldMk cId="2920848915" sldId="815"/>
            <ac:picMk id="4" creationId="{7BDBF2ED-CCAF-D6E8-0EB7-1331549DC910}"/>
          </ac:picMkLst>
        </pc:picChg>
      </pc:sldChg>
      <pc:sldChg chg="addSp delSp modSp add mod">
        <pc:chgData name="Koksrud Andreas" userId="9d9beba6-c052-407a-8599-c781a677a996" providerId="ADAL" clId="{4CD5824D-6142-4CBD-9878-FA57E0D27293}" dt="2023-11-24T09:19:48.810" v="3035" actId="1076"/>
        <pc:sldMkLst>
          <pc:docMk/>
          <pc:sldMk cId="2825686732" sldId="816"/>
        </pc:sldMkLst>
        <pc:picChg chg="del">
          <ac:chgData name="Koksrud Andreas" userId="9d9beba6-c052-407a-8599-c781a677a996" providerId="ADAL" clId="{4CD5824D-6142-4CBD-9878-FA57E0D27293}" dt="2023-11-24T09:14:41.664" v="2909" actId="478"/>
          <ac:picMkLst>
            <pc:docMk/>
            <pc:sldMk cId="2825686732" sldId="816"/>
            <ac:picMk id="2" creationId="{AF392963-2BAA-7151-1D1B-C320A68F69AE}"/>
          </ac:picMkLst>
        </pc:picChg>
        <pc:picChg chg="add mod">
          <ac:chgData name="Koksrud Andreas" userId="9d9beba6-c052-407a-8599-c781a677a996" providerId="ADAL" clId="{4CD5824D-6142-4CBD-9878-FA57E0D27293}" dt="2023-11-24T09:14:59.842" v="2912" actId="14100"/>
          <ac:picMkLst>
            <pc:docMk/>
            <pc:sldMk cId="2825686732" sldId="816"/>
            <ac:picMk id="3" creationId="{B188053A-A28A-3758-EB40-AB4F962E28BB}"/>
          </ac:picMkLst>
        </pc:picChg>
        <pc:picChg chg="add mod">
          <ac:chgData name="Koksrud Andreas" userId="9d9beba6-c052-407a-8599-c781a677a996" providerId="ADAL" clId="{4CD5824D-6142-4CBD-9878-FA57E0D27293}" dt="2023-11-24T09:19:48.810" v="3035" actId="1076"/>
          <ac:picMkLst>
            <pc:docMk/>
            <pc:sldMk cId="2825686732" sldId="816"/>
            <ac:picMk id="4" creationId="{8B0E1339-631C-8C23-C5C7-8EE5CCB129FE}"/>
          </ac:picMkLst>
        </pc:picChg>
        <pc:picChg chg="add del mod">
          <ac:chgData name="Koksrud Andreas" userId="9d9beba6-c052-407a-8599-c781a677a996" providerId="ADAL" clId="{4CD5824D-6142-4CBD-9878-FA57E0D27293}" dt="2023-11-24T09:19:20.792" v="3031" actId="478"/>
          <ac:picMkLst>
            <pc:docMk/>
            <pc:sldMk cId="2825686732" sldId="816"/>
            <ac:picMk id="5" creationId="{B119E735-F827-3D77-EBD5-5FFE79D3C41A}"/>
          </ac:picMkLst>
        </pc:picChg>
        <pc:picChg chg="add mod">
          <ac:chgData name="Koksrud Andreas" userId="9d9beba6-c052-407a-8599-c781a677a996" providerId="ADAL" clId="{4CD5824D-6142-4CBD-9878-FA57E0D27293}" dt="2023-11-24T09:19:45.136" v="3034" actId="1076"/>
          <ac:picMkLst>
            <pc:docMk/>
            <pc:sldMk cId="2825686732" sldId="816"/>
            <ac:picMk id="7" creationId="{051CF5BC-80FB-B094-F159-E8B283C64781}"/>
          </ac:picMkLst>
        </pc:picChg>
      </pc:sldChg>
      <pc:sldChg chg="addSp delSp modSp add mod">
        <pc:chgData name="Koksrud Andreas" userId="9d9beba6-c052-407a-8599-c781a677a996" providerId="ADAL" clId="{4CD5824D-6142-4CBD-9878-FA57E0D27293}" dt="2023-11-24T09:22:32.873" v="3053" actId="20577"/>
        <pc:sldMkLst>
          <pc:docMk/>
          <pc:sldMk cId="3012956304" sldId="817"/>
        </pc:sldMkLst>
        <pc:spChg chg="mod">
          <ac:chgData name="Koksrud Andreas" userId="9d9beba6-c052-407a-8599-c781a677a996" providerId="ADAL" clId="{4CD5824D-6142-4CBD-9878-FA57E0D27293}" dt="2023-11-24T09:22:32.873" v="3053" actId="20577"/>
          <ac:spMkLst>
            <pc:docMk/>
            <pc:sldMk cId="3012956304" sldId="817"/>
            <ac:spMk id="181" creationId="{00000000-0000-0000-0000-000000000000}"/>
          </ac:spMkLst>
        </pc:spChg>
        <pc:picChg chg="add mod">
          <ac:chgData name="Koksrud Andreas" userId="9d9beba6-c052-407a-8599-c781a677a996" providerId="ADAL" clId="{4CD5824D-6142-4CBD-9878-FA57E0D27293}" dt="2023-11-24T09:16:12.449" v="2977" actId="1076"/>
          <ac:picMkLst>
            <pc:docMk/>
            <pc:sldMk cId="3012956304" sldId="817"/>
            <ac:picMk id="2" creationId="{611EED0C-E5EC-E8CE-9054-037D7154499A}"/>
          </ac:picMkLst>
        </pc:picChg>
        <pc:picChg chg="del">
          <ac:chgData name="Koksrud Andreas" userId="9d9beba6-c052-407a-8599-c781a677a996" providerId="ADAL" clId="{4CD5824D-6142-4CBD-9878-FA57E0D27293}" dt="2023-11-24T09:16:05.272" v="2975" actId="478"/>
          <ac:picMkLst>
            <pc:docMk/>
            <pc:sldMk cId="3012956304" sldId="817"/>
            <ac:picMk id="3" creationId="{B188053A-A28A-3758-EB40-AB4F962E28BB}"/>
          </ac:picMkLst>
        </pc:picChg>
        <pc:picChg chg="del">
          <ac:chgData name="Koksrud Andreas" userId="9d9beba6-c052-407a-8599-c781a677a996" providerId="ADAL" clId="{4CD5824D-6142-4CBD-9878-FA57E0D27293}" dt="2023-11-24T09:16:04.696" v="2974" actId="478"/>
          <ac:picMkLst>
            <pc:docMk/>
            <pc:sldMk cId="3012956304" sldId="817"/>
            <ac:picMk id="4" creationId="{8B0E1339-631C-8C23-C5C7-8EE5CCB129FE}"/>
          </ac:picMkLst>
        </pc:picChg>
        <pc:picChg chg="del">
          <ac:chgData name="Koksrud Andreas" userId="9d9beba6-c052-407a-8599-c781a677a996" providerId="ADAL" clId="{4CD5824D-6142-4CBD-9878-FA57E0D27293}" dt="2023-11-24T09:16:04.080" v="2973" actId="478"/>
          <ac:picMkLst>
            <pc:docMk/>
            <pc:sldMk cId="3012956304" sldId="817"/>
            <ac:picMk id="5" creationId="{B119E735-F827-3D77-EBD5-5FFE79D3C41A}"/>
          </ac:picMkLst>
        </pc:picChg>
        <pc:picChg chg="add mod">
          <ac:chgData name="Koksrud Andreas" userId="9d9beba6-c052-407a-8599-c781a677a996" providerId="ADAL" clId="{4CD5824D-6142-4CBD-9878-FA57E0D27293}" dt="2023-11-24T09:16:25.665" v="2993" actId="1076"/>
          <ac:picMkLst>
            <pc:docMk/>
            <pc:sldMk cId="3012956304" sldId="817"/>
            <ac:picMk id="6" creationId="{7B428BF2-67D8-C9D7-A08F-88F8D960A4CB}"/>
          </ac:picMkLst>
        </pc:picChg>
      </pc:sldChg>
      <pc:sldChg chg="addSp delSp modSp add mod">
        <pc:chgData name="Koksrud Andreas" userId="9d9beba6-c052-407a-8599-c781a677a996" providerId="ADAL" clId="{4CD5824D-6142-4CBD-9878-FA57E0D27293}" dt="2023-11-24T09:16:56.333" v="3024" actId="14100"/>
        <pc:sldMkLst>
          <pc:docMk/>
          <pc:sldMk cId="958133851" sldId="818"/>
        </pc:sldMkLst>
        <pc:spChg chg="mod">
          <ac:chgData name="Koksrud Andreas" userId="9d9beba6-c052-407a-8599-c781a677a996" providerId="ADAL" clId="{4CD5824D-6142-4CBD-9878-FA57E0D27293}" dt="2023-11-24T09:16:40.592" v="3019" actId="20577"/>
          <ac:spMkLst>
            <pc:docMk/>
            <pc:sldMk cId="958133851" sldId="818"/>
            <ac:spMk id="181" creationId="{00000000-0000-0000-0000-000000000000}"/>
          </ac:spMkLst>
        </pc:spChg>
        <pc:picChg chg="del">
          <ac:chgData name="Koksrud Andreas" userId="9d9beba6-c052-407a-8599-c781a677a996" providerId="ADAL" clId="{4CD5824D-6142-4CBD-9878-FA57E0D27293}" dt="2023-11-24T09:16:50.416" v="3020" actId="478"/>
          <ac:picMkLst>
            <pc:docMk/>
            <pc:sldMk cId="958133851" sldId="818"/>
            <ac:picMk id="2" creationId="{611EED0C-E5EC-E8CE-9054-037D7154499A}"/>
          </ac:picMkLst>
        </pc:picChg>
        <pc:picChg chg="add mod">
          <ac:chgData name="Koksrud Andreas" userId="9d9beba6-c052-407a-8599-c781a677a996" providerId="ADAL" clId="{4CD5824D-6142-4CBD-9878-FA57E0D27293}" dt="2023-11-24T09:16:56.333" v="3024" actId="14100"/>
          <ac:picMkLst>
            <pc:docMk/>
            <pc:sldMk cId="958133851" sldId="818"/>
            <ac:picMk id="3" creationId="{59AC5083-7CE3-8A70-4A62-A13DE4A0B552}"/>
          </ac:picMkLst>
        </pc:picChg>
        <pc:picChg chg="del">
          <ac:chgData name="Koksrud Andreas" userId="9d9beba6-c052-407a-8599-c781a677a996" providerId="ADAL" clId="{4CD5824D-6142-4CBD-9878-FA57E0D27293}" dt="2023-11-24T09:16:51.089" v="3021" actId="478"/>
          <ac:picMkLst>
            <pc:docMk/>
            <pc:sldMk cId="958133851" sldId="818"/>
            <ac:picMk id="6" creationId="{7B428BF2-67D8-C9D7-A08F-88F8D960A4CB}"/>
          </ac:picMkLst>
        </pc:picChg>
      </pc:sldChg>
      <pc:sldChg chg="addSp delSp modSp add mod">
        <pc:chgData name="Koksrud Andreas" userId="9d9beba6-c052-407a-8599-c781a677a996" providerId="ADAL" clId="{4CD5824D-6142-4CBD-9878-FA57E0D27293}" dt="2023-11-24T09:17:14.726" v="3029" actId="14100"/>
        <pc:sldMkLst>
          <pc:docMk/>
          <pc:sldMk cId="3123567294" sldId="819"/>
        </pc:sldMkLst>
        <pc:picChg chg="add mod">
          <ac:chgData name="Koksrud Andreas" userId="9d9beba6-c052-407a-8599-c781a677a996" providerId="ADAL" clId="{4CD5824D-6142-4CBD-9878-FA57E0D27293}" dt="2023-11-24T09:17:14.726" v="3029" actId="14100"/>
          <ac:picMkLst>
            <pc:docMk/>
            <pc:sldMk cId="3123567294" sldId="819"/>
            <ac:picMk id="2" creationId="{31153E13-ACAC-897E-FC2F-BA0E107CD60D}"/>
          </ac:picMkLst>
        </pc:picChg>
        <pc:picChg chg="del">
          <ac:chgData name="Koksrud Andreas" userId="9d9beba6-c052-407a-8599-c781a677a996" providerId="ADAL" clId="{4CD5824D-6142-4CBD-9878-FA57E0D27293}" dt="2023-11-24T09:17:07.751" v="3026" actId="478"/>
          <ac:picMkLst>
            <pc:docMk/>
            <pc:sldMk cId="3123567294" sldId="819"/>
            <ac:picMk id="3" creationId="{59AC5083-7CE3-8A70-4A62-A13DE4A0B552}"/>
          </ac:picMkLst>
        </pc:picChg>
      </pc:sldChg>
      <pc:sldChg chg="addSp modSp add mod">
        <pc:chgData name="Koksrud Andreas" userId="9d9beba6-c052-407a-8599-c781a677a996" providerId="ADAL" clId="{4CD5824D-6142-4CBD-9878-FA57E0D27293}" dt="2023-12-03T18:52:50.391" v="4410" actId="20577"/>
        <pc:sldMkLst>
          <pc:docMk/>
          <pc:sldMk cId="2810975730" sldId="820"/>
        </pc:sldMkLst>
        <pc:spChg chg="add mod">
          <ac:chgData name="Koksrud Andreas" userId="9d9beba6-c052-407a-8599-c781a677a996" providerId="ADAL" clId="{4CD5824D-6142-4CBD-9878-FA57E0D27293}" dt="2023-12-03T18:52:50.391" v="4410" actId="20577"/>
          <ac:spMkLst>
            <pc:docMk/>
            <pc:sldMk cId="2810975730" sldId="820"/>
            <ac:spMk id="4" creationId="{7B2B45CA-95BD-2704-AA56-E8D306F64CB7}"/>
          </ac:spMkLst>
        </pc:spChg>
        <pc:spChg chg="mod">
          <ac:chgData name="Koksrud Andreas" userId="9d9beba6-c052-407a-8599-c781a677a996" providerId="ADAL" clId="{4CD5824D-6142-4CBD-9878-FA57E0D27293}" dt="2023-11-30T13:45:11.853" v="3528" actId="1076"/>
          <ac:spMkLst>
            <pc:docMk/>
            <pc:sldMk cId="2810975730" sldId="820"/>
            <ac:spMk id="180" creationId="{00000000-0000-0000-0000-000000000000}"/>
          </ac:spMkLst>
        </pc:spChg>
        <pc:spChg chg="mod">
          <ac:chgData name="Koksrud Andreas" userId="9d9beba6-c052-407a-8599-c781a677a996" providerId="ADAL" clId="{4CD5824D-6142-4CBD-9878-FA57E0D27293}" dt="2023-11-30T13:45:09.504" v="3526" actId="14100"/>
          <ac:spMkLst>
            <pc:docMk/>
            <pc:sldMk cId="2810975730" sldId="820"/>
            <ac:spMk id="181" creationId="{00000000-0000-0000-0000-000000000000}"/>
          </ac:spMkLst>
        </pc:spChg>
        <pc:picChg chg="add mod">
          <ac:chgData name="Koksrud Andreas" userId="9d9beba6-c052-407a-8599-c781a677a996" providerId="ADAL" clId="{4CD5824D-6142-4CBD-9878-FA57E0D27293}" dt="2023-11-30T13:45:05.097" v="3525" actId="1076"/>
          <ac:picMkLst>
            <pc:docMk/>
            <pc:sldMk cId="2810975730" sldId="820"/>
            <ac:picMk id="3" creationId="{A751BBF2-A833-7F1A-86CA-CA489927A5D4}"/>
          </ac:picMkLst>
        </pc:picChg>
      </pc:sldChg>
      <pc:sldChg chg="addSp modSp add mod">
        <pc:chgData name="Koksrud Andreas" userId="9d9beba6-c052-407a-8599-c781a677a996" providerId="ADAL" clId="{4CD5824D-6142-4CBD-9878-FA57E0D27293}" dt="2023-12-03T18:51:39.770" v="4397" actId="732"/>
        <pc:sldMkLst>
          <pc:docMk/>
          <pc:sldMk cId="484354108" sldId="821"/>
        </pc:sldMkLst>
        <pc:spChg chg="mod">
          <ac:chgData name="Koksrud Andreas" userId="9d9beba6-c052-407a-8599-c781a677a996" providerId="ADAL" clId="{4CD5824D-6142-4CBD-9878-FA57E0D27293}" dt="2023-11-24T11:45:18.428" v="3156" actId="20577"/>
          <ac:spMkLst>
            <pc:docMk/>
            <pc:sldMk cId="484354108" sldId="821"/>
            <ac:spMk id="180" creationId="{00000000-0000-0000-0000-000000000000}"/>
          </ac:spMkLst>
        </pc:spChg>
        <pc:spChg chg="mod">
          <ac:chgData name="Koksrud Andreas" userId="9d9beba6-c052-407a-8599-c781a677a996" providerId="ADAL" clId="{4CD5824D-6142-4CBD-9878-FA57E0D27293}" dt="2023-12-03T18:51:00.718" v="4391" actId="20577"/>
          <ac:spMkLst>
            <pc:docMk/>
            <pc:sldMk cId="484354108" sldId="821"/>
            <ac:spMk id="181" creationId="{00000000-0000-0000-0000-000000000000}"/>
          </ac:spMkLst>
        </pc:spChg>
        <pc:picChg chg="add mod">
          <ac:chgData name="Koksrud Andreas" userId="9d9beba6-c052-407a-8599-c781a677a996" providerId="ADAL" clId="{4CD5824D-6142-4CBD-9878-FA57E0D27293}" dt="2023-11-30T13:42:16.644" v="3462" actId="1076"/>
          <ac:picMkLst>
            <pc:docMk/>
            <pc:sldMk cId="484354108" sldId="821"/>
            <ac:picMk id="3" creationId="{65CA40AD-A0EA-FAE1-67D8-CB199C811159}"/>
          </ac:picMkLst>
        </pc:picChg>
        <pc:picChg chg="add mod">
          <ac:chgData name="Koksrud Andreas" userId="9d9beba6-c052-407a-8599-c781a677a996" providerId="ADAL" clId="{4CD5824D-6142-4CBD-9878-FA57E0D27293}" dt="2023-12-03T18:51:18.414" v="4393" actId="1076"/>
          <ac:picMkLst>
            <pc:docMk/>
            <pc:sldMk cId="484354108" sldId="821"/>
            <ac:picMk id="4" creationId="{8A3296C5-83CF-2328-0C34-139B65BDBFB0}"/>
          </ac:picMkLst>
        </pc:picChg>
        <pc:picChg chg="add mod modCrop">
          <ac:chgData name="Koksrud Andreas" userId="9d9beba6-c052-407a-8599-c781a677a996" providerId="ADAL" clId="{4CD5824D-6142-4CBD-9878-FA57E0D27293}" dt="2023-12-03T18:51:39.770" v="4397" actId="732"/>
          <ac:picMkLst>
            <pc:docMk/>
            <pc:sldMk cId="484354108" sldId="821"/>
            <ac:picMk id="6" creationId="{4E36782A-BF54-EB5F-71F3-58F8972C8AE6}"/>
          </ac:picMkLst>
        </pc:picChg>
      </pc:sldChg>
      <pc:sldChg chg="addSp modSp add mod">
        <pc:chgData name="Koksrud Andreas" userId="9d9beba6-c052-407a-8599-c781a677a996" providerId="ADAL" clId="{4CD5824D-6142-4CBD-9878-FA57E0D27293}" dt="2023-11-30T13:53:00.978" v="3724" actId="14100"/>
        <pc:sldMkLst>
          <pc:docMk/>
          <pc:sldMk cId="1297674930" sldId="822"/>
        </pc:sldMkLst>
        <pc:spChg chg="add mod">
          <ac:chgData name="Koksrud Andreas" userId="9d9beba6-c052-407a-8599-c781a677a996" providerId="ADAL" clId="{4CD5824D-6142-4CBD-9878-FA57E0D27293}" dt="2023-11-30T13:48:30.274" v="3605" actId="20577"/>
          <ac:spMkLst>
            <pc:docMk/>
            <pc:sldMk cId="1297674930" sldId="822"/>
            <ac:spMk id="2" creationId="{021CA0C3-964C-194D-8088-55B4655C41AF}"/>
          </ac:spMkLst>
        </pc:spChg>
        <pc:spChg chg="mod">
          <ac:chgData name="Koksrud Andreas" userId="9d9beba6-c052-407a-8599-c781a677a996" providerId="ADAL" clId="{4CD5824D-6142-4CBD-9878-FA57E0D27293}" dt="2023-11-24T11:45:41.963" v="3177" actId="20577"/>
          <ac:spMkLst>
            <pc:docMk/>
            <pc:sldMk cId="1297674930" sldId="822"/>
            <ac:spMk id="180" creationId="{00000000-0000-0000-0000-000000000000}"/>
          </ac:spMkLst>
        </pc:spChg>
        <pc:spChg chg="mod">
          <ac:chgData name="Koksrud Andreas" userId="9d9beba6-c052-407a-8599-c781a677a996" providerId="ADAL" clId="{4CD5824D-6142-4CBD-9878-FA57E0D27293}" dt="2023-11-24T11:45:37.766" v="3169" actId="6549"/>
          <ac:spMkLst>
            <pc:docMk/>
            <pc:sldMk cId="1297674930" sldId="822"/>
            <ac:spMk id="181" creationId="{00000000-0000-0000-0000-000000000000}"/>
          </ac:spMkLst>
        </pc:spChg>
        <pc:picChg chg="add mod">
          <ac:chgData name="Koksrud Andreas" userId="9d9beba6-c052-407a-8599-c781a677a996" providerId="ADAL" clId="{4CD5824D-6142-4CBD-9878-FA57E0D27293}" dt="2023-11-30T13:53:00.978" v="3724" actId="14100"/>
          <ac:picMkLst>
            <pc:docMk/>
            <pc:sldMk cId="1297674930" sldId="822"/>
            <ac:picMk id="4" creationId="{EAB86436-246B-5693-017D-2894A492E0DD}"/>
          </ac:picMkLst>
        </pc:picChg>
      </pc:sldChg>
      <pc:sldChg chg="addSp delSp modSp add mod">
        <pc:chgData name="Koksrud Andreas" userId="9d9beba6-c052-407a-8599-c781a677a996" providerId="ADAL" clId="{4CD5824D-6142-4CBD-9878-FA57E0D27293}" dt="2023-12-01T11:32:03.550" v="4162" actId="20577"/>
        <pc:sldMkLst>
          <pc:docMk/>
          <pc:sldMk cId="3521479601" sldId="823"/>
        </pc:sldMkLst>
        <pc:spChg chg="add del mod">
          <ac:chgData name="Koksrud Andreas" userId="9d9beba6-c052-407a-8599-c781a677a996" providerId="ADAL" clId="{4CD5824D-6142-4CBD-9878-FA57E0D27293}" dt="2023-12-01T11:26:26.236" v="4016" actId="478"/>
          <ac:spMkLst>
            <pc:docMk/>
            <pc:sldMk cId="3521479601" sldId="823"/>
            <ac:spMk id="2" creationId="{5EE37D2C-AA92-2006-6627-1E6BDA830499}"/>
          </ac:spMkLst>
        </pc:spChg>
        <pc:spChg chg="add del mod">
          <ac:chgData name="Koksrud Andreas" userId="9d9beba6-c052-407a-8599-c781a677a996" providerId="ADAL" clId="{4CD5824D-6142-4CBD-9878-FA57E0D27293}" dt="2023-12-01T11:26:28.539" v="4017" actId="478"/>
          <ac:spMkLst>
            <pc:docMk/>
            <pc:sldMk cId="3521479601" sldId="823"/>
            <ac:spMk id="3" creationId="{6E26EF15-1CB2-EDFE-BDF1-5E33B74D41B5}"/>
          </ac:spMkLst>
        </pc:spChg>
        <pc:spChg chg="add del mod">
          <ac:chgData name="Koksrud Andreas" userId="9d9beba6-c052-407a-8599-c781a677a996" providerId="ADAL" clId="{4CD5824D-6142-4CBD-9878-FA57E0D27293}" dt="2023-12-01T11:28:14.591" v="4021" actId="478"/>
          <ac:spMkLst>
            <pc:docMk/>
            <pc:sldMk cId="3521479601" sldId="823"/>
            <ac:spMk id="4" creationId="{0D9715D0-38F7-99B1-CFAD-80020FD4D4EA}"/>
          </ac:spMkLst>
        </pc:spChg>
        <pc:spChg chg="add mod">
          <ac:chgData name="Koksrud Andreas" userId="9d9beba6-c052-407a-8599-c781a677a996" providerId="ADAL" clId="{4CD5824D-6142-4CBD-9878-FA57E0D27293}" dt="2023-12-01T11:32:03.550" v="4162" actId="20577"/>
          <ac:spMkLst>
            <pc:docMk/>
            <pc:sldMk cId="3521479601" sldId="823"/>
            <ac:spMk id="6" creationId="{5485B025-69EF-89C1-6489-284E2DAA1110}"/>
          </ac:spMkLst>
        </pc:spChg>
        <pc:spChg chg="add del">
          <ac:chgData name="Koksrud Andreas" userId="9d9beba6-c052-407a-8599-c781a677a996" providerId="ADAL" clId="{4CD5824D-6142-4CBD-9878-FA57E0D27293}" dt="2023-12-01T11:28:26.429" v="4026" actId="478"/>
          <ac:spMkLst>
            <pc:docMk/>
            <pc:sldMk cId="3521479601" sldId="823"/>
            <ac:spMk id="8" creationId="{E2E01979-A0CB-BF65-481C-21DDEF2B2975}"/>
          </ac:spMkLst>
        </pc:spChg>
        <pc:spChg chg="add mod">
          <ac:chgData name="Koksrud Andreas" userId="9d9beba6-c052-407a-8599-c781a677a996" providerId="ADAL" clId="{4CD5824D-6142-4CBD-9878-FA57E0D27293}" dt="2023-12-01T11:30:18.021" v="4105" actId="1076"/>
          <ac:spMkLst>
            <pc:docMk/>
            <pc:sldMk cId="3521479601" sldId="823"/>
            <ac:spMk id="9" creationId="{D17A5E2E-F765-DF16-1A1D-79770F561C65}"/>
          </ac:spMkLst>
        </pc:spChg>
        <pc:spChg chg="add mod">
          <ac:chgData name="Koksrud Andreas" userId="9d9beba6-c052-407a-8599-c781a677a996" providerId="ADAL" clId="{4CD5824D-6142-4CBD-9878-FA57E0D27293}" dt="2023-12-01T11:30:38.159" v="4110"/>
          <ac:spMkLst>
            <pc:docMk/>
            <pc:sldMk cId="3521479601" sldId="823"/>
            <ac:spMk id="10" creationId="{1F1F182D-F5E4-BCD4-A522-F4CB1BE01B01}"/>
          </ac:spMkLst>
        </pc:spChg>
        <pc:spChg chg="add mod">
          <ac:chgData name="Koksrud Andreas" userId="9d9beba6-c052-407a-8599-c781a677a996" providerId="ADAL" clId="{4CD5824D-6142-4CBD-9878-FA57E0D27293}" dt="2023-12-01T11:31:50.433" v="4159" actId="20577"/>
          <ac:spMkLst>
            <pc:docMk/>
            <pc:sldMk cId="3521479601" sldId="823"/>
            <ac:spMk id="11" creationId="{EDCFD39E-BC2E-CE73-9E05-DE7F383A2EB0}"/>
          </ac:spMkLst>
        </pc:spChg>
        <pc:spChg chg="del mod">
          <ac:chgData name="Koksrud Andreas" userId="9d9beba6-c052-407a-8599-c781a677a996" providerId="ADAL" clId="{4CD5824D-6142-4CBD-9878-FA57E0D27293}" dt="2023-12-01T11:28:17.246" v="4022" actId="478"/>
          <ac:spMkLst>
            <pc:docMk/>
            <pc:sldMk cId="3521479601" sldId="823"/>
            <ac:spMk id="181" creationId="{00000000-0000-0000-0000-000000000000}"/>
          </ac:spMkLst>
        </pc:spChg>
      </pc:sldChg>
      <pc:sldChg chg="addSp modSp add mod">
        <pc:chgData name="Koksrud Andreas" userId="9d9beba6-c052-407a-8599-c781a677a996" providerId="ADAL" clId="{4CD5824D-6142-4CBD-9878-FA57E0D27293}" dt="2023-11-24T11:49:17.143" v="3308" actId="1076"/>
        <pc:sldMkLst>
          <pc:docMk/>
          <pc:sldMk cId="2832886649" sldId="824"/>
        </pc:sldMkLst>
        <pc:spChg chg="mod">
          <ac:chgData name="Koksrud Andreas" userId="9d9beba6-c052-407a-8599-c781a677a996" providerId="ADAL" clId="{4CD5824D-6142-4CBD-9878-FA57E0D27293}" dt="2023-11-24T11:48:48.595" v="3258" actId="6549"/>
          <ac:spMkLst>
            <pc:docMk/>
            <pc:sldMk cId="2832886649" sldId="824"/>
            <ac:spMk id="2" creationId="{5EE37D2C-AA92-2006-6627-1E6BDA830499}"/>
          </ac:spMkLst>
        </pc:spChg>
        <pc:spChg chg="add mod">
          <ac:chgData name="Koksrud Andreas" userId="9d9beba6-c052-407a-8599-c781a677a996" providerId="ADAL" clId="{4CD5824D-6142-4CBD-9878-FA57E0D27293}" dt="2023-11-24T11:49:17.143" v="3308" actId="1076"/>
          <ac:spMkLst>
            <pc:docMk/>
            <pc:sldMk cId="2832886649" sldId="824"/>
            <ac:spMk id="4" creationId="{F1C29DD3-88AA-BC5D-A3B0-CB7FCA7AF84F}"/>
          </ac:spMkLst>
        </pc:spChg>
        <pc:spChg chg="mod">
          <ac:chgData name="Koksrud Andreas" userId="9d9beba6-c052-407a-8599-c781a677a996" providerId="ADAL" clId="{4CD5824D-6142-4CBD-9878-FA57E0D27293}" dt="2023-11-24T11:48:03.827" v="3207" actId="20577"/>
          <ac:spMkLst>
            <pc:docMk/>
            <pc:sldMk cId="2832886649" sldId="824"/>
            <ac:spMk id="181" creationId="{00000000-0000-0000-0000-000000000000}"/>
          </ac:spMkLst>
        </pc:spChg>
      </pc:sldChg>
      <pc:sldChg chg="delSp modSp add mod">
        <pc:chgData name="Koksrud Andreas" userId="9d9beba6-c052-407a-8599-c781a677a996" providerId="ADAL" clId="{4CD5824D-6142-4CBD-9878-FA57E0D27293}" dt="2023-11-24T11:51:15.718" v="3380" actId="6549"/>
        <pc:sldMkLst>
          <pc:docMk/>
          <pc:sldMk cId="3060428227" sldId="825"/>
        </pc:sldMkLst>
        <pc:spChg chg="mod">
          <ac:chgData name="Koksrud Andreas" userId="9d9beba6-c052-407a-8599-c781a677a996" providerId="ADAL" clId="{4CD5824D-6142-4CBD-9878-FA57E0D27293}" dt="2023-11-24T11:51:15.718" v="3380" actId="6549"/>
          <ac:spMkLst>
            <pc:docMk/>
            <pc:sldMk cId="3060428227" sldId="825"/>
            <ac:spMk id="2" creationId="{5EE37D2C-AA92-2006-6627-1E6BDA830499}"/>
          </ac:spMkLst>
        </pc:spChg>
        <pc:spChg chg="del">
          <ac:chgData name="Koksrud Andreas" userId="9d9beba6-c052-407a-8599-c781a677a996" providerId="ADAL" clId="{4CD5824D-6142-4CBD-9878-FA57E0D27293}" dt="2023-11-24T11:50:54.475" v="3377" actId="478"/>
          <ac:spMkLst>
            <pc:docMk/>
            <pc:sldMk cId="3060428227" sldId="825"/>
            <ac:spMk id="4" creationId="{F1C29DD3-88AA-BC5D-A3B0-CB7FCA7AF84F}"/>
          </ac:spMkLst>
        </pc:spChg>
        <pc:spChg chg="mod">
          <ac:chgData name="Koksrud Andreas" userId="9d9beba6-c052-407a-8599-c781a677a996" providerId="ADAL" clId="{4CD5824D-6142-4CBD-9878-FA57E0D27293}" dt="2023-11-24T11:50:46.770" v="3363" actId="20577"/>
          <ac:spMkLst>
            <pc:docMk/>
            <pc:sldMk cId="3060428227" sldId="825"/>
            <ac:spMk id="180" creationId="{00000000-0000-0000-0000-000000000000}"/>
          </ac:spMkLst>
        </pc:spChg>
        <pc:spChg chg="mod">
          <ac:chgData name="Koksrud Andreas" userId="9d9beba6-c052-407a-8599-c781a677a996" providerId="ADAL" clId="{4CD5824D-6142-4CBD-9878-FA57E0D27293}" dt="2023-11-24T11:50:50.374" v="3376" actId="20577"/>
          <ac:spMkLst>
            <pc:docMk/>
            <pc:sldMk cId="3060428227" sldId="825"/>
            <ac:spMk id="181" creationId="{00000000-0000-0000-0000-000000000000}"/>
          </ac:spMkLst>
        </pc:spChg>
      </pc:sldChg>
      <pc:sldChg chg="addSp delSp modSp add mod">
        <pc:chgData name="Koksrud Andreas" userId="9d9beba6-c052-407a-8599-c781a677a996" providerId="ADAL" clId="{4CD5824D-6142-4CBD-9878-FA57E0D27293}" dt="2023-12-01T07:02:16.582" v="3977" actId="404"/>
        <pc:sldMkLst>
          <pc:docMk/>
          <pc:sldMk cId="4106763092" sldId="826"/>
        </pc:sldMkLst>
        <pc:spChg chg="mod">
          <ac:chgData name="Koksrud Andreas" userId="9d9beba6-c052-407a-8599-c781a677a996" providerId="ADAL" clId="{4CD5824D-6142-4CBD-9878-FA57E0D27293}" dt="2023-12-01T07:01:47.410" v="3973" actId="20577"/>
          <ac:spMkLst>
            <pc:docMk/>
            <pc:sldMk cId="4106763092" sldId="826"/>
            <ac:spMk id="180" creationId="{00000000-0000-0000-0000-000000000000}"/>
          </ac:spMkLst>
        </pc:spChg>
        <pc:spChg chg="mod">
          <ac:chgData name="Koksrud Andreas" userId="9d9beba6-c052-407a-8599-c781a677a996" providerId="ADAL" clId="{4CD5824D-6142-4CBD-9878-FA57E0D27293}" dt="2023-12-01T07:02:16.582" v="3977" actId="404"/>
          <ac:spMkLst>
            <pc:docMk/>
            <pc:sldMk cId="4106763092" sldId="826"/>
            <ac:spMk id="181" creationId="{00000000-0000-0000-0000-000000000000}"/>
          </ac:spMkLst>
        </pc:spChg>
        <pc:graphicFrameChg chg="add del mod">
          <ac:chgData name="Koksrud Andreas" userId="9d9beba6-c052-407a-8599-c781a677a996" providerId="ADAL" clId="{4CD5824D-6142-4CBD-9878-FA57E0D27293}" dt="2023-12-01T06:43:20.380" v="3789"/>
          <ac:graphicFrameMkLst>
            <pc:docMk/>
            <pc:sldMk cId="4106763092" sldId="826"/>
            <ac:graphicFrameMk id="3" creationId="{9FFA8492-B0F8-43D4-8AF5-048E859C5C2B}"/>
          </ac:graphicFrameMkLst>
        </pc:graphicFrameChg>
        <pc:graphicFrameChg chg="add del mod">
          <ac:chgData name="Koksrud Andreas" userId="9d9beba6-c052-407a-8599-c781a677a996" providerId="ADAL" clId="{4CD5824D-6142-4CBD-9878-FA57E0D27293}" dt="2023-12-01T06:43:23.623" v="3791"/>
          <ac:graphicFrameMkLst>
            <pc:docMk/>
            <pc:sldMk cId="4106763092" sldId="826"/>
            <ac:graphicFrameMk id="4" creationId="{082D7A95-B899-AC3F-9993-6EEC8FF7262E}"/>
          </ac:graphicFrameMkLst>
        </pc:graphicFrameChg>
        <pc:graphicFrameChg chg="add del mod">
          <ac:chgData name="Koksrud Andreas" userId="9d9beba6-c052-407a-8599-c781a677a996" providerId="ADAL" clId="{4CD5824D-6142-4CBD-9878-FA57E0D27293}" dt="2023-12-01T06:44:13.078" v="3809" actId="478"/>
          <ac:graphicFrameMkLst>
            <pc:docMk/>
            <pc:sldMk cId="4106763092" sldId="826"/>
            <ac:graphicFrameMk id="5" creationId="{C75D17E9-3F95-3FA9-2C47-9667D4754269}"/>
          </ac:graphicFrameMkLst>
        </pc:graphicFrameChg>
        <pc:picChg chg="del">
          <ac:chgData name="Koksrud Andreas" userId="9d9beba6-c052-407a-8599-c781a677a996" providerId="ADAL" clId="{4CD5824D-6142-4CBD-9878-FA57E0D27293}" dt="2023-12-01T06:42:07.985" v="3730" actId="478"/>
          <ac:picMkLst>
            <pc:docMk/>
            <pc:sldMk cId="4106763092" sldId="826"/>
            <ac:picMk id="2" creationId="{31153E13-ACAC-897E-FC2F-BA0E107CD60D}"/>
          </ac:picMkLst>
        </pc:picChg>
      </pc:sldChg>
      <pc:sldChg chg="addSp delSp modSp add mod">
        <pc:chgData name="Koksrud Andreas" userId="9d9beba6-c052-407a-8599-c781a677a996" providerId="ADAL" clId="{4CD5824D-6142-4CBD-9878-FA57E0D27293}" dt="2023-12-01T07:03:40.504" v="4012" actId="20577"/>
        <pc:sldMkLst>
          <pc:docMk/>
          <pc:sldMk cId="3993021773" sldId="827"/>
        </pc:sldMkLst>
        <pc:spChg chg="add del mod">
          <ac:chgData name="Koksrud Andreas" userId="9d9beba6-c052-407a-8599-c781a677a996" providerId="ADAL" clId="{4CD5824D-6142-4CBD-9878-FA57E0D27293}" dt="2023-12-01T07:02:33.824" v="3979" actId="478"/>
          <ac:spMkLst>
            <pc:docMk/>
            <pc:sldMk cId="3993021773" sldId="827"/>
            <ac:spMk id="4" creationId="{6DDCDEAC-0828-32BB-E7D2-57A0C609CE9D}"/>
          </ac:spMkLst>
        </pc:spChg>
        <pc:spChg chg="mod">
          <ac:chgData name="Koksrud Andreas" userId="9d9beba6-c052-407a-8599-c781a677a996" providerId="ADAL" clId="{4CD5824D-6142-4CBD-9878-FA57E0D27293}" dt="2023-12-01T07:03:40.504" v="4012" actId="20577"/>
          <ac:spMkLst>
            <pc:docMk/>
            <pc:sldMk cId="3993021773" sldId="827"/>
            <ac:spMk id="180" creationId="{00000000-0000-0000-0000-000000000000}"/>
          </ac:spMkLst>
        </pc:spChg>
        <pc:spChg chg="del">
          <ac:chgData name="Koksrud Andreas" userId="9d9beba6-c052-407a-8599-c781a677a996" providerId="ADAL" clId="{4CD5824D-6142-4CBD-9878-FA57E0D27293}" dt="2023-12-01T07:02:29.859" v="3978" actId="478"/>
          <ac:spMkLst>
            <pc:docMk/>
            <pc:sldMk cId="3993021773" sldId="827"/>
            <ac:spMk id="181" creationId="{00000000-0000-0000-0000-000000000000}"/>
          </ac:spMkLst>
        </pc:spChg>
        <pc:picChg chg="del">
          <ac:chgData name="Koksrud Andreas" userId="9d9beba6-c052-407a-8599-c781a677a996" providerId="ADAL" clId="{4CD5824D-6142-4CBD-9878-FA57E0D27293}" dt="2023-12-01T07:02:34.454" v="3980" actId="478"/>
          <ac:picMkLst>
            <pc:docMk/>
            <pc:sldMk cId="3993021773" sldId="827"/>
            <ac:picMk id="3" creationId="{77764897-3F1A-B171-E2D8-7357AC30BADC}"/>
          </ac:picMkLst>
        </pc:picChg>
      </pc:sldChg>
      <pc:sldChg chg="add">
        <pc:chgData name="Koksrud Andreas" userId="9d9beba6-c052-407a-8599-c781a677a996" providerId="ADAL" clId="{4CD5824D-6142-4CBD-9878-FA57E0D27293}" dt="2023-12-01T11:25:40.359" v="4013" actId="2890"/>
        <pc:sldMkLst>
          <pc:docMk/>
          <pc:sldMk cId="4152257816" sldId="828"/>
        </pc:sldMkLst>
      </pc:sldChg>
      <pc:sldChg chg="addSp delSp modSp add mod">
        <pc:chgData name="Koksrud Andreas" userId="9d9beba6-c052-407a-8599-c781a677a996" providerId="ADAL" clId="{4CD5824D-6142-4CBD-9878-FA57E0D27293}" dt="2023-12-03T18:52:14.805" v="4400" actId="1076"/>
        <pc:sldMkLst>
          <pc:docMk/>
          <pc:sldMk cId="1118305278" sldId="829"/>
        </pc:sldMkLst>
        <pc:spChg chg="mod">
          <ac:chgData name="Koksrud Andreas" userId="9d9beba6-c052-407a-8599-c781a677a996" providerId="ADAL" clId="{4CD5824D-6142-4CBD-9878-FA57E0D27293}" dt="2023-12-03T18:49:26.474" v="4363" actId="20577"/>
          <ac:spMkLst>
            <pc:docMk/>
            <pc:sldMk cId="1118305278" sldId="829"/>
            <ac:spMk id="2" creationId="{021CA0C3-964C-194D-8088-55B4655C41AF}"/>
          </ac:spMkLst>
        </pc:spChg>
        <pc:picChg chg="del">
          <ac:chgData name="Koksrud Andreas" userId="9d9beba6-c052-407a-8599-c781a677a996" providerId="ADAL" clId="{4CD5824D-6142-4CBD-9878-FA57E0D27293}" dt="2023-12-03T18:49:02.831" v="4288" actId="478"/>
          <ac:picMkLst>
            <pc:docMk/>
            <pc:sldMk cId="1118305278" sldId="829"/>
            <ac:picMk id="4" creationId="{EAB86436-246B-5693-017D-2894A492E0DD}"/>
          </ac:picMkLst>
        </pc:picChg>
        <pc:picChg chg="add mod modCrop">
          <ac:chgData name="Koksrud Andreas" userId="9d9beba6-c052-407a-8599-c781a677a996" providerId="ADAL" clId="{4CD5824D-6142-4CBD-9878-FA57E0D27293}" dt="2023-12-03T18:52:14.805" v="4400" actId="1076"/>
          <ac:picMkLst>
            <pc:docMk/>
            <pc:sldMk cId="1118305278" sldId="829"/>
            <ac:picMk id="5" creationId="{43336349-78A5-A952-DB7D-358AD9EB5B2C}"/>
          </ac:picMkLst>
        </pc:picChg>
        <pc:picChg chg="add mod">
          <ac:chgData name="Koksrud Andreas" userId="9d9beba6-c052-407a-8599-c781a677a996" providerId="ADAL" clId="{4CD5824D-6142-4CBD-9878-FA57E0D27293}" dt="2023-12-03T18:52:14.805" v="4400" actId="1076"/>
          <ac:picMkLst>
            <pc:docMk/>
            <pc:sldMk cId="1118305278" sldId="829"/>
            <ac:picMk id="7" creationId="{C0331D1C-3593-F42B-229C-96B072208F67}"/>
          </ac:picMkLst>
        </pc:picChg>
        <pc:picChg chg="add mod">
          <ac:chgData name="Koksrud Andreas" userId="9d9beba6-c052-407a-8599-c781a677a996" providerId="ADAL" clId="{4CD5824D-6142-4CBD-9878-FA57E0D27293}" dt="2023-12-03T18:52:14.805" v="4400" actId="1076"/>
          <ac:picMkLst>
            <pc:docMk/>
            <pc:sldMk cId="1118305278" sldId="829"/>
            <ac:picMk id="9" creationId="{27FAC38C-7512-069D-9DB9-BAC8F87C1559}"/>
          </ac:picMkLst>
        </pc:picChg>
      </pc:sldChg>
      <pc:sldChg chg="addSp delSp modSp add mod">
        <pc:chgData name="Koksrud Andreas" userId="9d9beba6-c052-407a-8599-c781a677a996" providerId="ADAL" clId="{4CD5824D-6142-4CBD-9878-FA57E0D27293}" dt="2023-12-03T19:04:08.867" v="4695" actId="1076"/>
        <pc:sldMkLst>
          <pc:docMk/>
          <pc:sldMk cId="1212745208" sldId="830"/>
        </pc:sldMkLst>
        <pc:spChg chg="mod">
          <ac:chgData name="Koksrud Andreas" userId="9d9beba6-c052-407a-8599-c781a677a996" providerId="ADAL" clId="{4CD5824D-6142-4CBD-9878-FA57E0D27293}" dt="2023-12-03T19:03:59.422" v="4692" actId="20577"/>
          <ac:spMkLst>
            <pc:docMk/>
            <pc:sldMk cId="1212745208" sldId="830"/>
            <ac:spMk id="181" creationId="{00000000-0000-0000-0000-000000000000}"/>
          </ac:spMkLst>
        </pc:spChg>
        <pc:picChg chg="del">
          <ac:chgData name="Koksrud Andreas" userId="9d9beba6-c052-407a-8599-c781a677a996" providerId="ADAL" clId="{4CD5824D-6142-4CBD-9878-FA57E0D27293}" dt="2023-12-03T19:02:22.200" v="4565" actId="478"/>
          <ac:picMkLst>
            <pc:docMk/>
            <pc:sldMk cId="1212745208" sldId="830"/>
            <ac:picMk id="3" creationId="{CBFEFB0B-3282-7AC0-21B6-52CE33617628}"/>
          </ac:picMkLst>
        </pc:picChg>
        <pc:picChg chg="add mod">
          <ac:chgData name="Koksrud Andreas" userId="9d9beba6-c052-407a-8599-c781a677a996" providerId="ADAL" clId="{4CD5824D-6142-4CBD-9878-FA57E0D27293}" dt="2023-12-03T19:04:08.867" v="4695" actId="1076"/>
          <ac:picMkLst>
            <pc:docMk/>
            <pc:sldMk cId="1212745208" sldId="830"/>
            <ac:picMk id="4" creationId="{2732A197-6670-00B1-998C-BB6A421E922F}"/>
          </ac:picMkLst>
        </pc:picChg>
        <pc:picChg chg="del">
          <ac:chgData name="Koksrud Andreas" userId="9d9beba6-c052-407a-8599-c781a677a996" providerId="ADAL" clId="{4CD5824D-6142-4CBD-9878-FA57E0D27293}" dt="2023-12-03T19:02:22.675" v="4566" actId="478"/>
          <ac:picMkLst>
            <pc:docMk/>
            <pc:sldMk cId="1212745208" sldId="830"/>
            <ac:picMk id="5" creationId="{23572AA6-9B29-275E-AB67-74C799BC3C20}"/>
          </ac:picMkLst>
        </pc:picChg>
        <pc:picChg chg="del">
          <ac:chgData name="Koksrud Andreas" userId="9d9beba6-c052-407a-8599-c781a677a996" providerId="ADAL" clId="{4CD5824D-6142-4CBD-9878-FA57E0D27293}" dt="2023-12-03T19:02:24.167" v="4568" actId="478"/>
          <ac:picMkLst>
            <pc:docMk/>
            <pc:sldMk cId="1212745208" sldId="830"/>
            <ac:picMk id="11" creationId="{FA3AA484-9678-282F-FA0F-53789CE5C7E0}"/>
          </ac:picMkLst>
        </pc:picChg>
        <pc:picChg chg="del">
          <ac:chgData name="Koksrud Andreas" userId="9d9beba6-c052-407a-8599-c781a677a996" providerId="ADAL" clId="{4CD5824D-6142-4CBD-9878-FA57E0D27293}" dt="2023-12-03T19:02:24.603" v="4569" actId="478"/>
          <ac:picMkLst>
            <pc:docMk/>
            <pc:sldMk cId="1212745208" sldId="830"/>
            <ac:picMk id="13" creationId="{C7A6110E-5CF7-BBCF-6830-61081EFA2E77}"/>
          </ac:picMkLst>
        </pc:picChg>
        <pc:cxnChg chg="del mod">
          <ac:chgData name="Koksrud Andreas" userId="9d9beba6-c052-407a-8599-c781a677a996" providerId="ADAL" clId="{4CD5824D-6142-4CBD-9878-FA57E0D27293}" dt="2023-12-03T19:02:23.682" v="4567" actId="478"/>
          <ac:cxnSpMkLst>
            <pc:docMk/>
            <pc:sldMk cId="1212745208" sldId="830"/>
            <ac:cxnSpMk id="8" creationId="{61E4DBE9-0D5F-FCD9-C745-13AB35479943}"/>
          </ac:cxnSpMkLst>
        </pc:cxnChg>
        <pc:cxnChg chg="del mod">
          <ac:chgData name="Koksrud Andreas" userId="9d9beba6-c052-407a-8599-c781a677a996" providerId="ADAL" clId="{4CD5824D-6142-4CBD-9878-FA57E0D27293}" dt="2023-12-03T19:02:25.296" v="4570" actId="478"/>
          <ac:cxnSpMkLst>
            <pc:docMk/>
            <pc:sldMk cId="1212745208" sldId="830"/>
            <ac:cxnSpMk id="14" creationId="{5E62564F-5B58-6220-DA9D-75A1C5F55029}"/>
          </ac:cxnSpMkLst>
        </pc:cxnChg>
      </pc:sldChg>
    </pc:docChg>
  </pc:docChgLst>
  <pc:docChgLst>
    <pc:chgData name="Kjetil Teigen Hansen (KTH)" userId="b00e1467-cd04-4012-9851-f763aaf02a55" providerId="ADAL" clId="{09BFAEE2-E7C9-4168-AE26-A9F556EF7F84}"/>
    <pc:docChg chg="undo custSel addSld delSld modSld sldOrd modSection">
      <pc:chgData name="Kjetil Teigen Hansen (KTH)" userId="b00e1467-cd04-4012-9851-f763aaf02a55" providerId="ADAL" clId="{09BFAEE2-E7C9-4168-AE26-A9F556EF7F84}" dt="2024-09-07T15:00:41.531" v="2190" actId="1076"/>
      <pc:docMkLst>
        <pc:docMk/>
      </pc:docMkLst>
      <pc:sldChg chg="modSp mod">
        <pc:chgData name="Kjetil Teigen Hansen (KTH)" userId="b00e1467-cd04-4012-9851-f763aaf02a55" providerId="ADAL" clId="{09BFAEE2-E7C9-4168-AE26-A9F556EF7F84}" dt="2024-09-07T12:56:26.909" v="210" actId="14100"/>
        <pc:sldMkLst>
          <pc:docMk/>
          <pc:sldMk cId="1498060418" sldId="802"/>
        </pc:sldMkLst>
        <pc:picChg chg="mod">
          <ac:chgData name="Kjetil Teigen Hansen (KTH)" userId="b00e1467-cd04-4012-9851-f763aaf02a55" providerId="ADAL" clId="{09BFAEE2-E7C9-4168-AE26-A9F556EF7F84}" dt="2024-09-07T12:56:21.645" v="208" actId="1037"/>
          <ac:picMkLst>
            <pc:docMk/>
            <pc:sldMk cId="1498060418" sldId="802"/>
            <ac:picMk id="6" creationId="{EB6D5713-AC60-66C6-2F1A-890B4E122AF4}"/>
          </ac:picMkLst>
        </pc:picChg>
        <pc:cxnChg chg="mod">
          <ac:chgData name="Kjetil Teigen Hansen (KTH)" userId="b00e1467-cd04-4012-9851-f763aaf02a55" providerId="ADAL" clId="{09BFAEE2-E7C9-4168-AE26-A9F556EF7F84}" dt="2024-09-07T12:56:26.909" v="210" actId="14100"/>
          <ac:cxnSpMkLst>
            <pc:docMk/>
            <pc:sldMk cId="1498060418" sldId="802"/>
            <ac:cxnSpMk id="7" creationId="{E1928BFB-61B9-F15E-F17F-D6027658DDFB}"/>
          </ac:cxnSpMkLst>
        </pc:cxnChg>
      </pc:sldChg>
      <pc:sldChg chg="addSp delSp modSp mod">
        <pc:chgData name="Kjetil Teigen Hansen (KTH)" userId="b00e1467-cd04-4012-9851-f763aaf02a55" providerId="ADAL" clId="{09BFAEE2-E7C9-4168-AE26-A9F556EF7F84}" dt="2024-09-07T14:09:45.844" v="2184" actId="14100"/>
        <pc:sldMkLst>
          <pc:docMk/>
          <pc:sldMk cId="1640846257" sldId="936"/>
        </pc:sldMkLst>
        <pc:spChg chg="add mod">
          <ac:chgData name="Kjetil Teigen Hansen (KTH)" userId="b00e1467-cd04-4012-9851-f763aaf02a55" providerId="ADAL" clId="{09BFAEE2-E7C9-4168-AE26-A9F556EF7F84}" dt="2024-09-07T14:09:42.801" v="2183" actId="1036"/>
          <ac:spMkLst>
            <pc:docMk/>
            <pc:sldMk cId="1640846257" sldId="936"/>
            <ac:spMk id="17" creationId="{002EE65A-6E1F-1E14-FBAE-C1BA20630C8B}"/>
          </ac:spMkLst>
        </pc:spChg>
        <pc:spChg chg="mod">
          <ac:chgData name="Kjetil Teigen Hansen (KTH)" userId="b00e1467-cd04-4012-9851-f763aaf02a55" providerId="ADAL" clId="{09BFAEE2-E7C9-4168-AE26-A9F556EF7F84}" dt="2024-09-07T13:02:05.806" v="445" actId="20577"/>
          <ac:spMkLst>
            <pc:docMk/>
            <pc:sldMk cId="1640846257" sldId="936"/>
            <ac:spMk id="181" creationId="{00000000-0000-0000-0000-000000000000}"/>
          </ac:spMkLst>
        </pc:spChg>
        <pc:picChg chg="add mod">
          <ac:chgData name="Kjetil Teigen Hansen (KTH)" userId="b00e1467-cd04-4012-9851-f763aaf02a55" providerId="ADAL" clId="{09BFAEE2-E7C9-4168-AE26-A9F556EF7F84}" dt="2024-09-07T13:01:54.763" v="440" actId="1076"/>
          <ac:picMkLst>
            <pc:docMk/>
            <pc:sldMk cId="1640846257" sldId="936"/>
            <ac:picMk id="5" creationId="{A3FD7BF0-B84D-0402-A8D6-36A2E75BCFA4}"/>
          </ac:picMkLst>
        </pc:picChg>
        <pc:picChg chg="del">
          <ac:chgData name="Kjetil Teigen Hansen (KTH)" userId="b00e1467-cd04-4012-9851-f763aaf02a55" providerId="ADAL" clId="{09BFAEE2-E7C9-4168-AE26-A9F556EF7F84}" dt="2024-09-07T13:01:51.833" v="438" actId="478"/>
          <ac:picMkLst>
            <pc:docMk/>
            <pc:sldMk cId="1640846257" sldId="936"/>
            <ac:picMk id="6" creationId="{BC450330-514F-F462-04E6-C7D841DB2A25}"/>
          </ac:picMkLst>
        </pc:picChg>
        <pc:picChg chg="mod">
          <ac:chgData name="Kjetil Teigen Hansen (KTH)" userId="b00e1467-cd04-4012-9851-f763aaf02a55" providerId="ADAL" clId="{09BFAEE2-E7C9-4168-AE26-A9F556EF7F84}" dt="2024-09-07T14:09:34.444" v="2180" actId="14100"/>
          <ac:picMkLst>
            <pc:docMk/>
            <pc:sldMk cId="1640846257" sldId="936"/>
            <ac:picMk id="9" creationId="{2AFB3CF7-8CC8-AEDE-D932-089CAF503990}"/>
          </ac:picMkLst>
        </pc:picChg>
        <pc:picChg chg="del">
          <ac:chgData name="Kjetil Teigen Hansen (KTH)" userId="b00e1467-cd04-4012-9851-f763aaf02a55" providerId="ADAL" clId="{09BFAEE2-E7C9-4168-AE26-A9F556EF7F84}" dt="2024-09-07T13:02:56.728" v="446" actId="478"/>
          <ac:picMkLst>
            <pc:docMk/>
            <pc:sldMk cId="1640846257" sldId="936"/>
            <ac:picMk id="11" creationId="{C1AF9F05-2EFF-B3BF-7128-EA38360B571F}"/>
          </ac:picMkLst>
        </pc:picChg>
        <pc:picChg chg="add mod">
          <ac:chgData name="Kjetil Teigen Hansen (KTH)" userId="b00e1467-cd04-4012-9851-f763aaf02a55" providerId="ADAL" clId="{09BFAEE2-E7C9-4168-AE26-A9F556EF7F84}" dt="2024-09-07T14:09:40.039" v="2181" actId="14100"/>
          <ac:picMkLst>
            <pc:docMk/>
            <pc:sldMk cId="1640846257" sldId="936"/>
            <ac:picMk id="12" creationId="{E518E512-C972-447A-8D36-BBFE0F0DAA34}"/>
          </ac:picMkLst>
        </pc:picChg>
        <pc:picChg chg="add del mod">
          <ac:chgData name="Kjetil Teigen Hansen (KTH)" userId="b00e1467-cd04-4012-9851-f763aaf02a55" providerId="ADAL" clId="{09BFAEE2-E7C9-4168-AE26-A9F556EF7F84}" dt="2024-09-07T13:03:18.615" v="454" actId="478"/>
          <ac:picMkLst>
            <pc:docMk/>
            <pc:sldMk cId="1640846257" sldId="936"/>
            <ac:picMk id="15" creationId="{7AFC16A8-981B-4162-C915-ABB55A2B9543}"/>
          </ac:picMkLst>
        </pc:picChg>
        <pc:cxnChg chg="ord">
          <ac:chgData name="Kjetil Teigen Hansen (KTH)" userId="b00e1467-cd04-4012-9851-f763aaf02a55" providerId="ADAL" clId="{09BFAEE2-E7C9-4168-AE26-A9F556EF7F84}" dt="2024-09-07T13:01:58.227" v="441" actId="166"/>
          <ac:cxnSpMkLst>
            <pc:docMk/>
            <pc:sldMk cId="1640846257" sldId="936"/>
            <ac:cxnSpMk id="14" creationId="{23AE2A3D-3022-521B-4F31-CCB3AE6149F6}"/>
          </ac:cxnSpMkLst>
        </pc:cxnChg>
        <pc:cxnChg chg="mod ord">
          <ac:chgData name="Kjetil Teigen Hansen (KTH)" userId="b00e1467-cd04-4012-9851-f763aaf02a55" providerId="ADAL" clId="{09BFAEE2-E7C9-4168-AE26-A9F556EF7F84}" dt="2024-09-07T14:09:45.844" v="2184" actId="14100"/>
          <ac:cxnSpMkLst>
            <pc:docMk/>
            <pc:sldMk cId="1640846257" sldId="936"/>
            <ac:cxnSpMk id="16" creationId="{3C3E1AA4-B871-99E2-3422-ABAD3E1D23AB}"/>
          </ac:cxnSpMkLst>
        </pc:cxnChg>
      </pc:sldChg>
      <pc:sldChg chg="addSp delSp modSp mod">
        <pc:chgData name="Kjetil Teigen Hansen (KTH)" userId="b00e1467-cd04-4012-9851-f763aaf02a55" providerId="ADAL" clId="{09BFAEE2-E7C9-4168-AE26-A9F556EF7F84}" dt="2024-09-07T12:55:28.396" v="148" actId="14100"/>
        <pc:sldMkLst>
          <pc:docMk/>
          <pc:sldMk cId="3288778496" sldId="1022"/>
        </pc:sldMkLst>
        <pc:spChg chg="del">
          <ac:chgData name="Kjetil Teigen Hansen (KTH)" userId="b00e1467-cd04-4012-9851-f763aaf02a55" providerId="ADAL" clId="{09BFAEE2-E7C9-4168-AE26-A9F556EF7F84}" dt="2024-09-07T12:51:06.228" v="32" actId="478"/>
          <ac:spMkLst>
            <pc:docMk/>
            <pc:sldMk cId="3288778496" sldId="1022"/>
            <ac:spMk id="3" creationId="{B860BB34-8F3D-E018-DF83-141BC4234A11}"/>
          </ac:spMkLst>
        </pc:spChg>
        <pc:spChg chg="add mod">
          <ac:chgData name="Kjetil Teigen Hansen (KTH)" userId="b00e1467-cd04-4012-9851-f763aaf02a55" providerId="ADAL" clId="{09BFAEE2-E7C9-4168-AE26-A9F556EF7F84}" dt="2024-09-07T12:52:16.869" v="56" actId="1076"/>
          <ac:spMkLst>
            <pc:docMk/>
            <pc:sldMk cId="3288778496" sldId="1022"/>
            <ac:spMk id="8" creationId="{1332ADAB-347F-B30A-F36B-957ADACDE929}"/>
          </ac:spMkLst>
        </pc:spChg>
        <pc:spChg chg="add del mod">
          <ac:chgData name="Kjetil Teigen Hansen (KTH)" userId="b00e1467-cd04-4012-9851-f763aaf02a55" providerId="ADAL" clId="{09BFAEE2-E7C9-4168-AE26-A9F556EF7F84}" dt="2024-09-07T12:55:12.826" v="141" actId="1076"/>
          <ac:spMkLst>
            <pc:docMk/>
            <pc:sldMk cId="3288778496" sldId="1022"/>
            <ac:spMk id="9" creationId="{1332ADAB-347F-B30A-F36B-957ADACDE929}"/>
          </ac:spMkLst>
        </pc:spChg>
        <pc:spChg chg="add del mod">
          <ac:chgData name="Kjetil Teigen Hansen (KTH)" userId="b00e1467-cd04-4012-9851-f763aaf02a55" providerId="ADAL" clId="{09BFAEE2-E7C9-4168-AE26-A9F556EF7F84}" dt="2024-09-07T12:55:13.128" v="143"/>
          <ac:spMkLst>
            <pc:docMk/>
            <pc:sldMk cId="3288778496" sldId="1022"/>
            <ac:spMk id="15" creationId="{747DAAB1-F1E9-424E-D9AE-D30775FA2B2B}"/>
          </ac:spMkLst>
        </pc:spChg>
        <pc:spChg chg="add mod">
          <ac:chgData name="Kjetil Teigen Hansen (KTH)" userId="b00e1467-cd04-4012-9851-f763aaf02a55" providerId="ADAL" clId="{09BFAEE2-E7C9-4168-AE26-A9F556EF7F84}" dt="2024-09-07T12:52:16.869" v="56" actId="1076"/>
          <ac:spMkLst>
            <pc:docMk/>
            <pc:sldMk cId="3288778496" sldId="1022"/>
            <ac:spMk id="16" creationId="{747DAAB1-F1E9-424E-D9AE-D30775FA2B2B}"/>
          </ac:spMkLst>
        </pc:spChg>
        <pc:spChg chg="add mod">
          <ac:chgData name="Kjetil Teigen Hansen (KTH)" userId="b00e1467-cd04-4012-9851-f763aaf02a55" providerId="ADAL" clId="{09BFAEE2-E7C9-4168-AE26-A9F556EF7F84}" dt="2024-09-07T12:52:16.869" v="56" actId="1076"/>
          <ac:spMkLst>
            <pc:docMk/>
            <pc:sldMk cId="3288778496" sldId="1022"/>
            <ac:spMk id="17" creationId="{4119A563-2F37-7403-6BAD-F26AB7CE80F4}"/>
          </ac:spMkLst>
        </pc:spChg>
        <pc:spChg chg="add del mod">
          <ac:chgData name="Kjetil Teigen Hansen (KTH)" userId="b00e1467-cd04-4012-9851-f763aaf02a55" providerId="ADAL" clId="{09BFAEE2-E7C9-4168-AE26-A9F556EF7F84}" dt="2024-09-07T12:53:14.523" v="72" actId="1076"/>
          <ac:spMkLst>
            <pc:docMk/>
            <pc:sldMk cId="3288778496" sldId="1022"/>
            <ac:spMk id="21" creationId="{4119A563-2F37-7403-6BAD-F26AB7CE80F4}"/>
          </ac:spMkLst>
        </pc:spChg>
        <pc:spChg chg="add mod">
          <ac:chgData name="Kjetil Teigen Hansen (KTH)" userId="b00e1467-cd04-4012-9851-f763aaf02a55" providerId="ADAL" clId="{09BFAEE2-E7C9-4168-AE26-A9F556EF7F84}" dt="2024-09-07T12:54:40.988" v="99" actId="14100"/>
          <ac:spMkLst>
            <pc:docMk/>
            <pc:sldMk cId="3288778496" sldId="1022"/>
            <ac:spMk id="28" creationId="{F6042EF3-CC54-C56D-9C9E-FD8D5228330F}"/>
          </ac:spMkLst>
        </pc:spChg>
        <pc:spChg chg="add mod">
          <ac:chgData name="Kjetil Teigen Hansen (KTH)" userId="b00e1467-cd04-4012-9851-f763aaf02a55" providerId="ADAL" clId="{09BFAEE2-E7C9-4168-AE26-A9F556EF7F84}" dt="2024-09-07T12:54:47.972" v="102" actId="14100"/>
          <ac:spMkLst>
            <pc:docMk/>
            <pc:sldMk cId="3288778496" sldId="1022"/>
            <ac:spMk id="29" creationId="{D65E75EA-C218-E07A-81DB-3AB2D37DFECE}"/>
          </ac:spMkLst>
        </pc:spChg>
        <pc:spChg chg="add mod">
          <ac:chgData name="Kjetil Teigen Hansen (KTH)" userId="b00e1467-cd04-4012-9851-f763aaf02a55" providerId="ADAL" clId="{09BFAEE2-E7C9-4168-AE26-A9F556EF7F84}" dt="2024-09-07T12:55:28.396" v="148" actId="14100"/>
          <ac:spMkLst>
            <pc:docMk/>
            <pc:sldMk cId="3288778496" sldId="1022"/>
            <ac:spMk id="30" creationId="{301FD885-7C46-F7EF-1A00-E2CED3E7B119}"/>
          </ac:spMkLst>
        </pc:spChg>
        <pc:picChg chg="add del mod">
          <ac:chgData name="Kjetil Teigen Hansen (KTH)" userId="b00e1467-cd04-4012-9851-f763aaf02a55" providerId="ADAL" clId="{09BFAEE2-E7C9-4168-AE26-A9F556EF7F84}" dt="2024-09-07T12:53:25.421" v="78" actId="1076"/>
          <ac:picMkLst>
            <pc:docMk/>
            <pc:sldMk cId="3288778496" sldId="1022"/>
            <ac:picMk id="6" creationId="{CC73AC75-19E6-0AF9-0F10-B690BC285BB3}"/>
          </ac:picMkLst>
        </pc:picChg>
        <pc:picChg chg="add del mod">
          <ac:chgData name="Kjetil Teigen Hansen (KTH)" userId="b00e1467-cd04-4012-9851-f763aaf02a55" providerId="ADAL" clId="{09BFAEE2-E7C9-4168-AE26-A9F556EF7F84}" dt="2024-09-07T12:52:26.168" v="60" actId="478"/>
          <ac:picMkLst>
            <pc:docMk/>
            <pc:sldMk cId="3288778496" sldId="1022"/>
            <ac:picMk id="7" creationId="{FEB13542-64D7-F809-5F56-4A520625AAE6}"/>
          </ac:picMkLst>
        </pc:picChg>
        <pc:picChg chg="add del mod">
          <ac:chgData name="Kjetil Teigen Hansen (KTH)" userId="b00e1467-cd04-4012-9851-f763aaf02a55" providerId="ADAL" clId="{09BFAEE2-E7C9-4168-AE26-A9F556EF7F84}" dt="2024-09-07T12:53:54.755" v="83" actId="478"/>
          <ac:picMkLst>
            <pc:docMk/>
            <pc:sldMk cId="3288778496" sldId="1022"/>
            <ac:picMk id="10" creationId="{43AEA5ED-03B0-7195-45A5-1FCFCF9865EC}"/>
          </ac:picMkLst>
        </pc:picChg>
        <pc:picChg chg="add mod">
          <ac:chgData name="Kjetil Teigen Hansen (KTH)" userId="b00e1467-cd04-4012-9851-f763aaf02a55" providerId="ADAL" clId="{09BFAEE2-E7C9-4168-AE26-A9F556EF7F84}" dt="2024-09-07T12:52:16.869" v="56" actId="1076"/>
          <ac:picMkLst>
            <pc:docMk/>
            <pc:sldMk cId="3288778496" sldId="1022"/>
            <ac:picMk id="11" creationId="{CC73AC75-19E6-0AF9-0F10-B690BC285BB3}"/>
          </ac:picMkLst>
        </pc:picChg>
        <pc:picChg chg="add mod">
          <ac:chgData name="Kjetil Teigen Hansen (KTH)" userId="b00e1467-cd04-4012-9851-f763aaf02a55" providerId="ADAL" clId="{09BFAEE2-E7C9-4168-AE26-A9F556EF7F84}" dt="2024-09-07T12:52:16.869" v="56" actId="1076"/>
          <ac:picMkLst>
            <pc:docMk/>
            <pc:sldMk cId="3288778496" sldId="1022"/>
            <ac:picMk id="12" creationId="{43AEA5ED-03B0-7195-45A5-1FCFCF9865EC}"/>
          </ac:picMkLst>
        </pc:picChg>
        <pc:picChg chg="add mod">
          <ac:chgData name="Kjetil Teigen Hansen (KTH)" userId="b00e1467-cd04-4012-9851-f763aaf02a55" providerId="ADAL" clId="{09BFAEE2-E7C9-4168-AE26-A9F556EF7F84}" dt="2024-09-07T12:52:16.869" v="56" actId="1076"/>
          <ac:picMkLst>
            <pc:docMk/>
            <pc:sldMk cId="3288778496" sldId="1022"/>
            <ac:picMk id="13" creationId="{9CDE1F3A-8C79-CEB4-BD85-D3F824F94AE5}"/>
          </ac:picMkLst>
        </pc:picChg>
        <pc:picChg chg="add del mod">
          <ac:chgData name="Kjetil Teigen Hansen (KTH)" userId="b00e1467-cd04-4012-9851-f763aaf02a55" providerId="ADAL" clId="{09BFAEE2-E7C9-4168-AE26-A9F556EF7F84}" dt="2024-09-07T12:54:03.987" v="87" actId="478"/>
          <ac:picMkLst>
            <pc:docMk/>
            <pc:sldMk cId="3288778496" sldId="1022"/>
            <ac:picMk id="14" creationId="{9CDE1F3A-8C79-CEB4-BD85-D3F824F94AE5}"/>
          </ac:picMkLst>
        </pc:picChg>
        <pc:picChg chg="add mod">
          <ac:chgData name="Kjetil Teigen Hansen (KTH)" userId="b00e1467-cd04-4012-9851-f763aaf02a55" providerId="ADAL" clId="{09BFAEE2-E7C9-4168-AE26-A9F556EF7F84}" dt="2024-09-07T12:53:23.268" v="77" actId="14100"/>
          <ac:picMkLst>
            <pc:docMk/>
            <pc:sldMk cId="3288778496" sldId="1022"/>
            <ac:picMk id="19" creationId="{ADAC3E7A-E404-A5AF-6317-214222514CBA}"/>
          </ac:picMkLst>
        </pc:picChg>
        <pc:picChg chg="add mod">
          <ac:chgData name="Kjetil Teigen Hansen (KTH)" userId="b00e1467-cd04-4012-9851-f763aaf02a55" providerId="ADAL" clId="{09BFAEE2-E7C9-4168-AE26-A9F556EF7F84}" dt="2024-09-07T12:54:10.989" v="90" actId="1076"/>
          <ac:picMkLst>
            <pc:docMk/>
            <pc:sldMk cId="3288778496" sldId="1022"/>
            <ac:picMk id="22" creationId="{6F5328CE-1593-4FB6-8890-A968B90807BC}"/>
          </ac:picMkLst>
        </pc:picChg>
        <pc:cxnChg chg="add mod">
          <ac:chgData name="Kjetil Teigen Hansen (KTH)" userId="b00e1467-cd04-4012-9851-f763aaf02a55" providerId="ADAL" clId="{09BFAEE2-E7C9-4168-AE26-A9F556EF7F84}" dt="2024-09-07T12:54:21.152" v="93" actId="14100"/>
          <ac:cxnSpMkLst>
            <pc:docMk/>
            <pc:sldMk cId="3288778496" sldId="1022"/>
            <ac:cxnSpMk id="23" creationId="{3E48C6EA-9634-802B-0297-F175562305A7}"/>
          </ac:cxnSpMkLst>
        </pc:cxnChg>
        <pc:cxnChg chg="add mod">
          <ac:chgData name="Kjetil Teigen Hansen (KTH)" userId="b00e1467-cd04-4012-9851-f763aaf02a55" providerId="ADAL" clId="{09BFAEE2-E7C9-4168-AE26-A9F556EF7F84}" dt="2024-09-07T12:54:29.694" v="96" actId="14100"/>
          <ac:cxnSpMkLst>
            <pc:docMk/>
            <pc:sldMk cId="3288778496" sldId="1022"/>
            <ac:cxnSpMk id="26" creationId="{F200E213-550F-ABA7-A6C7-47DAC26C8211}"/>
          </ac:cxnSpMkLst>
        </pc:cxnChg>
      </pc:sldChg>
      <pc:sldChg chg="modSp mod">
        <pc:chgData name="Kjetil Teigen Hansen (KTH)" userId="b00e1467-cd04-4012-9851-f763aaf02a55" providerId="ADAL" clId="{09BFAEE2-E7C9-4168-AE26-A9F556EF7F84}" dt="2024-09-07T12:24:44.899" v="29" actId="14100"/>
        <pc:sldMkLst>
          <pc:docMk/>
          <pc:sldMk cId="3711552670" sldId="1029"/>
        </pc:sldMkLst>
        <pc:spChg chg="mod">
          <ac:chgData name="Kjetil Teigen Hansen (KTH)" userId="b00e1467-cd04-4012-9851-f763aaf02a55" providerId="ADAL" clId="{09BFAEE2-E7C9-4168-AE26-A9F556EF7F84}" dt="2024-09-07T12:24:44.899" v="29" actId="14100"/>
          <ac:spMkLst>
            <pc:docMk/>
            <pc:sldMk cId="3711552670" sldId="1029"/>
            <ac:spMk id="8" creationId="{E57D1EC9-49F3-7BDF-7EB7-EDB21E4C558F}"/>
          </ac:spMkLst>
        </pc:spChg>
        <pc:cxnChg chg="mod">
          <ac:chgData name="Kjetil Teigen Hansen (KTH)" userId="b00e1467-cd04-4012-9851-f763aaf02a55" providerId="ADAL" clId="{09BFAEE2-E7C9-4168-AE26-A9F556EF7F84}" dt="2024-09-07T12:24:44.899" v="29" actId="14100"/>
          <ac:cxnSpMkLst>
            <pc:docMk/>
            <pc:sldMk cId="3711552670" sldId="1029"/>
            <ac:cxnSpMk id="4" creationId="{3BE94264-C2AE-A7EA-AFE7-98C55355CECC}"/>
          </ac:cxnSpMkLst>
        </pc:cxnChg>
      </pc:sldChg>
      <pc:sldChg chg="addSp delSp modSp mod">
        <pc:chgData name="Kjetil Teigen Hansen (KTH)" userId="b00e1467-cd04-4012-9851-f763aaf02a55" providerId="ADAL" clId="{09BFAEE2-E7C9-4168-AE26-A9F556EF7F84}" dt="2024-09-07T13:00:46.424" v="437" actId="14100"/>
        <pc:sldMkLst>
          <pc:docMk/>
          <pc:sldMk cId="4047344701" sldId="1032"/>
        </pc:sldMkLst>
        <pc:spChg chg="mod">
          <ac:chgData name="Kjetil Teigen Hansen (KTH)" userId="b00e1467-cd04-4012-9851-f763aaf02a55" providerId="ADAL" clId="{09BFAEE2-E7C9-4168-AE26-A9F556EF7F84}" dt="2024-09-07T13:00:04.504" v="420" actId="20577"/>
          <ac:spMkLst>
            <pc:docMk/>
            <pc:sldMk cId="4047344701" sldId="1032"/>
            <ac:spMk id="3" creationId="{E7DC11FC-43DD-52DB-D6B6-8B8797418FC3}"/>
          </ac:spMkLst>
        </pc:spChg>
        <pc:spChg chg="mod">
          <ac:chgData name="Kjetil Teigen Hansen (KTH)" userId="b00e1467-cd04-4012-9851-f763aaf02a55" providerId="ADAL" clId="{09BFAEE2-E7C9-4168-AE26-A9F556EF7F84}" dt="2024-09-07T12:58:17.657" v="230" actId="1076"/>
          <ac:spMkLst>
            <pc:docMk/>
            <pc:sldMk cId="4047344701" sldId="1032"/>
            <ac:spMk id="5" creationId="{CBD3C767-516A-EB3B-B821-C64F6FCC24FD}"/>
          </ac:spMkLst>
        </pc:spChg>
        <pc:spChg chg="mod">
          <ac:chgData name="Kjetil Teigen Hansen (KTH)" userId="b00e1467-cd04-4012-9851-f763aaf02a55" providerId="ADAL" clId="{09BFAEE2-E7C9-4168-AE26-A9F556EF7F84}" dt="2024-09-07T13:00:21.360" v="428" actId="14100"/>
          <ac:spMkLst>
            <pc:docMk/>
            <pc:sldMk cId="4047344701" sldId="1032"/>
            <ac:spMk id="16" creationId="{3CF5A11D-A18D-D541-3D69-416F56E08366}"/>
          </ac:spMkLst>
        </pc:spChg>
        <pc:spChg chg="mod">
          <ac:chgData name="Kjetil Teigen Hansen (KTH)" userId="b00e1467-cd04-4012-9851-f763aaf02a55" providerId="ADAL" clId="{09BFAEE2-E7C9-4168-AE26-A9F556EF7F84}" dt="2024-09-07T13:00:14.115" v="424" actId="1076"/>
          <ac:spMkLst>
            <pc:docMk/>
            <pc:sldMk cId="4047344701" sldId="1032"/>
            <ac:spMk id="19" creationId="{667ACCD9-6D8F-2EF9-AAD2-86FA4E219ACB}"/>
          </ac:spMkLst>
        </pc:spChg>
        <pc:picChg chg="mod">
          <ac:chgData name="Kjetil Teigen Hansen (KTH)" userId="b00e1467-cd04-4012-9851-f763aaf02a55" providerId="ADAL" clId="{09BFAEE2-E7C9-4168-AE26-A9F556EF7F84}" dt="2024-09-07T13:00:16.024" v="426" actId="1076"/>
          <ac:picMkLst>
            <pc:docMk/>
            <pc:sldMk cId="4047344701" sldId="1032"/>
            <ac:picMk id="6" creationId="{55A930C3-619B-375C-E2E4-326BBF259013}"/>
          </ac:picMkLst>
        </pc:picChg>
        <pc:picChg chg="del">
          <ac:chgData name="Kjetil Teigen Hansen (KTH)" userId="b00e1467-cd04-4012-9851-f763aaf02a55" providerId="ADAL" clId="{09BFAEE2-E7C9-4168-AE26-A9F556EF7F84}" dt="2024-09-07T12:57:56.550" v="219" actId="478"/>
          <ac:picMkLst>
            <pc:docMk/>
            <pc:sldMk cId="4047344701" sldId="1032"/>
            <ac:picMk id="7" creationId="{E58C26C5-07BD-CD55-9261-8E0FF30D9156}"/>
          </ac:picMkLst>
        </pc:picChg>
        <pc:picChg chg="add mod">
          <ac:chgData name="Kjetil Teigen Hansen (KTH)" userId="b00e1467-cd04-4012-9851-f763aaf02a55" providerId="ADAL" clId="{09BFAEE2-E7C9-4168-AE26-A9F556EF7F84}" dt="2024-09-07T12:58:47.365" v="267" actId="1076"/>
          <ac:picMkLst>
            <pc:docMk/>
            <pc:sldMk cId="4047344701" sldId="1032"/>
            <ac:picMk id="9" creationId="{859DE796-4ABB-7E67-9020-C84B5F584D5F}"/>
          </ac:picMkLst>
        </pc:picChg>
        <pc:picChg chg="del">
          <ac:chgData name="Kjetil Teigen Hansen (KTH)" userId="b00e1467-cd04-4012-9851-f763aaf02a55" providerId="ADAL" clId="{09BFAEE2-E7C9-4168-AE26-A9F556EF7F84}" dt="2024-09-07T12:57:56.129" v="218" actId="478"/>
          <ac:picMkLst>
            <pc:docMk/>
            <pc:sldMk cId="4047344701" sldId="1032"/>
            <ac:picMk id="13" creationId="{A72058B4-7BFD-A52A-95B6-5D4484139793}"/>
          </ac:picMkLst>
        </pc:picChg>
        <pc:picChg chg="add mod">
          <ac:chgData name="Kjetil Teigen Hansen (KTH)" userId="b00e1467-cd04-4012-9851-f763aaf02a55" providerId="ADAL" clId="{09BFAEE2-E7C9-4168-AE26-A9F556EF7F84}" dt="2024-09-07T13:00:32.399" v="431" actId="1076"/>
          <ac:picMkLst>
            <pc:docMk/>
            <pc:sldMk cId="4047344701" sldId="1032"/>
            <ac:picMk id="25" creationId="{210CFA18-17D6-3768-7221-0702DBE04BDC}"/>
          </ac:picMkLst>
        </pc:picChg>
        <pc:cxnChg chg="mod">
          <ac:chgData name="Kjetil Teigen Hansen (KTH)" userId="b00e1467-cd04-4012-9851-f763aaf02a55" providerId="ADAL" clId="{09BFAEE2-E7C9-4168-AE26-A9F556EF7F84}" dt="2024-09-07T12:58:05.118" v="224" actId="14100"/>
          <ac:cxnSpMkLst>
            <pc:docMk/>
            <pc:sldMk cId="4047344701" sldId="1032"/>
            <ac:cxnSpMk id="12" creationId="{D66F8EAB-F618-1072-CC31-B08CC006B9B8}"/>
          </ac:cxnSpMkLst>
        </pc:cxnChg>
        <pc:cxnChg chg="mod">
          <ac:chgData name="Kjetil Teigen Hansen (KTH)" userId="b00e1467-cd04-4012-9851-f763aaf02a55" providerId="ADAL" clId="{09BFAEE2-E7C9-4168-AE26-A9F556EF7F84}" dt="2024-09-07T13:00:28.679" v="430" actId="14100"/>
          <ac:cxnSpMkLst>
            <pc:docMk/>
            <pc:sldMk cId="4047344701" sldId="1032"/>
            <ac:cxnSpMk id="17" creationId="{F7A38130-1272-2BA2-95D0-4FDD8941A540}"/>
          </ac:cxnSpMkLst>
        </pc:cxnChg>
        <pc:cxnChg chg="add mod">
          <ac:chgData name="Kjetil Teigen Hansen (KTH)" userId="b00e1467-cd04-4012-9851-f763aaf02a55" providerId="ADAL" clId="{09BFAEE2-E7C9-4168-AE26-A9F556EF7F84}" dt="2024-09-07T12:59:11.987" v="365" actId="14100"/>
          <ac:cxnSpMkLst>
            <pc:docMk/>
            <pc:sldMk cId="4047344701" sldId="1032"/>
            <ac:cxnSpMk id="20" creationId="{11D26612-022C-5F34-5CA8-F0667D633266}"/>
          </ac:cxnSpMkLst>
        </pc:cxnChg>
        <pc:cxnChg chg="mod">
          <ac:chgData name="Kjetil Teigen Hansen (KTH)" userId="b00e1467-cd04-4012-9851-f763aaf02a55" providerId="ADAL" clId="{09BFAEE2-E7C9-4168-AE26-A9F556EF7F84}" dt="2024-09-07T13:00:24.817" v="429" actId="14100"/>
          <ac:cxnSpMkLst>
            <pc:docMk/>
            <pc:sldMk cId="4047344701" sldId="1032"/>
            <ac:cxnSpMk id="21" creationId="{DC96FF66-8E8B-BDFE-C6CB-34FB0B93CBB1}"/>
          </ac:cxnSpMkLst>
        </pc:cxnChg>
        <pc:cxnChg chg="add mod">
          <ac:chgData name="Kjetil Teigen Hansen (KTH)" userId="b00e1467-cd04-4012-9851-f763aaf02a55" providerId="ADAL" clId="{09BFAEE2-E7C9-4168-AE26-A9F556EF7F84}" dt="2024-09-07T13:00:46.424" v="437" actId="14100"/>
          <ac:cxnSpMkLst>
            <pc:docMk/>
            <pc:sldMk cId="4047344701" sldId="1032"/>
            <ac:cxnSpMk id="28" creationId="{7E7061BE-9F18-834C-DB3C-36CC1EC43946}"/>
          </ac:cxnSpMkLst>
        </pc:cxnChg>
      </pc:sldChg>
      <pc:sldChg chg="modSp mod">
        <pc:chgData name="Kjetil Teigen Hansen (KTH)" userId="b00e1467-cd04-4012-9851-f763aaf02a55" providerId="ADAL" clId="{09BFAEE2-E7C9-4168-AE26-A9F556EF7F84}" dt="2024-09-07T13:05:42.262" v="470" actId="14100"/>
        <pc:sldMkLst>
          <pc:docMk/>
          <pc:sldMk cId="2174136788" sldId="1034"/>
        </pc:sldMkLst>
        <pc:picChg chg="mod">
          <ac:chgData name="Kjetil Teigen Hansen (KTH)" userId="b00e1467-cd04-4012-9851-f763aaf02a55" providerId="ADAL" clId="{09BFAEE2-E7C9-4168-AE26-A9F556EF7F84}" dt="2024-09-07T13:05:16.830" v="464" actId="1076"/>
          <ac:picMkLst>
            <pc:docMk/>
            <pc:sldMk cId="2174136788" sldId="1034"/>
            <ac:picMk id="9" creationId="{FBC5D1D5-EE2A-FF7F-1A15-68B97DAC226C}"/>
          </ac:picMkLst>
        </pc:picChg>
        <pc:picChg chg="mod">
          <ac:chgData name="Kjetil Teigen Hansen (KTH)" userId="b00e1467-cd04-4012-9851-f763aaf02a55" providerId="ADAL" clId="{09BFAEE2-E7C9-4168-AE26-A9F556EF7F84}" dt="2024-09-07T13:05:06.419" v="461" actId="1076"/>
          <ac:picMkLst>
            <pc:docMk/>
            <pc:sldMk cId="2174136788" sldId="1034"/>
            <ac:picMk id="15" creationId="{B3151250-CD5A-3864-5FAE-6513F6E5F4CC}"/>
          </ac:picMkLst>
        </pc:picChg>
        <pc:picChg chg="mod">
          <ac:chgData name="Kjetil Teigen Hansen (KTH)" userId="b00e1467-cd04-4012-9851-f763aaf02a55" providerId="ADAL" clId="{09BFAEE2-E7C9-4168-AE26-A9F556EF7F84}" dt="2024-09-07T13:05:18.766" v="465" actId="1076"/>
          <ac:picMkLst>
            <pc:docMk/>
            <pc:sldMk cId="2174136788" sldId="1034"/>
            <ac:picMk id="31" creationId="{432F3F53-BA94-690D-75BF-2C31599F3A4D}"/>
          </ac:picMkLst>
        </pc:picChg>
        <pc:cxnChg chg="mod">
          <ac:chgData name="Kjetil Teigen Hansen (KTH)" userId="b00e1467-cd04-4012-9851-f763aaf02a55" providerId="ADAL" clId="{09BFAEE2-E7C9-4168-AE26-A9F556EF7F84}" dt="2024-09-07T13:05:21.818" v="466" actId="14100"/>
          <ac:cxnSpMkLst>
            <pc:docMk/>
            <pc:sldMk cId="2174136788" sldId="1034"/>
            <ac:cxnSpMk id="17" creationId="{A15BB1B1-9746-6BAC-ABEB-9FE39548A124}"/>
          </ac:cxnSpMkLst>
        </pc:cxnChg>
        <pc:cxnChg chg="mod">
          <ac:chgData name="Kjetil Teigen Hansen (KTH)" userId="b00e1467-cd04-4012-9851-f763aaf02a55" providerId="ADAL" clId="{09BFAEE2-E7C9-4168-AE26-A9F556EF7F84}" dt="2024-09-07T13:05:33.757" v="467" actId="14100"/>
          <ac:cxnSpMkLst>
            <pc:docMk/>
            <pc:sldMk cId="2174136788" sldId="1034"/>
            <ac:cxnSpMk id="21" creationId="{FE105A85-E684-FDDE-F384-C36EDF3BE32F}"/>
          </ac:cxnSpMkLst>
        </pc:cxnChg>
        <pc:cxnChg chg="mod">
          <ac:chgData name="Kjetil Teigen Hansen (KTH)" userId="b00e1467-cd04-4012-9851-f763aaf02a55" providerId="ADAL" clId="{09BFAEE2-E7C9-4168-AE26-A9F556EF7F84}" dt="2024-09-07T13:05:40.125" v="469" actId="14100"/>
          <ac:cxnSpMkLst>
            <pc:docMk/>
            <pc:sldMk cId="2174136788" sldId="1034"/>
            <ac:cxnSpMk id="23" creationId="{850A6BFE-EB14-EB1F-6A2F-00BB82B9A96A}"/>
          </ac:cxnSpMkLst>
        </pc:cxnChg>
        <pc:cxnChg chg="mod">
          <ac:chgData name="Kjetil Teigen Hansen (KTH)" userId="b00e1467-cd04-4012-9851-f763aaf02a55" providerId="ADAL" clId="{09BFAEE2-E7C9-4168-AE26-A9F556EF7F84}" dt="2024-09-07T13:05:42.262" v="470" actId="14100"/>
          <ac:cxnSpMkLst>
            <pc:docMk/>
            <pc:sldMk cId="2174136788" sldId="1034"/>
            <ac:cxnSpMk id="25" creationId="{2CDBBF24-D8DA-BDF4-EA84-F22ED2DB976D}"/>
          </ac:cxnSpMkLst>
        </pc:cxnChg>
      </pc:sldChg>
      <pc:sldChg chg="modSp mod">
        <pc:chgData name="Kjetil Teigen Hansen (KTH)" userId="b00e1467-cd04-4012-9851-f763aaf02a55" providerId="ADAL" clId="{09BFAEE2-E7C9-4168-AE26-A9F556EF7F84}" dt="2024-09-07T13:18:13.447" v="673" actId="113"/>
        <pc:sldMkLst>
          <pc:docMk/>
          <pc:sldMk cId="3392110555" sldId="1036"/>
        </pc:sldMkLst>
        <pc:spChg chg="mod">
          <ac:chgData name="Kjetil Teigen Hansen (KTH)" userId="b00e1467-cd04-4012-9851-f763aaf02a55" providerId="ADAL" clId="{09BFAEE2-E7C9-4168-AE26-A9F556EF7F84}" dt="2024-09-07T13:18:13.447" v="673" actId="113"/>
          <ac:spMkLst>
            <pc:docMk/>
            <pc:sldMk cId="3392110555" sldId="1036"/>
            <ac:spMk id="181" creationId="{00000000-0000-0000-0000-000000000000}"/>
          </ac:spMkLst>
        </pc:spChg>
      </pc:sldChg>
      <pc:sldChg chg="modSp mod">
        <pc:chgData name="Kjetil Teigen Hansen (KTH)" userId="b00e1467-cd04-4012-9851-f763aaf02a55" providerId="ADAL" clId="{09BFAEE2-E7C9-4168-AE26-A9F556EF7F84}" dt="2024-09-07T13:24:22.191" v="875" actId="14100"/>
        <pc:sldMkLst>
          <pc:docMk/>
          <pc:sldMk cId="4211826044" sldId="1037"/>
        </pc:sldMkLst>
        <pc:spChg chg="mod">
          <ac:chgData name="Kjetil Teigen Hansen (KTH)" userId="b00e1467-cd04-4012-9851-f763aaf02a55" providerId="ADAL" clId="{09BFAEE2-E7C9-4168-AE26-A9F556EF7F84}" dt="2024-09-07T13:24:22.191" v="875" actId="14100"/>
          <ac:spMkLst>
            <pc:docMk/>
            <pc:sldMk cId="4211826044" sldId="1037"/>
            <ac:spMk id="12" creationId="{74572F38-352E-A823-A504-BB80697FDF0C}"/>
          </ac:spMkLst>
        </pc:spChg>
      </pc:sldChg>
      <pc:sldChg chg="addSp modSp mod">
        <pc:chgData name="Kjetil Teigen Hansen (KTH)" userId="b00e1467-cd04-4012-9851-f763aaf02a55" providerId="ADAL" clId="{09BFAEE2-E7C9-4168-AE26-A9F556EF7F84}" dt="2024-09-07T13:34:20.047" v="1516" actId="14100"/>
        <pc:sldMkLst>
          <pc:docMk/>
          <pc:sldMk cId="835930409" sldId="1038"/>
        </pc:sldMkLst>
        <pc:cxnChg chg="add mod">
          <ac:chgData name="Kjetil Teigen Hansen (KTH)" userId="b00e1467-cd04-4012-9851-f763aaf02a55" providerId="ADAL" clId="{09BFAEE2-E7C9-4168-AE26-A9F556EF7F84}" dt="2024-09-07T13:34:20.047" v="1516" actId="14100"/>
          <ac:cxnSpMkLst>
            <pc:docMk/>
            <pc:sldMk cId="835930409" sldId="1038"/>
            <ac:cxnSpMk id="4" creationId="{48A4BBA4-B039-50B7-1512-7DA24B89961F}"/>
          </ac:cxnSpMkLst>
        </pc:cxnChg>
      </pc:sldChg>
      <pc:sldChg chg="addSp delSp modSp mod">
        <pc:chgData name="Kjetil Teigen Hansen (KTH)" userId="b00e1467-cd04-4012-9851-f763aaf02a55" providerId="ADAL" clId="{09BFAEE2-E7C9-4168-AE26-A9F556EF7F84}" dt="2024-09-07T13:43:43.759" v="2054" actId="1076"/>
        <pc:sldMkLst>
          <pc:docMk/>
          <pc:sldMk cId="2180325670" sldId="1039"/>
        </pc:sldMkLst>
        <pc:spChg chg="add mod">
          <ac:chgData name="Kjetil Teigen Hansen (KTH)" userId="b00e1467-cd04-4012-9851-f763aaf02a55" providerId="ADAL" clId="{09BFAEE2-E7C9-4168-AE26-A9F556EF7F84}" dt="2024-09-07T13:43:43.759" v="2054" actId="1076"/>
          <ac:spMkLst>
            <pc:docMk/>
            <pc:sldMk cId="2180325670" sldId="1039"/>
            <ac:spMk id="15" creationId="{16BE2A3B-C7B7-E67C-A166-C1AB23396548}"/>
          </ac:spMkLst>
        </pc:spChg>
        <pc:spChg chg="mod">
          <ac:chgData name="Kjetil Teigen Hansen (KTH)" userId="b00e1467-cd04-4012-9851-f763aaf02a55" providerId="ADAL" clId="{09BFAEE2-E7C9-4168-AE26-A9F556EF7F84}" dt="2024-09-07T13:42:22.982" v="1918" actId="20577"/>
          <ac:spMkLst>
            <pc:docMk/>
            <pc:sldMk cId="2180325670" sldId="1039"/>
            <ac:spMk id="181" creationId="{00000000-0000-0000-0000-000000000000}"/>
          </ac:spMkLst>
        </pc:spChg>
        <pc:picChg chg="mod">
          <ac:chgData name="Kjetil Teigen Hansen (KTH)" userId="b00e1467-cd04-4012-9851-f763aaf02a55" providerId="ADAL" clId="{09BFAEE2-E7C9-4168-AE26-A9F556EF7F84}" dt="2024-09-07T13:35:54.403" v="1532" actId="1076"/>
          <ac:picMkLst>
            <pc:docMk/>
            <pc:sldMk cId="2180325670" sldId="1039"/>
            <ac:picMk id="5" creationId="{53587A43-55F7-A37C-8C73-E5F4128EB575}"/>
          </ac:picMkLst>
        </pc:picChg>
        <pc:picChg chg="add mod">
          <ac:chgData name="Kjetil Teigen Hansen (KTH)" userId="b00e1467-cd04-4012-9851-f763aaf02a55" providerId="ADAL" clId="{09BFAEE2-E7C9-4168-AE26-A9F556EF7F84}" dt="2024-09-07T13:35:57.148" v="1533" actId="1076"/>
          <ac:picMkLst>
            <pc:docMk/>
            <pc:sldMk cId="2180325670" sldId="1039"/>
            <ac:picMk id="6" creationId="{3383F2EE-95A7-59EE-906A-61050911BCDD}"/>
          </ac:picMkLst>
        </pc:picChg>
        <pc:picChg chg="mod">
          <ac:chgData name="Kjetil Teigen Hansen (KTH)" userId="b00e1467-cd04-4012-9851-f763aaf02a55" providerId="ADAL" clId="{09BFAEE2-E7C9-4168-AE26-A9F556EF7F84}" dt="2024-09-07T13:35:51.223" v="1529" actId="1076"/>
          <ac:picMkLst>
            <pc:docMk/>
            <pc:sldMk cId="2180325670" sldId="1039"/>
            <ac:picMk id="8" creationId="{92279F5A-4E6F-EFB7-4788-CA1620B9D12E}"/>
          </ac:picMkLst>
        </pc:picChg>
        <pc:picChg chg="del">
          <ac:chgData name="Kjetil Teigen Hansen (KTH)" userId="b00e1467-cd04-4012-9851-f763aaf02a55" providerId="ADAL" clId="{09BFAEE2-E7C9-4168-AE26-A9F556EF7F84}" dt="2024-09-07T13:33:41.268" v="1506" actId="478"/>
          <ac:picMkLst>
            <pc:docMk/>
            <pc:sldMk cId="2180325670" sldId="1039"/>
            <ac:picMk id="10" creationId="{91622DA3-D276-A522-617F-0451B4F8D0AA}"/>
          </ac:picMkLst>
        </pc:picChg>
        <pc:cxnChg chg="add mod">
          <ac:chgData name="Kjetil Teigen Hansen (KTH)" userId="b00e1467-cd04-4012-9851-f763aaf02a55" providerId="ADAL" clId="{09BFAEE2-E7C9-4168-AE26-A9F556EF7F84}" dt="2024-09-07T13:42:34.453" v="1920" actId="14100"/>
          <ac:cxnSpMkLst>
            <pc:docMk/>
            <pc:sldMk cId="2180325670" sldId="1039"/>
            <ac:cxnSpMk id="7" creationId="{84E02731-ADC5-1910-407C-B1C622789F71}"/>
          </ac:cxnSpMkLst>
        </pc:cxnChg>
        <pc:cxnChg chg="del">
          <ac:chgData name="Kjetil Teigen Hansen (KTH)" userId="b00e1467-cd04-4012-9851-f763aaf02a55" providerId="ADAL" clId="{09BFAEE2-E7C9-4168-AE26-A9F556EF7F84}" dt="2024-09-07T13:33:42.408" v="1507" actId="478"/>
          <ac:cxnSpMkLst>
            <pc:docMk/>
            <pc:sldMk cId="2180325670" sldId="1039"/>
            <ac:cxnSpMk id="11" creationId="{F10A3689-ECA2-84E9-2EC4-DA7ED94BFB4D}"/>
          </ac:cxnSpMkLst>
        </pc:cxnChg>
      </pc:sldChg>
      <pc:sldChg chg="modSp mod">
        <pc:chgData name="Kjetil Teigen Hansen (KTH)" userId="b00e1467-cd04-4012-9851-f763aaf02a55" providerId="ADAL" clId="{09BFAEE2-E7C9-4168-AE26-A9F556EF7F84}" dt="2024-09-07T12:25:06.524" v="31" actId="1076"/>
        <pc:sldMkLst>
          <pc:docMk/>
          <pc:sldMk cId="400240892" sldId="1041"/>
        </pc:sldMkLst>
        <pc:spChg chg="mod">
          <ac:chgData name="Kjetil Teigen Hansen (KTH)" userId="b00e1467-cd04-4012-9851-f763aaf02a55" providerId="ADAL" clId="{09BFAEE2-E7C9-4168-AE26-A9F556EF7F84}" dt="2024-09-07T12:25:03.623" v="30" actId="1076"/>
          <ac:spMkLst>
            <pc:docMk/>
            <pc:sldMk cId="400240892" sldId="1041"/>
            <ac:spMk id="5" creationId="{8C308093-F362-D64F-12C8-14918A6EDC64}"/>
          </ac:spMkLst>
        </pc:spChg>
        <pc:spChg chg="mod">
          <ac:chgData name="Kjetil Teigen Hansen (KTH)" userId="b00e1467-cd04-4012-9851-f763aaf02a55" providerId="ADAL" clId="{09BFAEE2-E7C9-4168-AE26-A9F556EF7F84}" dt="2024-09-07T12:25:06.524" v="31" actId="1076"/>
          <ac:spMkLst>
            <pc:docMk/>
            <pc:sldMk cId="400240892" sldId="1041"/>
            <ac:spMk id="6" creationId="{583AD5EB-40B5-661E-3BC2-C961D02E52BD}"/>
          </ac:spMkLst>
        </pc:spChg>
      </pc:sldChg>
      <pc:sldChg chg="modSp mod">
        <pc:chgData name="Kjetil Teigen Hansen (KTH)" userId="b00e1467-cd04-4012-9851-f763aaf02a55" providerId="ADAL" clId="{09BFAEE2-E7C9-4168-AE26-A9F556EF7F84}" dt="2024-09-07T12:56:51.792" v="215" actId="14100"/>
        <pc:sldMkLst>
          <pc:docMk/>
          <pc:sldMk cId="1650318171" sldId="1043"/>
        </pc:sldMkLst>
        <pc:picChg chg="mod">
          <ac:chgData name="Kjetil Teigen Hansen (KTH)" userId="b00e1467-cd04-4012-9851-f763aaf02a55" providerId="ADAL" clId="{09BFAEE2-E7C9-4168-AE26-A9F556EF7F84}" dt="2024-09-07T12:56:42.680" v="212" actId="1076"/>
          <ac:picMkLst>
            <pc:docMk/>
            <pc:sldMk cId="1650318171" sldId="1043"/>
            <ac:picMk id="6" creationId="{17D8BA37-7034-C40F-FD44-CC98E031292E}"/>
          </ac:picMkLst>
        </pc:picChg>
        <pc:cxnChg chg="mod">
          <ac:chgData name="Kjetil Teigen Hansen (KTH)" userId="b00e1467-cd04-4012-9851-f763aaf02a55" providerId="ADAL" clId="{09BFAEE2-E7C9-4168-AE26-A9F556EF7F84}" dt="2024-09-07T12:56:38.480" v="211" actId="14100"/>
          <ac:cxnSpMkLst>
            <pc:docMk/>
            <pc:sldMk cId="1650318171" sldId="1043"/>
            <ac:cxnSpMk id="8" creationId="{61E4DBE9-0D5F-FCD9-C745-13AB35479943}"/>
          </ac:cxnSpMkLst>
        </pc:cxnChg>
        <pc:cxnChg chg="mod">
          <ac:chgData name="Kjetil Teigen Hansen (KTH)" userId="b00e1467-cd04-4012-9851-f763aaf02a55" providerId="ADAL" clId="{09BFAEE2-E7C9-4168-AE26-A9F556EF7F84}" dt="2024-09-07T12:56:51.792" v="215" actId="14100"/>
          <ac:cxnSpMkLst>
            <pc:docMk/>
            <pc:sldMk cId="1650318171" sldId="1043"/>
            <ac:cxnSpMk id="9" creationId="{63CC984C-A5E5-A8BF-8FD3-578793986F67}"/>
          </ac:cxnSpMkLst>
        </pc:cxnChg>
        <pc:cxnChg chg="mod">
          <ac:chgData name="Kjetil Teigen Hansen (KTH)" userId="b00e1467-cd04-4012-9851-f763aaf02a55" providerId="ADAL" clId="{09BFAEE2-E7C9-4168-AE26-A9F556EF7F84}" dt="2024-09-07T12:56:47.030" v="213" actId="14100"/>
          <ac:cxnSpMkLst>
            <pc:docMk/>
            <pc:sldMk cId="1650318171" sldId="1043"/>
            <ac:cxnSpMk id="17" creationId="{D1767CD1-12FF-605A-7B9A-F0D0CD48C758}"/>
          </ac:cxnSpMkLst>
        </pc:cxnChg>
      </pc:sldChg>
      <pc:sldChg chg="modSp mod">
        <pc:chgData name="Kjetil Teigen Hansen (KTH)" userId="b00e1467-cd04-4012-9851-f763aaf02a55" providerId="ADAL" clId="{09BFAEE2-E7C9-4168-AE26-A9F556EF7F84}" dt="2024-09-07T14:05:52.944" v="2111" actId="1076"/>
        <pc:sldMkLst>
          <pc:docMk/>
          <pc:sldMk cId="3684540684" sldId="1044"/>
        </pc:sldMkLst>
        <pc:spChg chg="mod">
          <ac:chgData name="Kjetil Teigen Hansen (KTH)" userId="b00e1467-cd04-4012-9851-f763aaf02a55" providerId="ADAL" clId="{09BFAEE2-E7C9-4168-AE26-A9F556EF7F84}" dt="2024-09-07T13:56:06.064" v="2099" actId="20577"/>
          <ac:spMkLst>
            <pc:docMk/>
            <pc:sldMk cId="3684540684" sldId="1044"/>
            <ac:spMk id="180" creationId="{00000000-0000-0000-0000-000000000000}"/>
          </ac:spMkLst>
        </pc:spChg>
        <pc:picChg chg="mod">
          <ac:chgData name="Kjetil Teigen Hansen (KTH)" userId="b00e1467-cd04-4012-9851-f763aaf02a55" providerId="ADAL" clId="{09BFAEE2-E7C9-4168-AE26-A9F556EF7F84}" dt="2024-09-07T14:05:52.944" v="2111" actId="1076"/>
          <ac:picMkLst>
            <pc:docMk/>
            <pc:sldMk cId="3684540684" sldId="1044"/>
            <ac:picMk id="5" creationId="{4E7607A7-4FEE-A46B-BF48-AE65FC6B126C}"/>
          </ac:picMkLst>
        </pc:picChg>
      </pc:sldChg>
      <pc:sldChg chg="modSp mod">
        <pc:chgData name="Kjetil Teigen Hansen (KTH)" userId="b00e1467-cd04-4012-9851-f763aaf02a55" providerId="ADAL" clId="{09BFAEE2-E7C9-4168-AE26-A9F556EF7F84}" dt="2024-09-07T12:55:57.250" v="203" actId="20577"/>
        <pc:sldMkLst>
          <pc:docMk/>
          <pc:sldMk cId="1831509774" sldId="1050"/>
        </pc:sldMkLst>
        <pc:spChg chg="mod">
          <ac:chgData name="Kjetil Teigen Hansen (KTH)" userId="b00e1467-cd04-4012-9851-f763aaf02a55" providerId="ADAL" clId="{09BFAEE2-E7C9-4168-AE26-A9F556EF7F84}" dt="2024-09-07T12:55:57.250" v="203" actId="20577"/>
          <ac:spMkLst>
            <pc:docMk/>
            <pc:sldMk cId="1831509774" sldId="1050"/>
            <ac:spMk id="11" creationId="{62FA55CE-01F5-4692-0488-ACAD670507AE}"/>
          </ac:spMkLst>
        </pc:spChg>
      </pc:sldChg>
      <pc:sldChg chg="addSp delSp modSp mod">
        <pc:chgData name="Kjetil Teigen Hansen (KTH)" userId="b00e1467-cd04-4012-9851-f763aaf02a55" providerId="ADAL" clId="{09BFAEE2-E7C9-4168-AE26-A9F556EF7F84}" dt="2024-09-07T13:32:32.822" v="1505" actId="14100"/>
        <pc:sldMkLst>
          <pc:docMk/>
          <pc:sldMk cId="3034514062" sldId="1051"/>
        </pc:sldMkLst>
        <pc:picChg chg="del">
          <ac:chgData name="Kjetil Teigen Hansen (KTH)" userId="b00e1467-cd04-4012-9851-f763aaf02a55" providerId="ADAL" clId="{09BFAEE2-E7C9-4168-AE26-A9F556EF7F84}" dt="2024-09-07T13:32:02.285" v="1498" actId="478"/>
          <ac:picMkLst>
            <pc:docMk/>
            <pc:sldMk cId="3034514062" sldId="1051"/>
            <ac:picMk id="5" creationId="{5581ED08-5D01-3A23-650C-0C1EA265CFF1}"/>
          </ac:picMkLst>
        </pc:picChg>
        <pc:picChg chg="del">
          <ac:chgData name="Kjetil Teigen Hansen (KTH)" userId="b00e1467-cd04-4012-9851-f763aaf02a55" providerId="ADAL" clId="{09BFAEE2-E7C9-4168-AE26-A9F556EF7F84}" dt="2024-09-07T13:32:29.337" v="1502" actId="478"/>
          <ac:picMkLst>
            <pc:docMk/>
            <pc:sldMk cId="3034514062" sldId="1051"/>
            <ac:picMk id="6" creationId="{8E40799D-55D1-83E4-AAF8-1B2DF4238B46}"/>
          </ac:picMkLst>
        </pc:picChg>
        <pc:picChg chg="add mod">
          <ac:chgData name="Kjetil Teigen Hansen (KTH)" userId="b00e1467-cd04-4012-9851-f763aaf02a55" providerId="ADAL" clId="{09BFAEE2-E7C9-4168-AE26-A9F556EF7F84}" dt="2024-09-07T13:32:08.125" v="1501" actId="14100"/>
          <ac:picMkLst>
            <pc:docMk/>
            <pc:sldMk cId="3034514062" sldId="1051"/>
            <ac:picMk id="7" creationId="{01814438-6CC5-9FBA-B2FD-A8D2FB1DA1CF}"/>
          </ac:picMkLst>
        </pc:picChg>
        <pc:picChg chg="add mod">
          <ac:chgData name="Kjetil Teigen Hansen (KTH)" userId="b00e1467-cd04-4012-9851-f763aaf02a55" providerId="ADAL" clId="{09BFAEE2-E7C9-4168-AE26-A9F556EF7F84}" dt="2024-09-07T13:32:32.822" v="1505" actId="14100"/>
          <ac:picMkLst>
            <pc:docMk/>
            <pc:sldMk cId="3034514062" sldId="1051"/>
            <ac:picMk id="9" creationId="{9396002D-3E4B-63C0-EF9D-E090B4EFCA34}"/>
          </ac:picMkLst>
        </pc:picChg>
      </pc:sldChg>
      <pc:sldChg chg="addSp modSp mod ord">
        <pc:chgData name="Kjetil Teigen Hansen (KTH)" userId="b00e1467-cd04-4012-9851-f763aaf02a55" providerId="ADAL" clId="{09BFAEE2-E7C9-4168-AE26-A9F556EF7F84}" dt="2024-09-07T13:40:35.183" v="1899" actId="14100"/>
        <pc:sldMkLst>
          <pc:docMk/>
          <pc:sldMk cId="3025200122" sldId="1052"/>
        </pc:sldMkLst>
        <pc:spChg chg="add mod">
          <ac:chgData name="Kjetil Teigen Hansen (KTH)" userId="b00e1467-cd04-4012-9851-f763aaf02a55" providerId="ADAL" clId="{09BFAEE2-E7C9-4168-AE26-A9F556EF7F84}" dt="2024-09-07T13:37:31.481" v="1541"/>
          <ac:spMkLst>
            <pc:docMk/>
            <pc:sldMk cId="3025200122" sldId="1052"/>
            <ac:spMk id="6" creationId="{77D8802A-9E42-3866-3E33-957E214D56FC}"/>
          </ac:spMkLst>
        </pc:spChg>
        <pc:spChg chg="add mod">
          <ac:chgData name="Kjetil Teigen Hansen (KTH)" userId="b00e1467-cd04-4012-9851-f763aaf02a55" providerId="ADAL" clId="{09BFAEE2-E7C9-4168-AE26-A9F556EF7F84}" dt="2024-09-07T13:37:38.363" v="1550"/>
          <ac:spMkLst>
            <pc:docMk/>
            <pc:sldMk cId="3025200122" sldId="1052"/>
            <ac:spMk id="7" creationId="{46865D1C-6944-0427-256F-08D46595A8F0}"/>
          </ac:spMkLst>
        </pc:spChg>
        <pc:spChg chg="mod">
          <ac:chgData name="Kjetil Teigen Hansen (KTH)" userId="b00e1467-cd04-4012-9851-f763aaf02a55" providerId="ADAL" clId="{09BFAEE2-E7C9-4168-AE26-A9F556EF7F84}" dt="2024-09-07T13:37:33.598" v="1548" actId="20577"/>
          <ac:spMkLst>
            <pc:docMk/>
            <pc:sldMk cId="3025200122" sldId="1052"/>
            <ac:spMk id="180" creationId="{00000000-0000-0000-0000-000000000000}"/>
          </ac:spMkLst>
        </pc:spChg>
        <pc:spChg chg="mod">
          <ac:chgData name="Kjetil Teigen Hansen (KTH)" userId="b00e1467-cd04-4012-9851-f763aaf02a55" providerId="ADAL" clId="{09BFAEE2-E7C9-4168-AE26-A9F556EF7F84}" dt="2024-09-07T13:40:06.672" v="1890" actId="20577"/>
          <ac:spMkLst>
            <pc:docMk/>
            <pc:sldMk cId="3025200122" sldId="1052"/>
            <ac:spMk id="181" creationId="{00000000-0000-0000-0000-000000000000}"/>
          </ac:spMkLst>
        </pc:spChg>
        <pc:picChg chg="add mod">
          <ac:chgData name="Kjetil Teigen Hansen (KTH)" userId="b00e1467-cd04-4012-9851-f763aaf02a55" providerId="ADAL" clId="{09BFAEE2-E7C9-4168-AE26-A9F556EF7F84}" dt="2024-09-07T13:38:52.631" v="1641" actId="1076"/>
          <ac:picMkLst>
            <pc:docMk/>
            <pc:sldMk cId="3025200122" sldId="1052"/>
            <ac:picMk id="5" creationId="{3C55DF18-88E2-9094-81C6-87695AFC44A8}"/>
          </ac:picMkLst>
        </pc:picChg>
        <pc:picChg chg="add mod">
          <ac:chgData name="Kjetil Teigen Hansen (KTH)" userId="b00e1467-cd04-4012-9851-f763aaf02a55" providerId="ADAL" clId="{09BFAEE2-E7C9-4168-AE26-A9F556EF7F84}" dt="2024-09-07T13:40:10.374" v="1892" actId="14100"/>
          <ac:picMkLst>
            <pc:docMk/>
            <pc:sldMk cId="3025200122" sldId="1052"/>
            <ac:picMk id="9" creationId="{C55D64AF-DCC6-4F54-A067-51FDB81EF8F3}"/>
          </ac:picMkLst>
        </pc:picChg>
        <pc:cxnChg chg="add mod">
          <ac:chgData name="Kjetil Teigen Hansen (KTH)" userId="b00e1467-cd04-4012-9851-f763aaf02a55" providerId="ADAL" clId="{09BFAEE2-E7C9-4168-AE26-A9F556EF7F84}" dt="2024-09-07T13:40:27.849" v="1896" actId="14100"/>
          <ac:cxnSpMkLst>
            <pc:docMk/>
            <pc:sldMk cId="3025200122" sldId="1052"/>
            <ac:cxnSpMk id="10" creationId="{C6E3439E-A21C-0CD1-7F05-BBEEB5C05835}"/>
          </ac:cxnSpMkLst>
        </pc:cxnChg>
        <pc:cxnChg chg="add mod">
          <ac:chgData name="Kjetil Teigen Hansen (KTH)" userId="b00e1467-cd04-4012-9851-f763aaf02a55" providerId="ADAL" clId="{09BFAEE2-E7C9-4168-AE26-A9F556EF7F84}" dt="2024-09-07T13:40:35.183" v="1899" actId="14100"/>
          <ac:cxnSpMkLst>
            <pc:docMk/>
            <pc:sldMk cId="3025200122" sldId="1052"/>
            <ac:cxnSpMk id="13" creationId="{137F0FE3-1839-D041-CF52-4B7C557697E9}"/>
          </ac:cxnSpMkLst>
        </pc:cxnChg>
      </pc:sldChg>
      <pc:sldChg chg="modSp mod">
        <pc:chgData name="Kjetil Teigen Hansen (KTH)" userId="b00e1467-cd04-4012-9851-f763aaf02a55" providerId="ADAL" clId="{09BFAEE2-E7C9-4168-AE26-A9F556EF7F84}" dt="2024-09-07T14:09:27.327" v="2179" actId="1076"/>
        <pc:sldMkLst>
          <pc:docMk/>
          <pc:sldMk cId="1271568684" sldId="1053"/>
        </pc:sldMkLst>
        <pc:spChg chg="mod">
          <ac:chgData name="Kjetil Teigen Hansen (KTH)" userId="b00e1467-cd04-4012-9851-f763aaf02a55" providerId="ADAL" clId="{09BFAEE2-E7C9-4168-AE26-A9F556EF7F84}" dt="2024-09-07T13:04:13.699" v="460" actId="113"/>
          <ac:spMkLst>
            <pc:docMk/>
            <pc:sldMk cId="1271568684" sldId="1053"/>
            <ac:spMk id="181" creationId="{00000000-0000-0000-0000-000000000000}"/>
          </ac:spMkLst>
        </pc:spChg>
        <pc:picChg chg="mod">
          <ac:chgData name="Kjetil Teigen Hansen (KTH)" userId="b00e1467-cd04-4012-9851-f763aaf02a55" providerId="ADAL" clId="{09BFAEE2-E7C9-4168-AE26-A9F556EF7F84}" dt="2024-09-07T13:03:37.270" v="458" actId="14100"/>
          <ac:picMkLst>
            <pc:docMk/>
            <pc:sldMk cId="1271568684" sldId="1053"/>
            <ac:picMk id="7" creationId="{15A75A7D-C767-FAB7-0CD7-C310C06ADF88}"/>
          </ac:picMkLst>
        </pc:picChg>
        <pc:picChg chg="mod">
          <ac:chgData name="Kjetil Teigen Hansen (KTH)" userId="b00e1467-cd04-4012-9851-f763aaf02a55" providerId="ADAL" clId="{09BFAEE2-E7C9-4168-AE26-A9F556EF7F84}" dt="2024-09-07T14:09:27.327" v="2179" actId="1076"/>
          <ac:picMkLst>
            <pc:docMk/>
            <pc:sldMk cId="1271568684" sldId="1053"/>
            <ac:picMk id="11" creationId="{A64BBD0B-8216-880E-E9B5-34BA34406013}"/>
          </ac:picMkLst>
        </pc:picChg>
      </pc:sldChg>
      <pc:sldChg chg="addSp delSp modSp mod">
        <pc:chgData name="Kjetil Teigen Hansen (KTH)" userId="b00e1467-cd04-4012-9851-f763aaf02a55" providerId="ADAL" clId="{09BFAEE2-E7C9-4168-AE26-A9F556EF7F84}" dt="2024-09-07T13:17:56.211" v="669" actId="14100"/>
        <pc:sldMkLst>
          <pc:docMk/>
          <pc:sldMk cId="1889327200" sldId="1054"/>
        </pc:sldMkLst>
        <pc:spChg chg="mod">
          <ac:chgData name="Kjetil Teigen Hansen (KTH)" userId="b00e1467-cd04-4012-9851-f763aaf02a55" providerId="ADAL" clId="{09BFAEE2-E7C9-4168-AE26-A9F556EF7F84}" dt="2024-09-07T13:16:30.687" v="637" actId="20577"/>
          <ac:spMkLst>
            <pc:docMk/>
            <pc:sldMk cId="1889327200" sldId="1054"/>
            <ac:spMk id="8" creationId="{180A10C2-5446-4BB5-9DDF-263CA9F4DC00}"/>
          </ac:spMkLst>
        </pc:spChg>
        <pc:spChg chg="add mod">
          <ac:chgData name="Kjetil Teigen Hansen (KTH)" userId="b00e1467-cd04-4012-9851-f763aaf02a55" providerId="ADAL" clId="{09BFAEE2-E7C9-4168-AE26-A9F556EF7F84}" dt="2024-09-07T13:16:45.219" v="640" actId="1076"/>
          <ac:spMkLst>
            <pc:docMk/>
            <pc:sldMk cId="1889327200" sldId="1054"/>
            <ac:spMk id="27" creationId="{0C9B3328-F0DF-A0EE-C007-2C5C8B84351B}"/>
          </ac:spMkLst>
        </pc:spChg>
        <pc:spChg chg="add mod">
          <ac:chgData name="Kjetil Teigen Hansen (KTH)" userId="b00e1467-cd04-4012-9851-f763aaf02a55" providerId="ADAL" clId="{09BFAEE2-E7C9-4168-AE26-A9F556EF7F84}" dt="2024-09-07T13:16:45.219" v="640" actId="1076"/>
          <ac:spMkLst>
            <pc:docMk/>
            <pc:sldMk cId="1889327200" sldId="1054"/>
            <ac:spMk id="34" creationId="{617DB6D2-8B05-D6A3-90A9-E9984734374A}"/>
          </ac:spMkLst>
        </pc:spChg>
        <pc:spChg chg="add mod">
          <ac:chgData name="Kjetil Teigen Hansen (KTH)" userId="b00e1467-cd04-4012-9851-f763aaf02a55" providerId="ADAL" clId="{09BFAEE2-E7C9-4168-AE26-A9F556EF7F84}" dt="2024-09-07T13:16:59.284" v="656" actId="20577"/>
          <ac:spMkLst>
            <pc:docMk/>
            <pc:sldMk cId="1889327200" sldId="1054"/>
            <ac:spMk id="45" creationId="{E5833D1F-15B4-6430-5672-D5B1B843F725}"/>
          </ac:spMkLst>
        </pc:spChg>
        <pc:picChg chg="add del">
          <ac:chgData name="Kjetil Teigen Hansen (KTH)" userId="b00e1467-cd04-4012-9851-f763aaf02a55" providerId="ADAL" clId="{09BFAEE2-E7C9-4168-AE26-A9F556EF7F84}" dt="2024-09-07T13:07:46.397" v="473" actId="22"/>
          <ac:picMkLst>
            <pc:docMk/>
            <pc:sldMk cId="1889327200" sldId="1054"/>
            <ac:picMk id="5" creationId="{A985A00E-F623-A89D-8DA1-52F914EEF2A3}"/>
          </ac:picMkLst>
        </pc:picChg>
        <pc:picChg chg="add mod">
          <ac:chgData name="Kjetil Teigen Hansen (KTH)" userId="b00e1467-cd04-4012-9851-f763aaf02a55" providerId="ADAL" clId="{09BFAEE2-E7C9-4168-AE26-A9F556EF7F84}" dt="2024-09-07T13:08:02.609" v="477" actId="1076"/>
          <ac:picMkLst>
            <pc:docMk/>
            <pc:sldMk cId="1889327200" sldId="1054"/>
            <ac:picMk id="7" creationId="{DAC0C2CC-95F0-1CFF-260C-BD6D830D7B4E}"/>
          </ac:picMkLst>
        </pc:picChg>
        <pc:picChg chg="add mod">
          <ac:chgData name="Kjetil Teigen Hansen (KTH)" userId="b00e1467-cd04-4012-9851-f763aaf02a55" providerId="ADAL" clId="{09BFAEE2-E7C9-4168-AE26-A9F556EF7F84}" dt="2024-09-07T13:13:53.331" v="591" actId="14100"/>
          <ac:picMkLst>
            <pc:docMk/>
            <pc:sldMk cId="1889327200" sldId="1054"/>
            <ac:picMk id="12" creationId="{E294D77F-E1BA-D1C5-A7B9-CFEE5B6E282E}"/>
          </ac:picMkLst>
        </pc:picChg>
        <pc:picChg chg="add del mod">
          <ac:chgData name="Kjetil Teigen Hansen (KTH)" userId="b00e1467-cd04-4012-9851-f763aaf02a55" providerId="ADAL" clId="{09BFAEE2-E7C9-4168-AE26-A9F556EF7F84}" dt="2024-09-07T13:09:17.511" v="491" actId="478"/>
          <ac:picMkLst>
            <pc:docMk/>
            <pc:sldMk cId="1889327200" sldId="1054"/>
            <ac:picMk id="14" creationId="{872C7227-BB74-78D5-27C5-AD00021E0B53}"/>
          </ac:picMkLst>
        </pc:picChg>
        <pc:picChg chg="add mod">
          <ac:chgData name="Kjetil Teigen Hansen (KTH)" userId="b00e1467-cd04-4012-9851-f763aaf02a55" providerId="ADAL" clId="{09BFAEE2-E7C9-4168-AE26-A9F556EF7F84}" dt="2024-09-07T13:17:44.076" v="665" actId="1076"/>
          <ac:picMkLst>
            <pc:docMk/>
            <pc:sldMk cId="1889327200" sldId="1054"/>
            <ac:picMk id="16" creationId="{D23964F5-9FDA-6D8F-CFB6-38CF808E6A6E}"/>
          </ac:picMkLst>
        </pc:picChg>
        <pc:picChg chg="del">
          <ac:chgData name="Kjetil Teigen Hansen (KTH)" userId="b00e1467-cd04-4012-9851-f763aaf02a55" providerId="ADAL" clId="{09BFAEE2-E7C9-4168-AE26-A9F556EF7F84}" dt="2024-09-07T13:07:43.734" v="471" actId="478"/>
          <ac:picMkLst>
            <pc:docMk/>
            <pc:sldMk cId="1889327200" sldId="1054"/>
            <ac:picMk id="18" creationId="{5B65EF07-8702-2063-3EEE-EE320B7392D9}"/>
          </ac:picMkLst>
        </pc:picChg>
        <pc:picChg chg="del">
          <ac:chgData name="Kjetil Teigen Hansen (KTH)" userId="b00e1467-cd04-4012-9851-f763aaf02a55" providerId="ADAL" clId="{09BFAEE2-E7C9-4168-AE26-A9F556EF7F84}" dt="2024-09-07T13:09:10.986" v="486" actId="478"/>
          <ac:picMkLst>
            <pc:docMk/>
            <pc:sldMk cId="1889327200" sldId="1054"/>
            <ac:picMk id="21" creationId="{324E2652-051B-56CE-12F3-F14AA05300F6}"/>
          </ac:picMkLst>
        </pc:picChg>
        <pc:picChg chg="add mod">
          <ac:chgData name="Kjetil Teigen Hansen (KTH)" userId="b00e1467-cd04-4012-9851-f763aaf02a55" providerId="ADAL" clId="{09BFAEE2-E7C9-4168-AE26-A9F556EF7F84}" dt="2024-09-07T13:16:45.219" v="640" actId="1076"/>
          <ac:picMkLst>
            <pc:docMk/>
            <pc:sldMk cId="1889327200" sldId="1054"/>
            <ac:picMk id="23" creationId="{33C6A604-8365-0882-2B7E-E85112E602BD}"/>
          </ac:picMkLst>
        </pc:picChg>
        <pc:picChg chg="add mod">
          <ac:chgData name="Kjetil Teigen Hansen (KTH)" userId="b00e1467-cd04-4012-9851-f763aaf02a55" providerId="ADAL" clId="{09BFAEE2-E7C9-4168-AE26-A9F556EF7F84}" dt="2024-09-07T13:16:45.219" v="640" actId="1076"/>
          <ac:picMkLst>
            <pc:docMk/>
            <pc:sldMk cId="1889327200" sldId="1054"/>
            <ac:picMk id="25" creationId="{CBC3E091-9CF8-AAF6-C94B-380CA6C310B8}"/>
          </ac:picMkLst>
        </pc:picChg>
        <pc:picChg chg="del">
          <ac:chgData name="Kjetil Teigen Hansen (KTH)" userId="b00e1467-cd04-4012-9851-f763aaf02a55" providerId="ADAL" clId="{09BFAEE2-E7C9-4168-AE26-A9F556EF7F84}" dt="2024-09-07T13:11:18.402" v="499" actId="478"/>
          <ac:picMkLst>
            <pc:docMk/>
            <pc:sldMk cId="1889327200" sldId="1054"/>
            <ac:picMk id="28" creationId="{42E58959-E430-7E9F-4E80-9E7E6B038EDB}"/>
          </ac:picMkLst>
        </pc:picChg>
        <pc:picChg chg="del">
          <ac:chgData name="Kjetil Teigen Hansen (KTH)" userId="b00e1467-cd04-4012-9851-f763aaf02a55" providerId="ADAL" clId="{09BFAEE2-E7C9-4168-AE26-A9F556EF7F84}" dt="2024-09-07T13:11:23.292" v="502" actId="478"/>
          <ac:picMkLst>
            <pc:docMk/>
            <pc:sldMk cId="1889327200" sldId="1054"/>
            <ac:picMk id="30" creationId="{68DCB281-78BE-DF2B-09FB-7E179EBE0D1B}"/>
          </ac:picMkLst>
        </pc:picChg>
        <pc:picChg chg="add mod">
          <ac:chgData name="Kjetil Teigen Hansen (KTH)" userId="b00e1467-cd04-4012-9851-f763aaf02a55" providerId="ADAL" clId="{09BFAEE2-E7C9-4168-AE26-A9F556EF7F84}" dt="2024-09-07T13:16:45.219" v="640" actId="1076"/>
          <ac:picMkLst>
            <pc:docMk/>
            <pc:sldMk cId="1889327200" sldId="1054"/>
            <ac:picMk id="31" creationId="{811BC6EE-60C1-CD93-28BE-147099B16A09}"/>
          </ac:picMkLst>
        </pc:picChg>
        <pc:picChg chg="del mod">
          <ac:chgData name="Kjetil Teigen Hansen (KTH)" userId="b00e1467-cd04-4012-9851-f763aaf02a55" providerId="ADAL" clId="{09BFAEE2-E7C9-4168-AE26-A9F556EF7F84}" dt="2024-09-07T13:13:16.081" v="559" actId="478"/>
          <ac:picMkLst>
            <pc:docMk/>
            <pc:sldMk cId="1889327200" sldId="1054"/>
            <ac:picMk id="32" creationId="{731DB840-02A2-25A8-E5A1-FC0597D3F275}"/>
          </ac:picMkLst>
        </pc:picChg>
        <pc:picChg chg="add del mod">
          <ac:chgData name="Kjetil Teigen Hansen (KTH)" userId="b00e1467-cd04-4012-9851-f763aaf02a55" providerId="ADAL" clId="{09BFAEE2-E7C9-4168-AE26-A9F556EF7F84}" dt="2024-09-07T13:13:16.396" v="560" actId="478"/>
          <ac:picMkLst>
            <pc:docMk/>
            <pc:sldMk cId="1889327200" sldId="1054"/>
            <ac:picMk id="37" creationId="{A327B99C-8D46-E300-269C-0B795913628D}"/>
          </ac:picMkLst>
        </pc:picChg>
        <pc:picChg chg="add del mod">
          <ac:chgData name="Kjetil Teigen Hansen (KTH)" userId="b00e1467-cd04-4012-9851-f763aaf02a55" providerId="ADAL" clId="{09BFAEE2-E7C9-4168-AE26-A9F556EF7F84}" dt="2024-09-07T13:17:14.764" v="661" actId="478"/>
          <ac:picMkLst>
            <pc:docMk/>
            <pc:sldMk cId="1889327200" sldId="1054"/>
            <ac:picMk id="44" creationId="{EEE587D7-5402-11C3-4CAF-DD7742517492}"/>
          </ac:picMkLst>
        </pc:picChg>
        <pc:picChg chg="add mod">
          <ac:chgData name="Kjetil Teigen Hansen (KTH)" userId="b00e1467-cd04-4012-9851-f763aaf02a55" providerId="ADAL" clId="{09BFAEE2-E7C9-4168-AE26-A9F556EF7F84}" dt="2024-09-07T13:17:35.344" v="663" actId="1076"/>
          <ac:picMkLst>
            <pc:docMk/>
            <pc:sldMk cId="1889327200" sldId="1054"/>
            <ac:picMk id="48" creationId="{0E067FC7-D418-96C5-B894-EC54998E3E1E}"/>
          </ac:picMkLst>
        </pc:picChg>
        <pc:cxnChg chg="add mod">
          <ac:chgData name="Kjetil Teigen Hansen (KTH)" userId="b00e1467-cd04-4012-9851-f763aaf02a55" providerId="ADAL" clId="{09BFAEE2-E7C9-4168-AE26-A9F556EF7F84}" dt="2024-09-07T13:08:09.920" v="480" actId="14100"/>
          <ac:cxnSpMkLst>
            <pc:docMk/>
            <pc:sldMk cId="1889327200" sldId="1054"/>
            <ac:cxnSpMk id="9" creationId="{8471E704-0263-1927-DFCA-B0F3AFD77F2B}"/>
          </ac:cxnSpMkLst>
        </pc:cxnChg>
        <pc:cxnChg chg="mod ord">
          <ac:chgData name="Kjetil Teigen Hansen (KTH)" userId="b00e1467-cd04-4012-9851-f763aaf02a55" providerId="ADAL" clId="{09BFAEE2-E7C9-4168-AE26-A9F556EF7F84}" dt="2024-09-07T13:09:53.268" v="498" actId="14100"/>
          <ac:cxnSpMkLst>
            <pc:docMk/>
            <pc:sldMk cId="1889327200" sldId="1054"/>
            <ac:cxnSpMk id="22" creationId="{29A75A74-57D3-4375-477D-3500D5E16FAF}"/>
          </ac:cxnSpMkLst>
        </pc:cxnChg>
        <pc:cxnChg chg="mod ord">
          <ac:chgData name="Kjetil Teigen Hansen (KTH)" userId="b00e1467-cd04-4012-9851-f763aaf02a55" providerId="ADAL" clId="{09BFAEE2-E7C9-4168-AE26-A9F556EF7F84}" dt="2024-09-07T13:16:45.219" v="640" actId="1076"/>
          <ac:cxnSpMkLst>
            <pc:docMk/>
            <pc:sldMk cId="1889327200" sldId="1054"/>
            <ac:cxnSpMk id="33" creationId="{3FBE79D5-8528-2FF4-F59B-5C7B199048AE}"/>
          </ac:cxnSpMkLst>
        </pc:cxnChg>
        <pc:cxnChg chg="del mod ord">
          <ac:chgData name="Kjetil Teigen Hansen (KTH)" userId="b00e1467-cd04-4012-9851-f763aaf02a55" providerId="ADAL" clId="{09BFAEE2-E7C9-4168-AE26-A9F556EF7F84}" dt="2024-09-07T13:15:25.449" v="623" actId="478"/>
          <ac:cxnSpMkLst>
            <pc:docMk/>
            <pc:sldMk cId="1889327200" sldId="1054"/>
            <ac:cxnSpMk id="35" creationId="{5EE5554A-409A-358A-0280-12C62FCBAC88}"/>
          </ac:cxnSpMkLst>
        </pc:cxnChg>
        <pc:cxnChg chg="add mod">
          <ac:chgData name="Kjetil Teigen Hansen (KTH)" userId="b00e1467-cd04-4012-9851-f763aaf02a55" providerId="ADAL" clId="{09BFAEE2-E7C9-4168-AE26-A9F556EF7F84}" dt="2024-09-07T13:17:08.415" v="658" actId="14100"/>
          <ac:cxnSpMkLst>
            <pc:docMk/>
            <pc:sldMk cId="1889327200" sldId="1054"/>
            <ac:cxnSpMk id="36" creationId="{FDBCBEF1-58A8-A812-8FB1-33E9D9F2292D}"/>
          </ac:cxnSpMkLst>
        </pc:cxnChg>
        <pc:cxnChg chg="add mod">
          <ac:chgData name="Kjetil Teigen Hansen (KTH)" userId="b00e1467-cd04-4012-9851-f763aaf02a55" providerId="ADAL" clId="{09BFAEE2-E7C9-4168-AE26-A9F556EF7F84}" dt="2024-09-07T13:17:56.211" v="669" actId="14100"/>
          <ac:cxnSpMkLst>
            <pc:docMk/>
            <pc:sldMk cId="1889327200" sldId="1054"/>
            <ac:cxnSpMk id="49" creationId="{A7A5AFDE-8748-3A83-59C3-228AC0FEB725}"/>
          </ac:cxnSpMkLst>
        </pc:cxnChg>
      </pc:sldChg>
      <pc:sldChg chg="addSp delSp modSp mod">
        <pc:chgData name="Kjetil Teigen Hansen (KTH)" userId="b00e1467-cd04-4012-9851-f763aaf02a55" providerId="ADAL" clId="{09BFAEE2-E7C9-4168-AE26-A9F556EF7F84}" dt="2024-09-07T14:06:56.483" v="2115" actId="14100"/>
        <pc:sldMkLst>
          <pc:docMk/>
          <pc:sldMk cId="3079092685" sldId="1055"/>
        </pc:sldMkLst>
        <pc:spChg chg="add mod">
          <ac:chgData name="Kjetil Teigen Hansen (KTH)" userId="b00e1467-cd04-4012-9851-f763aaf02a55" providerId="ADAL" clId="{09BFAEE2-E7C9-4168-AE26-A9F556EF7F84}" dt="2024-09-07T13:31:21.221" v="1494" actId="1076"/>
          <ac:spMkLst>
            <pc:docMk/>
            <pc:sldMk cId="3079092685" sldId="1055"/>
            <ac:spMk id="6" creationId="{C9EDCB52-19F7-8070-2D0F-55F7ED455CD2}"/>
          </ac:spMkLst>
        </pc:spChg>
        <pc:spChg chg="mod">
          <ac:chgData name="Kjetil Teigen Hansen (KTH)" userId="b00e1467-cd04-4012-9851-f763aaf02a55" providerId="ADAL" clId="{09BFAEE2-E7C9-4168-AE26-A9F556EF7F84}" dt="2024-09-07T13:30:23.154" v="1430" actId="20577"/>
          <ac:spMkLst>
            <pc:docMk/>
            <pc:sldMk cId="3079092685" sldId="1055"/>
            <ac:spMk id="9" creationId="{B2DA24EF-7FF1-F9B1-988F-B7110363BB17}"/>
          </ac:spMkLst>
        </pc:spChg>
        <pc:spChg chg="del">
          <ac:chgData name="Kjetil Teigen Hansen (KTH)" userId="b00e1467-cd04-4012-9851-f763aaf02a55" providerId="ADAL" clId="{09BFAEE2-E7C9-4168-AE26-A9F556EF7F84}" dt="2024-09-07T13:29:32.364" v="1321" actId="478"/>
          <ac:spMkLst>
            <pc:docMk/>
            <pc:sldMk cId="3079092685" sldId="1055"/>
            <ac:spMk id="12" creationId="{74572F38-352E-A823-A504-BB80697FDF0C}"/>
          </ac:spMkLst>
        </pc:spChg>
        <pc:spChg chg="mod">
          <ac:chgData name="Kjetil Teigen Hansen (KTH)" userId="b00e1467-cd04-4012-9851-f763aaf02a55" providerId="ADAL" clId="{09BFAEE2-E7C9-4168-AE26-A9F556EF7F84}" dt="2024-09-07T13:30:16.785" v="1427" actId="1038"/>
          <ac:spMkLst>
            <pc:docMk/>
            <pc:sldMk cId="3079092685" sldId="1055"/>
            <ac:spMk id="16" creationId="{C64D0783-B8E0-D7D9-EC7F-2B22B3E3C86B}"/>
          </ac:spMkLst>
        </pc:spChg>
        <pc:picChg chg="add mod">
          <ac:chgData name="Kjetil Teigen Hansen (KTH)" userId="b00e1467-cd04-4012-9851-f763aaf02a55" providerId="ADAL" clId="{09BFAEE2-E7C9-4168-AE26-A9F556EF7F84}" dt="2024-09-07T13:31:26.089" v="1497" actId="14100"/>
          <ac:picMkLst>
            <pc:docMk/>
            <pc:sldMk cId="3079092685" sldId="1055"/>
            <ac:picMk id="5" creationId="{673B1770-01E3-04EB-9C79-24B0B2E7C1D2}"/>
          </ac:picMkLst>
        </pc:picChg>
        <pc:picChg chg="mod">
          <ac:chgData name="Kjetil Teigen Hansen (KTH)" userId="b00e1467-cd04-4012-9851-f763aaf02a55" providerId="ADAL" clId="{09BFAEE2-E7C9-4168-AE26-A9F556EF7F84}" dt="2024-09-07T13:30:58.175" v="1437" actId="1076"/>
          <ac:picMkLst>
            <pc:docMk/>
            <pc:sldMk cId="3079092685" sldId="1055"/>
            <ac:picMk id="13" creationId="{62F26CA1-1446-D9BF-C0CF-DCC7CB88467E}"/>
          </ac:picMkLst>
        </pc:picChg>
        <pc:picChg chg="mod">
          <ac:chgData name="Kjetil Teigen Hansen (KTH)" userId="b00e1467-cd04-4012-9851-f763aaf02a55" providerId="ADAL" clId="{09BFAEE2-E7C9-4168-AE26-A9F556EF7F84}" dt="2024-09-07T13:30:13.158" v="1421" actId="1076"/>
          <ac:picMkLst>
            <pc:docMk/>
            <pc:sldMk cId="3079092685" sldId="1055"/>
            <ac:picMk id="15" creationId="{33E2FC05-AA44-86A3-10A4-25A2660C8478}"/>
          </ac:picMkLst>
        </pc:picChg>
        <pc:picChg chg="mod">
          <ac:chgData name="Kjetil Teigen Hansen (KTH)" userId="b00e1467-cd04-4012-9851-f763aaf02a55" providerId="ADAL" clId="{09BFAEE2-E7C9-4168-AE26-A9F556EF7F84}" dt="2024-09-07T13:29:41.998" v="1326" actId="1076"/>
          <ac:picMkLst>
            <pc:docMk/>
            <pc:sldMk cId="3079092685" sldId="1055"/>
            <ac:picMk id="18" creationId="{48F101A1-3F10-9E90-AFAB-595E7E76A5B2}"/>
          </ac:picMkLst>
        </pc:picChg>
        <pc:cxnChg chg="add mod">
          <ac:chgData name="Kjetil Teigen Hansen (KTH)" userId="b00e1467-cd04-4012-9851-f763aaf02a55" providerId="ADAL" clId="{09BFAEE2-E7C9-4168-AE26-A9F556EF7F84}" dt="2024-09-07T14:06:56.483" v="2115" actId="14100"/>
          <ac:cxnSpMkLst>
            <pc:docMk/>
            <pc:sldMk cId="3079092685" sldId="1055"/>
            <ac:cxnSpMk id="7" creationId="{1A22CD9F-4043-CCDD-84D7-5A122BCA4BB7}"/>
          </ac:cxnSpMkLst>
        </pc:cxnChg>
        <pc:cxnChg chg="del">
          <ac:chgData name="Kjetil Teigen Hansen (KTH)" userId="b00e1467-cd04-4012-9851-f763aaf02a55" providerId="ADAL" clId="{09BFAEE2-E7C9-4168-AE26-A9F556EF7F84}" dt="2024-09-07T13:29:31.755" v="1320" actId="478"/>
          <ac:cxnSpMkLst>
            <pc:docMk/>
            <pc:sldMk cId="3079092685" sldId="1055"/>
            <ac:cxnSpMk id="8" creationId="{8F31DA23-1BAE-EAEC-6C79-03A0B4F56433}"/>
          </ac:cxnSpMkLst>
        </pc:cxnChg>
      </pc:sldChg>
      <pc:sldChg chg="addSp delSp modSp add mod">
        <pc:chgData name="Kjetil Teigen Hansen (KTH)" userId="b00e1467-cd04-4012-9851-f763aaf02a55" providerId="ADAL" clId="{09BFAEE2-E7C9-4168-AE26-A9F556EF7F84}" dt="2024-09-07T13:23:58.221" v="873" actId="14100"/>
        <pc:sldMkLst>
          <pc:docMk/>
          <pc:sldMk cId="3434126760" sldId="1056"/>
        </pc:sldMkLst>
        <pc:spChg chg="del">
          <ac:chgData name="Kjetil Teigen Hansen (KTH)" userId="b00e1467-cd04-4012-9851-f763aaf02a55" providerId="ADAL" clId="{09BFAEE2-E7C9-4168-AE26-A9F556EF7F84}" dt="2024-09-07T13:18:31.412" v="680" actId="478"/>
          <ac:spMkLst>
            <pc:docMk/>
            <pc:sldMk cId="3434126760" sldId="1056"/>
            <ac:spMk id="15" creationId="{3A1DBECD-E0BB-E872-E7F1-BFF05131CA64}"/>
          </ac:spMkLst>
        </pc:spChg>
        <pc:spChg chg="del">
          <ac:chgData name="Kjetil Teigen Hansen (KTH)" userId="b00e1467-cd04-4012-9851-f763aaf02a55" providerId="ADAL" clId="{09BFAEE2-E7C9-4168-AE26-A9F556EF7F84}" dt="2024-09-07T13:18:29.289" v="678" actId="478"/>
          <ac:spMkLst>
            <pc:docMk/>
            <pc:sldMk cId="3434126760" sldId="1056"/>
            <ac:spMk id="16" creationId="{339188E5-37DB-E3A5-28A7-48951F65FD19}"/>
          </ac:spMkLst>
        </pc:spChg>
        <pc:spChg chg="del">
          <ac:chgData name="Kjetil Teigen Hansen (KTH)" userId="b00e1467-cd04-4012-9851-f763aaf02a55" providerId="ADAL" clId="{09BFAEE2-E7C9-4168-AE26-A9F556EF7F84}" dt="2024-09-07T13:18:26.551" v="676" actId="478"/>
          <ac:spMkLst>
            <pc:docMk/>
            <pc:sldMk cId="3434126760" sldId="1056"/>
            <ac:spMk id="18" creationId="{D2DDF42D-5B51-0099-63A9-F7FA84C65A80}"/>
          </ac:spMkLst>
        </pc:spChg>
        <pc:spChg chg="mod">
          <ac:chgData name="Kjetil Teigen Hansen (KTH)" userId="b00e1467-cd04-4012-9851-f763aaf02a55" providerId="ADAL" clId="{09BFAEE2-E7C9-4168-AE26-A9F556EF7F84}" dt="2024-09-07T13:23:42.581" v="866" actId="20577"/>
          <ac:spMkLst>
            <pc:docMk/>
            <pc:sldMk cId="3434126760" sldId="1056"/>
            <ac:spMk id="181" creationId="{00000000-0000-0000-0000-000000000000}"/>
          </ac:spMkLst>
        </pc:spChg>
        <pc:picChg chg="del">
          <ac:chgData name="Kjetil Teigen Hansen (KTH)" userId="b00e1467-cd04-4012-9851-f763aaf02a55" providerId="ADAL" clId="{09BFAEE2-E7C9-4168-AE26-A9F556EF7F84}" dt="2024-09-07T13:18:26.919" v="677" actId="478"/>
          <ac:picMkLst>
            <pc:docMk/>
            <pc:sldMk cId="3434126760" sldId="1056"/>
            <ac:picMk id="5" creationId="{0B02106E-C229-85D6-0678-A33DB39E7C3A}"/>
          </ac:picMkLst>
        </pc:picChg>
        <pc:picChg chg="add del mod">
          <ac:chgData name="Kjetil Teigen Hansen (KTH)" userId="b00e1467-cd04-4012-9851-f763aaf02a55" providerId="ADAL" clId="{09BFAEE2-E7C9-4168-AE26-A9F556EF7F84}" dt="2024-09-07T13:23:11.453" v="804" actId="1076"/>
          <ac:picMkLst>
            <pc:docMk/>
            <pc:sldMk cId="3434126760" sldId="1056"/>
            <ac:picMk id="6" creationId="{2B84C098-D291-2F9E-2202-2245660284B7}"/>
          </ac:picMkLst>
        </pc:picChg>
        <pc:picChg chg="del">
          <ac:chgData name="Kjetil Teigen Hansen (KTH)" userId="b00e1467-cd04-4012-9851-f763aaf02a55" providerId="ADAL" clId="{09BFAEE2-E7C9-4168-AE26-A9F556EF7F84}" dt="2024-09-07T13:18:32.018" v="681" actId="478"/>
          <ac:picMkLst>
            <pc:docMk/>
            <pc:sldMk cId="3434126760" sldId="1056"/>
            <ac:picMk id="11" creationId="{E2B53966-16EC-6009-E38A-126AE1138445}"/>
          </ac:picMkLst>
        </pc:picChg>
        <pc:picChg chg="add mod">
          <ac:chgData name="Kjetil Teigen Hansen (KTH)" userId="b00e1467-cd04-4012-9851-f763aaf02a55" providerId="ADAL" clId="{09BFAEE2-E7C9-4168-AE26-A9F556EF7F84}" dt="2024-09-07T13:23:14.250" v="805" actId="1076"/>
          <ac:picMkLst>
            <pc:docMk/>
            <pc:sldMk cId="3434126760" sldId="1056"/>
            <ac:picMk id="19" creationId="{A46106E6-8576-A2A2-4DB6-58115B296A86}"/>
          </ac:picMkLst>
        </pc:picChg>
        <pc:picChg chg="del">
          <ac:chgData name="Kjetil Teigen Hansen (KTH)" userId="b00e1467-cd04-4012-9851-f763aaf02a55" providerId="ADAL" clId="{09BFAEE2-E7C9-4168-AE26-A9F556EF7F84}" dt="2024-09-07T13:18:25.494" v="675" actId="478"/>
          <ac:picMkLst>
            <pc:docMk/>
            <pc:sldMk cId="3434126760" sldId="1056"/>
            <ac:picMk id="20" creationId="{C7F6C538-0825-A283-B4CE-DD2C0C435C56}"/>
          </ac:picMkLst>
        </pc:picChg>
        <pc:picChg chg="del">
          <ac:chgData name="Kjetil Teigen Hansen (KTH)" userId="b00e1467-cd04-4012-9851-f763aaf02a55" providerId="ADAL" clId="{09BFAEE2-E7C9-4168-AE26-A9F556EF7F84}" dt="2024-09-07T13:18:29.716" v="679" actId="478"/>
          <ac:picMkLst>
            <pc:docMk/>
            <pc:sldMk cId="3434126760" sldId="1056"/>
            <ac:picMk id="24" creationId="{7C98043E-4284-5E17-1494-8B25D8C39AC8}"/>
          </ac:picMkLst>
        </pc:picChg>
        <pc:picChg chg="del">
          <ac:chgData name="Kjetil Teigen Hansen (KTH)" userId="b00e1467-cd04-4012-9851-f763aaf02a55" providerId="ADAL" clId="{09BFAEE2-E7C9-4168-AE26-A9F556EF7F84}" dt="2024-09-07T13:20:42.778" v="685" actId="478"/>
          <ac:picMkLst>
            <pc:docMk/>
            <pc:sldMk cId="3434126760" sldId="1056"/>
            <ac:picMk id="28" creationId="{4AA29CEF-49EA-6D2C-0E6D-50383CE9A31D}"/>
          </ac:picMkLst>
        </pc:picChg>
        <pc:picChg chg="add mod">
          <ac:chgData name="Kjetil Teigen Hansen (KTH)" userId="b00e1467-cd04-4012-9851-f763aaf02a55" providerId="ADAL" clId="{09BFAEE2-E7C9-4168-AE26-A9F556EF7F84}" dt="2024-09-07T13:23:45.471" v="867" actId="1076"/>
          <ac:picMkLst>
            <pc:docMk/>
            <pc:sldMk cId="3434126760" sldId="1056"/>
            <ac:picMk id="30" creationId="{B06F44D2-185A-A163-9683-9B1C84C68F09}"/>
          </ac:picMkLst>
        </pc:picChg>
        <pc:cxnChg chg="add mod ord">
          <ac:chgData name="Kjetil Teigen Hansen (KTH)" userId="b00e1467-cd04-4012-9851-f763aaf02a55" providerId="ADAL" clId="{09BFAEE2-E7C9-4168-AE26-A9F556EF7F84}" dt="2024-09-07T13:23:16.132" v="806" actId="14100"/>
          <ac:cxnSpMkLst>
            <pc:docMk/>
            <pc:sldMk cId="3434126760" sldId="1056"/>
            <ac:cxnSpMk id="7" creationId="{5DEC0DC6-C37D-F71C-A406-0B0EEB86BA2E}"/>
          </ac:cxnSpMkLst>
        </pc:cxnChg>
        <pc:cxnChg chg="add mod ord">
          <ac:chgData name="Kjetil Teigen Hansen (KTH)" userId="b00e1467-cd04-4012-9851-f763aaf02a55" providerId="ADAL" clId="{09BFAEE2-E7C9-4168-AE26-A9F556EF7F84}" dt="2024-09-07T13:23:19.214" v="807" actId="1076"/>
          <ac:cxnSpMkLst>
            <pc:docMk/>
            <pc:sldMk cId="3434126760" sldId="1056"/>
            <ac:cxnSpMk id="9" creationId="{0066E16B-10AE-5344-1E17-B9398DFD43F8}"/>
          </ac:cxnSpMkLst>
        </pc:cxnChg>
        <pc:cxnChg chg="del mod">
          <ac:chgData name="Kjetil Teigen Hansen (KTH)" userId="b00e1467-cd04-4012-9851-f763aaf02a55" providerId="ADAL" clId="{09BFAEE2-E7C9-4168-AE26-A9F556EF7F84}" dt="2024-09-07T13:18:32.709" v="682" actId="478"/>
          <ac:cxnSpMkLst>
            <pc:docMk/>
            <pc:sldMk cId="3434126760" sldId="1056"/>
            <ac:cxnSpMk id="17" creationId="{A15BB1B1-9746-6BAC-ABEB-9FE39548A124}"/>
          </ac:cxnSpMkLst>
        </pc:cxnChg>
        <pc:cxnChg chg="del">
          <ac:chgData name="Kjetil Teigen Hansen (KTH)" userId="b00e1467-cd04-4012-9851-f763aaf02a55" providerId="ADAL" clId="{09BFAEE2-E7C9-4168-AE26-A9F556EF7F84}" dt="2024-09-07T13:18:34.523" v="684" actId="478"/>
          <ac:cxnSpMkLst>
            <pc:docMk/>
            <pc:sldMk cId="3434126760" sldId="1056"/>
            <ac:cxnSpMk id="21" creationId="{30B39F66-DE5F-025A-D9CA-A2D7816DC6F4}"/>
          </ac:cxnSpMkLst>
        </pc:cxnChg>
        <pc:cxnChg chg="add del mod">
          <ac:chgData name="Kjetil Teigen Hansen (KTH)" userId="b00e1467-cd04-4012-9851-f763aaf02a55" providerId="ADAL" clId="{09BFAEE2-E7C9-4168-AE26-A9F556EF7F84}" dt="2024-09-07T13:23:50.614" v="869" actId="21"/>
          <ac:cxnSpMkLst>
            <pc:docMk/>
            <pc:sldMk cId="3434126760" sldId="1056"/>
            <ac:cxnSpMk id="23" creationId="{03369816-74D5-0E35-1719-74251CA15561}"/>
          </ac:cxnSpMkLst>
        </pc:cxnChg>
        <pc:cxnChg chg="del">
          <ac:chgData name="Kjetil Teigen Hansen (KTH)" userId="b00e1467-cd04-4012-9851-f763aaf02a55" providerId="ADAL" clId="{09BFAEE2-E7C9-4168-AE26-A9F556EF7F84}" dt="2024-09-07T13:18:33.669" v="683" actId="478"/>
          <ac:cxnSpMkLst>
            <pc:docMk/>
            <pc:sldMk cId="3434126760" sldId="1056"/>
            <ac:cxnSpMk id="25" creationId="{82DDF8C8-4574-5288-41E0-3C22D7AD9214}"/>
          </ac:cxnSpMkLst>
        </pc:cxnChg>
        <pc:cxnChg chg="add mod">
          <ac:chgData name="Kjetil Teigen Hansen (KTH)" userId="b00e1467-cd04-4012-9851-f763aaf02a55" providerId="ADAL" clId="{09BFAEE2-E7C9-4168-AE26-A9F556EF7F84}" dt="2024-09-07T13:23:58.221" v="873" actId="14100"/>
          <ac:cxnSpMkLst>
            <pc:docMk/>
            <pc:sldMk cId="3434126760" sldId="1056"/>
            <ac:cxnSpMk id="32" creationId="{9A96CED8-A146-3CE1-39B4-E01E6407F1E5}"/>
          </ac:cxnSpMkLst>
        </pc:cxnChg>
      </pc:sldChg>
      <pc:sldChg chg="addSp delSp modSp add mod">
        <pc:chgData name="Kjetil Teigen Hansen (KTH)" userId="b00e1467-cd04-4012-9851-f763aaf02a55" providerId="ADAL" clId="{09BFAEE2-E7C9-4168-AE26-A9F556EF7F84}" dt="2024-09-07T13:29:06.374" v="1316" actId="1076"/>
        <pc:sldMkLst>
          <pc:docMk/>
          <pc:sldMk cId="369305814" sldId="1057"/>
        </pc:sldMkLst>
        <pc:spChg chg="del">
          <ac:chgData name="Kjetil Teigen Hansen (KTH)" userId="b00e1467-cd04-4012-9851-f763aaf02a55" providerId="ADAL" clId="{09BFAEE2-E7C9-4168-AE26-A9F556EF7F84}" dt="2024-09-07T13:25:23.865" v="928" actId="478"/>
          <ac:spMkLst>
            <pc:docMk/>
            <pc:sldMk cId="369305814" sldId="1057"/>
            <ac:spMk id="12" creationId="{74572F38-352E-A823-A504-BB80697FDF0C}"/>
          </ac:spMkLst>
        </pc:spChg>
        <pc:spChg chg="mod">
          <ac:chgData name="Kjetil Teigen Hansen (KTH)" userId="b00e1467-cd04-4012-9851-f763aaf02a55" providerId="ADAL" clId="{09BFAEE2-E7C9-4168-AE26-A9F556EF7F84}" dt="2024-09-07T13:28:46.323" v="1312" actId="20577"/>
          <ac:spMkLst>
            <pc:docMk/>
            <pc:sldMk cId="369305814" sldId="1057"/>
            <ac:spMk id="13" creationId="{9BA6C978-19CF-7181-4570-4FCE9A0BD06B}"/>
          </ac:spMkLst>
        </pc:spChg>
        <pc:spChg chg="mod">
          <ac:chgData name="Kjetil Teigen Hansen (KTH)" userId="b00e1467-cd04-4012-9851-f763aaf02a55" providerId="ADAL" clId="{09BFAEE2-E7C9-4168-AE26-A9F556EF7F84}" dt="2024-09-07T13:24:40.839" v="925" actId="20577"/>
          <ac:spMkLst>
            <pc:docMk/>
            <pc:sldMk cId="369305814" sldId="1057"/>
            <ac:spMk id="180" creationId="{00000000-0000-0000-0000-000000000000}"/>
          </ac:spMkLst>
        </pc:spChg>
        <pc:picChg chg="del">
          <ac:chgData name="Kjetil Teigen Hansen (KTH)" userId="b00e1467-cd04-4012-9851-f763aaf02a55" providerId="ADAL" clId="{09BFAEE2-E7C9-4168-AE26-A9F556EF7F84}" dt="2024-09-07T13:25:21.134" v="926" actId="478"/>
          <ac:picMkLst>
            <pc:docMk/>
            <pc:sldMk cId="369305814" sldId="1057"/>
            <ac:picMk id="5" creationId="{61EDD2F5-A2D3-410E-CADF-BD3DFEF9337B}"/>
          </ac:picMkLst>
        </pc:picChg>
        <pc:picChg chg="add mod">
          <ac:chgData name="Kjetil Teigen Hansen (KTH)" userId="b00e1467-cd04-4012-9851-f763aaf02a55" providerId="ADAL" clId="{09BFAEE2-E7C9-4168-AE26-A9F556EF7F84}" dt="2024-09-07T13:26:34.195" v="1025" actId="1076"/>
          <ac:picMkLst>
            <pc:docMk/>
            <pc:sldMk cId="369305814" sldId="1057"/>
            <ac:picMk id="6" creationId="{6829674F-A9C1-BA29-C8C3-493E32F46454}"/>
          </ac:picMkLst>
        </pc:picChg>
        <pc:picChg chg="del">
          <ac:chgData name="Kjetil Teigen Hansen (KTH)" userId="b00e1467-cd04-4012-9851-f763aaf02a55" providerId="ADAL" clId="{09BFAEE2-E7C9-4168-AE26-A9F556EF7F84}" dt="2024-09-07T13:25:26.384" v="930" actId="478"/>
          <ac:picMkLst>
            <pc:docMk/>
            <pc:sldMk cId="369305814" sldId="1057"/>
            <ac:picMk id="7" creationId="{4E9F689C-B396-F332-4BA8-A60166739F8D}"/>
          </ac:picMkLst>
        </pc:picChg>
        <pc:picChg chg="add mod">
          <ac:chgData name="Kjetil Teigen Hansen (KTH)" userId="b00e1467-cd04-4012-9851-f763aaf02a55" providerId="ADAL" clId="{09BFAEE2-E7C9-4168-AE26-A9F556EF7F84}" dt="2024-09-07T13:27:03.864" v="1083" actId="14100"/>
          <ac:picMkLst>
            <pc:docMk/>
            <pc:sldMk cId="369305814" sldId="1057"/>
            <ac:picMk id="10" creationId="{91C4617E-CC8F-D1EE-409C-0A209576574F}"/>
          </ac:picMkLst>
        </pc:picChg>
        <pc:picChg chg="del">
          <ac:chgData name="Kjetil Teigen Hansen (KTH)" userId="b00e1467-cd04-4012-9851-f763aaf02a55" providerId="ADAL" clId="{09BFAEE2-E7C9-4168-AE26-A9F556EF7F84}" dt="2024-09-07T13:25:22.649" v="927" actId="478"/>
          <ac:picMkLst>
            <pc:docMk/>
            <pc:sldMk cId="369305814" sldId="1057"/>
            <ac:picMk id="11" creationId="{7CF3E698-020D-8D36-80C7-1BD3A34B8737}"/>
          </ac:picMkLst>
        </pc:picChg>
        <pc:picChg chg="add mod">
          <ac:chgData name="Kjetil Teigen Hansen (KTH)" userId="b00e1467-cd04-4012-9851-f763aaf02a55" providerId="ADAL" clId="{09BFAEE2-E7C9-4168-AE26-A9F556EF7F84}" dt="2024-09-07T13:29:06.374" v="1316" actId="1076"/>
          <ac:picMkLst>
            <pc:docMk/>
            <pc:sldMk cId="369305814" sldId="1057"/>
            <ac:picMk id="22" creationId="{BA2B4A87-62B5-A836-446D-351C6F3B608C}"/>
          </ac:picMkLst>
        </pc:picChg>
        <pc:cxnChg chg="del">
          <ac:chgData name="Kjetil Teigen Hansen (KTH)" userId="b00e1467-cd04-4012-9851-f763aaf02a55" providerId="ADAL" clId="{09BFAEE2-E7C9-4168-AE26-A9F556EF7F84}" dt="2024-09-07T13:25:25.836" v="929" actId="478"/>
          <ac:cxnSpMkLst>
            <pc:docMk/>
            <pc:sldMk cId="369305814" sldId="1057"/>
            <ac:cxnSpMk id="8" creationId="{8F31DA23-1BAE-EAEC-6C79-03A0B4F56433}"/>
          </ac:cxnSpMkLst>
        </pc:cxnChg>
        <pc:cxnChg chg="add mod">
          <ac:chgData name="Kjetil Teigen Hansen (KTH)" userId="b00e1467-cd04-4012-9851-f763aaf02a55" providerId="ADAL" clId="{09BFAEE2-E7C9-4168-AE26-A9F556EF7F84}" dt="2024-09-07T13:27:12.774" v="1086" actId="1076"/>
          <ac:cxnSpMkLst>
            <pc:docMk/>
            <pc:sldMk cId="369305814" sldId="1057"/>
            <ac:cxnSpMk id="14" creationId="{466727A5-B254-D890-8C16-39F965848203}"/>
          </ac:cxnSpMkLst>
        </pc:cxnChg>
        <pc:cxnChg chg="add mod">
          <ac:chgData name="Kjetil Teigen Hansen (KTH)" userId="b00e1467-cd04-4012-9851-f763aaf02a55" providerId="ADAL" clId="{09BFAEE2-E7C9-4168-AE26-A9F556EF7F84}" dt="2024-09-07T13:27:21.310" v="1091" actId="14100"/>
          <ac:cxnSpMkLst>
            <pc:docMk/>
            <pc:sldMk cId="369305814" sldId="1057"/>
            <ac:cxnSpMk id="18" creationId="{98F99124-07DC-2C0B-D455-83617720A8D8}"/>
          </ac:cxnSpMkLst>
        </pc:cxnChg>
      </pc:sldChg>
      <pc:sldChg chg="new del">
        <pc:chgData name="Kjetil Teigen Hansen (KTH)" userId="b00e1467-cd04-4012-9851-f763aaf02a55" providerId="ADAL" clId="{09BFAEE2-E7C9-4168-AE26-A9F556EF7F84}" dt="2024-09-07T13:47:32.001" v="2056" actId="47"/>
        <pc:sldMkLst>
          <pc:docMk/>
          <pc:sldMk cId="3185351084" sldId="1058"/>
        </pc:sldMkLst>
      </pc:sldChg>
      <pc:sldChg chg="addSp delSp modSp add mod">
        <pc:chgData name="Kjetil Teigen Hansen (KTH)" userId="b00e1467-cd04-4012-9851-f763aaf02a55" providerId="ADAL" clId="{09BFAEE2-E7C9-4168-AE26-A9F556EF7F84}" dt="2024-09-07T15:00:41.531" v="2190" actId="1076"/>
        <pc:sldMkLst>
          <pc:docMk/>
          <pc:sldMk cId="3824588438" sldId="1058"/>
        </pc:sldMkLst>
        <pc:spChg chg="mod">
          <ac:chgData name="Kjetil Teigen Hansen (KTH)" userId="b00e1467-cd04-4012-9851-f763aaf02a55" providerId="ADAL" clId="{09BFAEE2-E7C9-4168-AE26-A9F556EF7F84}" dt="2024-09-07T14:05:38.586" v="2103" actId="20577"/>
          <ac:spMkLst>
            <pc:docMk/>
            <pc:sldMk cId="3824588438" sldId="1058"/>
            <ac:spMk id="180" creationId="{00000000-0000-0000-0000-000000000000}"/>
          </ac:spMkLst>
        </pc:spChg>
        <pc:picChg chg="del">
          <ac:chgData name="Kjetil Teigen Hansen (KTH)" userId="b00e1467-cd04-4012-9851-f763aaf02a55" providerId="ADAL" clId="{09BFAEE2-E7C9-4168-AE26-A9F556EF7F84}" dt="2024-09-07T14:05:40.153" v="2104" actId="478"/>
          <ac:picMkLst>
            <pc:docMk/>
            <pc:sldMk cId="3824588438" sldId="1058"/>
            <ac:picMk id="5" creationId="{4E7607A7-4FEE-A46B-BF48-AE65FC6B126C}"/>
          </ac:picMkLst>
        </pc:picChg>
        <pc:picChg chg="add del mod">
          <ac:chgData name="Kjetil Teigen Hansen (KTH)" userId="b00e1467-cd04-4012-9851-f763aaf02a55" providerId="ADAL" clId="{09BFAEE2-E7C9-4168-AE26-A9F556EF7F84}" dt="2024-09-07T15:00:34.663" v="2185" actId="478"/>
          <ac:picMkLst>
            <pc:docMk/>
            <pc:sldMk cId="3824588438" sldId="1058"/>
            <ac:picMk id="8" creationId="{94A631D6-6A4B-020A-AE63-20D4D0BF8533}"/>
          </ac:picMkLst>
        </pc:picChg>
        <pc:picChg chg="add mod">
          <ac:chgData name="Kjetil Teigen Hansen (KTH)" userId="b00e1467-cd04-4012-9851-f763aaf02a55" providerId="ADAL" clId="{09BFAEE2-E7C9-4168-AE26-A9F556EF7F84}" dt="2024-09-07T15:00:41.531" v="2190" actId="1076"/>
          <ac:picMkLst>
            <pc:docMk/>
            <pc:sldMk cId="3824588438" sldId="1058"/>
            <ac:picMk id="10" creationId="{F5EB3B6A-F72C-D695-BB06-80016894F4DE}"/>
          </ac:picMkLst>
        </pc:picChg>
      </pc:sldChg>
      <pc:sldChg chg="delSp modSp add del mod">
        <pc:chgData name="Kjetil Teigen Hansen (KTH)" userId="b00e1467-cd04-4012-9851-f763aaf02a55" providerId="ADAL" clId="{09BFAEE2-E7C9-4168-AE26-A9F556EF7F84}" dt="2024-09-07T14:05:15.865" v="2100" actId="47"/>
        <pc:sldMkLst>
          <pc:docMk/>
          <pc:sldMk cId="4033659338" sldId="1058"/>
        </pc:sldMkLst>
        <pc:spChg chg="mod">
          <ac:chgData name="Kjetil Teigen Hansen (KTH)" userId="b00e1467-cd04-4012-9851-f763aaf02a55" providerId="ADAL" clId="{09BFAEE2-E7C9-4168-AE26-A9F556EF7F84}" dt="2024-09-07T13:47:41.101" v="2081" actId="20577"/>
          <ac:spMkLst>
            <pc:docMk/>
            <pc:sldMk cId="4033659338" sldId="1058"/>
            <ac:spMk id="180" creationId="{00000000-0000-0000-0000-000000000000}"/>
          </ac:spMkLst>
        </pc:spChg>
        <pc:picChg chg="del">
          <ac:chgData name="Kjetil Teigen Hansen (KTH)" userId="b00e1467-cd04-4012-9851-f763aaf02a55" providerId="ADAL" clId="{09BFAEE2-E7C9-4168-AE26-A9F556EF7F84}" dt="2024-09-07T13:47:35.379" v="2058" actId="478"/>
          <ac:picMkLst>
            <pc:docMk/>
            <pc:sldMk cId="4033659338" sldId="1058"/>
            <ac:picMk id="5" creationId="{4E7607A7-4FEE-A46B-BF48-AE65FC6B126C}"/>
          </ac:picMkLst>
        </pc:picChg>
      </pc:sldChg>
      <pc:sldChg chg="new del">
        <pc:chgData name="Kjetil Teigen Hansen (KTH)" userId="b00e1467-cd04-4012-9851-f763aaf02a55" providerId="ADAL" clId="{09BFAEE2-E7C9-4168-AE26-A9F556EF7F84}" dt="2024-09-07T14:07:31.394" v="2117" actId="47"/>
        <pc:sldMkLst>
          <pc:docMk/>
          <pc:sldMk cId="1381573426" sldId="1059"/>
        </pc:sldMkLst>
      </pc:sldChg>
      <pc:sldChg chg="addSp delSp modSp add mod">
        <pc:chgData name="Kjetil Teigen Hansen (KTH)" userId="b00e1467-cd04-4012-9851-f763aaf02a55" providerId="ADAL" clId="{09BFAEE2-E7C9-4168-AE26-A9F556EF7F84}" dt="2024-09-07T14:08:52.827" v="2177" actId="14100"/>
        <pc:sldMkLst>
          <pc:docMk/>
          <pc:sldMk cId="2110742668" sldId="1059"/>
        </pc:sldMkLst>
        <pc:spChg chg="add mod">
          <ac:chgData name="Kjetil Teigen Hansen (KTH)" userId="b00e1467-cd04-4012-9851-f763aaf02a55" providerId="ADAL" clId="{09BFAEE2-E7C9-4168-AE26-A9F556EF7F84}" dt="2024-09-07T14:08:41.660" v="2173" actId="14100"/>
          <ac:spMkLst>
            <pc:docMk/>
            <pc:sldMk cId="2110742668" sldId="1059"/>
            <ac:spMk id="15" creationId="{5DEC4C56-2F0C-2608-9DAF-6C680EF38DC6}"/>
          </ac:spMkLst>
        </pc:spChg>
        <pc:spChg chg="mod">
          <ac:chgData name="Kjetil Teigen Hansen (KTH)" userId="b00e1467-cd04-4012-9851-f763aaf02a55" providerId="ADAL" clId="{09BFAEE2-E7C9-4168-AE26-A9F556EF7F84}" dt="2024-09-07T14:07:41.320" v="2153" actId="20577"/>
          <ac:spMkLst>
            <pc:docMk/>
            <pc:sldMk cId="2110742668" sldId="1059"/>
            <ac:spMk id="180" creationId="{00000000-0000-0000-0000-000000000000}"/>
          </ac:spMkLst>
        </pc:spChg>
        <pc:picChg chg="add mod">
          <ac:chgData name="Kjetil Teigen Hansen (KTH)" userId="b00e1467-cd04-4012-9851-f763aaf02a55" providerId="ADAL" clId="{09BFAEE2-E7C9-4168-AE26-A9F556EF7F84}" dt="2024-09-07T14:08:27.172" v="2165" actId="1076"/>
          <ac:picMkLst>
            <pc:docMk/>
            <pc:sldMk cId="2110742668" sldId="1059"/>
            <ac:picMk id="5" creationId="{CA34340B-21CB-8F62-F694-8DA4EE11F656}"/>
          </ac:picMkLst>
        </pc:picChg>
        <pc:picChg chg="del">
          <ac:chgData name="Kjetil Teigen Hansen (KTH)" userId="b00e1467-cd04-4012-9851-f763aaf02a55" providerId="ADAL" clId="{09BFAEE2-E7C9-4168-AE26-A9F556EF7F84}" dt="2024-09-07T14:07:42.557" v="2154" actId="478"/>
          <ac:picMkLst>
            <pc:docMk/>
            <pc:sldMk cId="2110742668" sldId="1059"/>
            <ac:picMk id="8" creationId="{94A631D6-6A4B-020A-AE63-20D4D0BF8533}"/>
          </ac:picMkLst>
        </pc:picChg>
        <pc:picChg chg="add mod">
          <ac:chgData name="Kjetil Teigen Hansen (KTH)" userId="b00e1467-cd04-4012-9851-f763aaf02a55" providerId="ADAL" clId="{09BFAEE2-E7C9-4168-AE26-A9F556EF7F84}" dt="2024-09-07T14:08:16.753" v="2164"/>
          <ac:picMkLst>
            <pc:docMk/>
            <pc:sldMk cId="2110742668" sldId="1059"/>
            <ac:picMk id="13" creationId="{CCBE7B79-A472-32D2-F69B-4E2FC1B1558E}"/>
          </ac:picMkLst>
        </pc:picChg>
        <pc:cxnChg chg="add mod">
          <ac:chgData name="Kjetil Teigen Hansen (KTH)" userId="b00e1467-cd04-4012-9851-f763aaf02a55" providerId="ADAL" clId="{09BFAEE2-E7C9-4168-AE26-A9F556EF7F84}" dt="2024-09-07T14:08:52.827" v="2177" actId="14100"/>
          <ac:cxnSpMkLst>
            <pc:docMk/>
            <pc:sldMk cId="2110742668" sldId="1059"/>
            <ac:cxnSpMk id="9" creationId="{84A049F0-FA3A-2C3F-EE40-3731C62C1615}"/>
          </ac:cxnSpMkLst>
        </pc:cxnChg>
        <pc:cxnChg chg="add del mod">
          <ac:chgData name="Kjetil Teigen Hansen (KTH)" userId="b00e1467-cd04-4012-9851-f763aaf02a55" providerId="ADAL" clId="{09BFAEE2-E7C9-4168-AE26-A9F556EF7F84}" dt="2024-09-07T14:08:02.529" v="2163" actId="478"/>
          <ac:cxnSpMkLst>
            <pc:docMk/>
            <pc:sldMk cId="2110742668" sldId="1059"/>
            <ac:cxnSpMk id="11" creationId="{136D0FAD-A3C1-EC93-F070-226A5B42920B}"/>
          </ac:cxnSpMkLst>
        </pc:cxnChg>
        <pc:cxnChg chg="add mod">
          <ac:chgData name="Kjetil Teigen Hansen (KTH)" userId="b00e1467-cd04-4012-9851-f763aaf02a55" providerId="ADAL" clId="{09BFAEE2-E7C9-4168-AE26-A9F556EF7F84}" dt="2024-09-07T14:08:48.853" v="2176" actId="14100"/>
          <ac:cxnSpMkLst>
            <pc:docMk/>
            <pc:sldMk cId="2110742668" sldId="1059"/>
            <ac:cxnSpMk id="16" creationId="{3FDF1817-039B-3A2D-5235-E0E6C59F4C39}"/>
          </ac:cxnSpMkLst>
        </pc:cxnChg>
      </pc:sldChg>
    </pc:docChg>
  </pc:docChgLst>
  <pc:docChgLst>
    <pc:chgData name="Andreas Koksrud" userId="9d9beba6-c052-407a-8599-c781a677a996" providerId="ADAL" clId="{8658473B-F8B0-412E-ABD9-785EC206476C}"/>
    <pc:docChg chg="undo redo custSel addSld delSld modSld sldOrd addSection delSection modSection">
      <pc:chgData name="Andreas Koksrud" userId="9d9beba6-c052-407a-8599-c781a677a996" providerId="ADAL" clId="{8658473B-F8B0-412E-ABD9-785EC206476C}" dt="2024-08-31T13:41:58.021" v="16114" actId="20577"/>
      <pc:docMkLst>
        <pc:docMk/>
      </pc:docMkLst>
      <pc:sldChg chg="modSp mod">
        <pc:chgData name="Andreas Koksrud" userId="9d9beba6-c052-407a-8599-c781a677a996" providerId="ADAL" clId="{8658473B-F8B0-412E-ABD9-785EC206476C}" dt="2024-08-23T07:51:17.406" v="11638" actId="20577"/>
        <pc:sldMkLst>
          <pc:docMk/>
          <pc:sldMk cId="697137886" sldId="679"/>
        </pc:sldMkLst>
        <pc:spChg chg="mod">
          <ac:chgData name="Andreas Koksrud" userId="9d9beba6-c052-407a-8599-c781a677a996" providerId="ADAL" clId="{8658473B-F8B0-412E-ABD9-785EC206476C}" dt="2024-08-11T09:38:51.867" v="9" actId="20577"/>
          <ac:spMkLst>
            <pc:docMk/>
            <pc:sldMk cId="697137886" sldId="679"/>
            <ac:spMk id="2" creationId="{00000000-0000-0000-0000-000000000000}"/>
          </ac:spMkLst>
        </pc:spChg>
        <pc:spChg chg="mod">
          <ac:chgData name="Andreas Koksrud" userId="9d9beba6-c052-407a-8599-c781a677a996" providerId="ADAL" clId="{8658473B-F8B0-412E-ABD9-785EC206476C}" dt="2024-08-23T07:51:17.406" v="11638" actId="20577"/>
          <ac:spMkLst>
            <pc:docMk/>
            <pc:sldMk cId="697137886" sldId="679"/>
            <ac:spMk id="3" creationId="{00000000-0000-0000-0000-000000000000}"/>
          </ac:spMkLst>
        </pc:spChg>
      </pc:sldChg>
      <pc:sldChg chg="modSp mod">
        <pc:chgData name="Andreas Koksrud" userId="9d9beba6-c052-407a-8599-c781a677a996" providerId="ADAL" clId="{8658473B-F8B0-412E-ABD9-785EC206476C}" dt="2024-08-19T18:32:44.815" v="6214" actId="20577"/>
        <pc:sldMkLst>
          <pc:docMk/>
          <pc:sldMk cId="2087783305" sldId="730"/>
        </pc:sldMkLst>
        <pc:spChg chg="mod">
          <ac:chgData name="Andreas Koksrud" userId="9d9beba6-c052-407a-8599-c781a677a996" providerId="ADAL" clId="{8658473B-F8B0-412E-ABD9-785EC206476C}" dt="2024-08-19T18:32:44.815" v="6214" actId="20577"/>
          <ac:spMkLst>
            <pc:docMk/>
            <pc:sldMk cId="2087783305" sldId="730"/>
            <ac:spMk id="2" creationId="{E83F8947-299D-4698-B80E-56B8E23125F0}"/>
          </ac:spMkLst>
        </pc:spChg>
      </pc:sldChg>
      <pc:sldChg chg="addSp modSp mod">
        <pc:chgData name="Andreas Koksrud" userId="9d9beba6-c052-407a-8599-c781a677a996" providerId="ADAL" clId="{8658473B-F8B0-412E-ABD9-785EC206476C}" dt="2024-08-31T13:26:50.513" v="15884" actId="14100"/>
        <pc:sldMkLst>
          <pc:docMk/>
          <pc:sldMk cId="1205429650" sldId="740"/>
        </pc:sldMkLst>
        <pc:spChg chg="mod">
          <ac:chgData name="Andreas Koksrud" userId="9d9beba6-c052-407a-8599-c781a677a996" providerId="ADAL" clId="{8658473B-F8B0-412E-ABD9-785EC206476C}" dt="2024-08-23T05:44:02.231" v="6576"/>
          <ac:spMkLst>
            <pc:docMk/>
            <pc:sldMk cId="1205429650" sldId="740"/>
            <ac:spMk id="7" creationId="{6F84CC48-36DF-35F3-EBA0-316CF1C39A4C}"/>
          </ac:spMkLst>
        </pc:spChg>
        <pc:spChg chg="mod">
          <ac:chgData name="Andreas Koksrud" userId="9d9beba6-c052-407a-8599-c781a677a996" providerId="ADAL" clId="{8658473B-F8B0-412E-ABD9-785EC206476C}" dt="2024-08-23T07:36:43.759" v="11070"/>
          <ac:spMkLst>
            <pc:docMk/>
            <pc:sldMk cId="1205429650" sldId="740"/>
            <ac:spMk id="55" creationId="{3C2608EB-DCD8-49F8-A3AB-E645C41F888C}"/>
          </ac:spMkLst>
        </pc:spChg>
        <pc:picChg chg="add mod">
          <ac:chgData name="Andreas Koksrud" userId="9d9beba6-c052-407a-8599-c781a677a996" providerId="ADAL" clId="{8658473B-F8B0-412E-ABD9-785EC206476C}" dt="2024-08-31T13:26:50.513" v="15884" actId="14100"/>
          <ac:picMkLst>
            <pc:docMk/>
            <pc:sldMk cId="1205429650" sldId="740"/>
            <ac:picMk id="2" creationId="{3CC0B268-DE12-B9B9-1F6B-34E4015CFA4C}"/>
          </ac:picMkLst>
        </pc:picChg>
      </pc:sldChg>
      <pc:sldChg chg="del">
        <pc:chgData name="Andreas Koksrud" userId="9d9beba6-c052-407a-8599-c781a677a996" providerId="ADAL" clId="{8658473B-F8B0-412E-ABD9-785EC206476C}" dt="2024-08-11T09:41:31.703" v="13" actId="47"/>
        <pc:sldMkLst>
          <pc:docMk/>
          <pc:sldMk cId="4184721091" sldId="775"/>
        </pc:sldMkLst>
      </pc:sldChg>
      <pc:sldChg chg="del">
        <pc:chgData name="Andreas Koksrud" userId="9d9beba6-c052-407a-8599-c781a677a996" providerId="ADAL" clId="{8658473B-F8B0-412E-ABD9-785EC206476C}" dt="2024-08-11T09:41:31.703" v="13" actId="47"/>
        <pc:sldMkLst>
          <pc:docMk/>
          <pc:sldMk cId="267941889" sldId="776"/>
        </pc:sldMkLst>
      </pc:sldChg>
      <pc:sldChg chg="del">
        <pc:chgData name="Andreas Koksrud" userId="9d9beba6-c052-407a-8599-c781a677a996" providerId="ADAL" clId="{8658473B-F8B0-412E-ABD9-785EC206476C}" dt="2024-08-11T09:51:31.572" v="19" actId="47"/>
        <pc:sldMkLst>
          <pc:docMk/>
          <pc:sldMk cId="2950788596" sldId="780"/>
        </pc:sldMkLst>
      </pc:sldChg>
      <pc:sldChg chg="del">
        <pc:chgData name="Andreas Koksrud" userId="9d9beba6-c052-407a-8599-c781a677a996" providerId="ADAL" clId="{8658473B-F8B0-412E-ABD9-785EC206476C}" dt="2024-08-20T12:50:45.870" v="6402" actId="47"/>
        <pc:sldMkLst>
          <pc:docMk/>
          <pc:sldMk cId="1603511548" sldId="781"/>
        </pc:sldMkLst>
      </pc:sldChg>
      <pc:sldChg chg="del">
        <pc:chgData name="Andreas Koksrud" userId="9d9beba6-c052-407a-8599-c781a677a996" providerId="ADAL" clId="{8658473B-F8B0-412E-ABD9-785EC206476C}" dt="2024-08-11T09:51:31.572" v="19" actId="47"/>
        <pc:sldMkLst>
          <pc:docMk/>
          <pc:sldMk cId="1881751481" sldId="782"/>
        </pc:sldMkLst>
      </pc:sldChg>
      <pc:sldChg chg="addSp delSp modSp mod">
        <pc:chgData name="Andreas Koksrud" userId="9d9beba6-c052-407a-8599-c781a677a996" providerId="ADAL" clId="{8658473B-F8B0-412E-ABD9-785EC206476C}" dt="2024-08-26T05:28:32.292" v="15243" actId="20577"/>
        <pc:sldMkLst>
          <pc:docMk/>
          <pc:sldMk cId="590634226" sldId="798"/>
        </pc:sldMkLst>
        <pc:spChg chg="mod">
          <ac:chgData name="Andreas Koksrud" userId="9d9beba6-c052-407a-8599-c781a677a996" providerId="ADAL" clId="{8658473B-F8B0-412E-ABD9-785EC206476C}" dt="2024-08-23T06:06:32.219" v="7351" actId="20577"/>
          <ac:spMkLst>
            <pc:docMk/>
            <pc:sldMk cId="590634226" sldId="798"/>
            <ac:spMk id="2" creationId="{E5D5B057-1D39-AC88-396C-0D888288A2E9}"/>
          </ac:spMkLst>
        </pc:spChg>
        <pc:spChg chg="mod">
          <ac:chgData name="Andreas Koksrud" userId="9d9beba6-c052-407a-8599-c781a677a996" providerId="ADAL" clId="{8658473B-F8B0-412E-ABD9-785EC206476C}" dt="2024-08-23T05:51:02.369" v="6684"/>
          <ac:spMkLst>
            <pc:docMk/>
            <pc:sldMk cId="590634226" sldId="798"/>
            <ac:spMk id="6" creationId="{679A8908-ECF9-1656-E1DA-33446131C695}"/>
          </ac:spMkLst>
        </pc:spChg>
        <pc:spChg chg="add del">
          <ac:chgData name="Andreas Koksrud" userId="9d9beba6-c052-407a-8599-c781a677a996" providerId="ADAL" clId="{8658473B-F8B0-412E-ABD9-785EC206476C}" dt="2024-08-23T06:08:20.243" v="7363" actId="22"/>
          <ac:spMkLst>
            <pc:docMk/>
            <pc:sldMk cId="590634226" sldId="798"/>
            <ac:spMk id="13" creationId="{52755AE9-9B31-C146-699B-845D728037FA}"/>
          </ac:spMkLst>
        </pc:spChg>
        <pc:spChg chg="add mod">
          <ac:chgData name="Andreas Koksrud" userId="9d9beba6-c052-407a-8599-c781a677a996" providerId="ADAL" clId="{8658473B-F8B0-412E-ABD9-785EC206476C}" dt="2024-08-23T06:08:42.871" v="7398" actId="20577"/>
          <ac:spMkLst>
            <pc:docMk/>
            <pc:sldMk cId="590634226" sldId="798"/>
            <ac:spMk id="16" creationId="{34B664FD-6231-9C7B-1639-573AC93609FA}"/>
          </ac:spMkLst>
        </pc:spChg>
        <pc:spChg chg="mod">
          <ac:chgData name="Andreas Koksrud" userId="9d9beba6-c052-407a-8599-c781a677a996" providerId="ADAL" clId="{8658473B-F8B0-412E-ABD9-785EC206476C}" dt="2024-08-23T06:03:32.582" v="7204" actId="20577"/>
          <ac:spMkLst>
            <pc:docMk/>
            <pc:sldMk cId="590634226" sldId="798"/>
            <ac:spMk id="180" creationId="{00000000-0000-0000-0000-000000000000}"/>
          </ac:spMkLst>
        </pc:spChg>
        <pc:spChg chg="mod">
          <ac:chgData name="Andreas Koksrud" userId="9d9beba6-c052-407a-8599-c781a677a996" providerId="ADAL" clId="{8658473B-F8B0-412E-ABD9-785EC206476C}" dt="2024-08-26T05:28:32.292" v="15243" actId="20577"/>
          <ac:spMkLst>
            <pc:docMk/>
            <pc:sldMk cId="590634226" sldId="798"/>
            <ac:spMk id="181" creationId="{00000000-0000-0000-0000-000000000000}"/>
          </ac:spMkLst>
        </pc:spChg>
        <pc:picChg chg="del">
          <ac:chgData name="Andreas Koksrud" userId="9d9beba6-c052-407a-8599-c781a677a996" providerId="ADAL" clId="{8658473B-F8B0-412E-ABD9-785EC206476C}" dt="2024-08-23T06:03:46.666" v="7205" actId="478"/>
          <ac:picMkLst>
            <pc:docMk/>
            <pc:sldMk cId="590634226" sldId="798"/>
            <ac:picMk id="5" creationId="{5E168FC4-C381-DAA2-663D-F1E432420D09}"/>
          </ac:picMkLst>
        </pc:picChg>
        <pc:picChg chg="mod">
          <ac:chgData name="Andreas Koksrud" userId="9d9beba6-c052-407a-8599-c781a677a996" providerId="ADAL" clId="{8658473B-F8B0-412E-ABD9-785EC206476C}" dt="2024-08-23T06:06:48.260" v="7352" actId="1076"/>
          <ac:picMkLst>
            <pc:docMk/>
            <pc:sldMk cId="590634226" sldId="798"/>
            <ac:picMk id="10" creationId="{32062C49-EE1A-B42F-C945-526DDE8B3BB7}"/>
          </ac:picMkLst>
        </pc:picChg>
        <pc:picChg chg="mod">
          <ac:chgData name="Andreas Koksrud" userId="9d9beba6-c052-407a-8599-c781a677a996" providerId="ADAL" clId="{8658473B-F8B0-412E-ABD9-785EC206476C}" dt="2024-08-23T06:06:48.260" v="7352" actId="1076"/>
          <ac:picMkLst>
            <pc:docMk/>
            <pc:sldMk cId="590634226" sldId="798"/>
            <ac:picMk id="12" creationId="{58E439F5-9799-5244-4021-072A0EB3A078}"/>
          </ac:picMkLst>
        </pc:picChg>
        <pc:picChg chg="mod">
          <ac:chgData name="Andreas Koksrud" userId="9d9beba6-c052-407a-8599-c781a677a996" providerId="ADAL" clId="{8658473B-F8B0-412E-ABD9-785EC206476C}" dt="2024-08-23T06:06:48.260" v="7352" actId="1076"/>
          <ac:picMkLst>
            <pc:docMk/>
            <pc:sldMk cId="590634226" sldId="798"/>
            <ac:picMk id="14" creationId="{36ACF21A-7A5D-44E6-B3C7-1E008C1217E1}"/>
          </ac:picMkLst>
        </pc:picChg>
        <pc:cxnChg chg="add mod">
          <ac:chgData name="Andreas Koksrud" userId="9d9beba6-c052-407a-8599-c781a677a996" providerId="ADAL" clId="{8658473B-F8B0-412E-ABD9-785EC206476C}" dt="2024-08-23T06:07:59.105" v="7356" actId="14100"/>
          <ac:cxnSpMkLst>
            <pc:docMk/>
            <pc:sldMk cId="590634226" sldId="798"/>
            <ac:cxnSpMk id="4" creationId="{A55F4123-0AA8-BC57-BF34-C80BE8A35D17}"/>
          </ac:cxnSpMkLst>
        </pc:cxnChg>
        <pc:cxnChg chg="del">
          <ac:chgData name="Andreas Koksrud" userId="9d9beba6-c052-407a-8599-c781a677a996" providerId="ADAL" clId="{8658473B-F8B0-412E-ABD9-785EC206476C}" dt="2024-08-23T06:03:54.102" v="7207" actId="478"/>
          <ac:cxnSpMkLst>
            <pc:docMk/>
            <pc:sldMk cId="590634226" sldId="798"/>
            <ac:cxnSpMk id="7" creationId="{1D6E6058-6EBE-6103-C0FD-6FBE407F3CF1}"/>
          </ac:cxnSpMkLst>
        </pc:cxnChg>
      </pc:sldChg>
      <pc:sldChg chg="modSp add del">
        <pc:chgData name="Andreas Koksrud" userId="9d9beba6-c052-407a-8599-c781a677a996" providerId="ADAL" clId="{8658473B-F8B0-412E-ABD9-785EC206476C}" dt="2024-08-31T13:41:02.903" v="15998"/>
        <pc:sldMkLst>
          <pc:docMk/>
          <pc:sldMk cId="1498060418" sldId="802"/>
        </pc:sldMkLst>
        <pc:spChg chg="mod">
          <ac:chgData name="Andreas Koksrud" userId="9d9beba6-c052-407a-8599-c781a677a996" providerId="ADAL" clId="{8658473B-F8B0-412E-ABD9-785EC206476C}" dt="2024-08-23T05:45:12.779" v="6580"/>
          <ac:spMkLst>
            <pc:docMk/>
            <pc:sldMk cId="1498060418" sldId="802"/>
            <ac:spMk id="4" creationId="{99B9AFAD-6D20-4299-CD50-D8A4B3C2D385}"/>
          </ac:spMkLst>
        </pc:spChg>
      </pc:sldChg>
      <pc:sldChg chg="del">
        <pc:chgData name="Andreas Koksrud" userId="9d9beba6-c052-407a-8599-c781a677a996" providerId="ADAL" clId="{8658473B-F8B0-412E-ABD9-785EC206476C}" dt="2024-08-11T09:41:31.703" v="13" actId="47"/>
        <pc:sldMkLst>
          <pc:docMk/>
          <pc:sldMk cId="3317680748" sldId="807"/>
        </pc:sldMkLst>
      </pc:sldChg>
      <pc:sldChg chg="del">
        <pc:chgData name="Andreas Koksrud" userId="9d9beba6-c052-407a-8599-c781a677a996" providerId="ADAL" clId="{8658473B-F8B0-412E-ABD9-785EC206476C}" dt="2024-08-11T09:41:31.703" v="13" actId="47"/>
        <pc:sldMkLst>
          <pc:docMk/>
          <pc:sldMk cId="197388729" sldId="808"/>
        </pc:sldMkLst>
      </pc:sldChg>
      <pc:sldChg chg="modSp">
        <pc:chgData name="Andreas Koksrud" userId="9d9beba6-c052-407a-8599-c781a677a996" providerId="ADAL" clId="{8658473B-F8B0-412E-ABD9-785EC206476C}" dt="2024-08-23T05:51:02.369" v="6684"/>
        <pc:sldMkLst>
          <pc:docMk/>
          <pc:sldMk cId="248187023" sldId="814"/>
        </pc:sldMkLst>
        <pc:spChg chg="mod">
          <ac:chgData name="Andreas Koksrud" userId="9d9beba6-c052-407a-8599-c781a677a996" providerId="ADAL" clId="{8658473B-F8B0-412E-ABD9-785EC206476C}" dt="2024-08-23T05:51:02.369" v="6684"/>
          <ac:spMkLst>
            <pc:docMk/>
            <pc:sldMk cId="248187023" sldId="814"/>
            <ac:spMk id="5" creationId="{9D69FA28-12F4-38E1-C193-CC0429BD3868}"/>
          </ac:spMkLst>
        </pc:spChg>
      </pc:sldChg>
      <pc:sldChg chg="modSp">
        <pc:chgData name="Andreas Koksrud" userId="9d9beba6-c052-407a-8599-c781a677a996" providerId="ADAL" clId="{8658473B-F8B0-412E-ABD9-785EC206476C}" dt="2024-08-23T05:51:02.369" v="6684"/>
        <pc:sldMkLst>
          <pc:docMk/>
          <pc:sldMk cId="2920848915" sldId="815"/>
        </pc:sldMkLst>
        <pc:spChg chg="mod">
          <ac:chgData name="Andreas Koksrud" userId="9d9beba6-c052-407a-8599-c781a677a996" providerId="ADAL" clId="{8658473B-F8B0-412E-ABD9-785EC206476C}" dt="2024-08-23T05:51:02.369" v="6684"/>
          <ac:spMkLst>
            <pc:docMk/>
            <pc:sldMk cId="2920848915" sldId="815"/>
            <ac:spMk id="4" creationId="{F58B80D0-A570-42EB-0004-4602DD0F1A72}"/>
          </ac:spMkLst>
        </pc:spChg>
      </pc:sldChg>
      <pc:sldChg chg="addSp delSp modSp mod">
        <pc:chgData name="Andreas Koksrud" userId="9d9beba6-c052-407a-8599-c781a677a996" providerId="ADAL" clId="{8658473B-F8B0-412E-ABD9-785EC206476C}" dt="2024-08-23T06:44:38.531" v="7934" actId="14100"/>
        <pc:sldMkLst>
          <pc:docMk/>
          <pc:sldMk cId="2825686732" sldId="816"/>
        </pc:sldMkLst>
        <pc:spChg chg="mod">
          <ac:chgData name="Andreas Koksrud" userId="9d9beba6-c052-407a-8599-c781a677a996" providerId="ADAL" clId="{8658473B-F8B0-412E-ABD9-785EC206476C}" dt="2024-08-23T05:51:02.369" v="6684"/>
          <ac:spMkLst>
            <pc:docMk/>
            <pc:sldMk cId="2825686732" sldId="816"/>
            <ac:spMk id="5" creationId="{FC6163A4-D287-BE29-35BF-ECAFB86F98FC}"/>
          </ac:spMkLst>
        </pc:spChg>
        <pc:spChg chg="mod">
          <ac:chgData name="Andreas Koksrud" userId="9d9beba6-c052-407a-8599-c781a677a996" providerId="ADAL" clId="{8658473B-F8B0-412E-ABD9-785EC206476C}" dt="2024-08-23T06:38:09.274" v="7887" actId="14100"/>
          <ac:spMkLst>
            <pc:docMk/>
            <pc:sldMk cId="2825686732" sldId="816"/>
            <ac:spMk id="181" creationId="{00000000-0000-0000-0000-000000000000}"/>
          </ac:spMkLst>
        </pc:spChg>
        <pc:picChg chg="del mod">
          <ac:chgData name="Andreas Koksrud" userId="9d9beba6-c052-407a-8599-c781a677a996" providerId="ADAL" clId="{8658473B-F8B0-412E-ABD9-785EC206476C}" dt="2024-08-23T06:37:53.589" v="7882" actId="478"/>
          <ac:picMkLst>
            <pc:docMk/>
            <pc:sldMk cId="2825686732" sldId="816"/>
            <ac:picMk id="3" creationId="{B188053A-A28A-3758-EB40-AB4F962E28BB}"/>
          </ac:picMkLst>
        </pc:picChg>
        <pc:picChg chg="del">
          <ac:chgData name="Andreas Koksrud" userId="9d9beba6-c052-407a-8599-c781a677a996" providerId="ADAL" clId="{8658473B-F8B0-412E-ABD9-785EC206476C}" dt="2024-08-23T06:40:19.767" v="7902" actId="478"/>
          <ac:picMkLst>
            <pc:docMk/>
            <pc:sldMk cId="2825686732" sldId="816"/>
            <ac:picMk id="4" creationId="{8B0E1339-631C-8C23-C5C7-8EE5CCB129FE}"/>
          </ac:picMkLst>
        </pc:picChg>
        <pc:picChg chg="del">
          <ac:chgData name="Andreas Koksrud" userId="9d9beba6-c052-407a-8599-c781a677a996" providerId="ADAL" clId="{8658473B-F8B0-412E-ABD9-785EC206476C}" dt="2024-08-23T06:38:44.746" v="7891" actId="478"/>
          <ac:picMkLst>
            <pc:docMk/>
            <pc:sldMk cId="2825686732" sldId="816"/>
            <ac:picMk id="8" creationId="{439A1436-276C-00CE-D626-B41FB74BE9FB}"/>
          </ac:picMkLst>
        </pc:picChg>
        <pc:picChg chg="del">
          <ac:chgData name="Andreas Koksrud" userId="9d9beba6-c052-407a-8599-c781a677a996" providerId="ADAL" clId="{8658473B-F8B0-412E-ABD9-785EC206476C}" dt="2024-08-23T06:42:19.432" v="7921" actId="478"/>
          <ac:picMkLst>
            <pc:docMk/>
            <pc:sldMk cId="2825686732" sldId="816"/>
            <ac:picMk id="10" creationId="{BD160440-249F-7C67-C979-F9A5BA242F98}"/>
          </ac:picMkLst>
        </pc:picChg>
        <pc:picChg chg="add mod ord">
          <ac:chgData name="Andreas Koksrud" userId="9d9beba6-c052-407a-8599-c781a677a996" providerId="ADAL" clId="{8658473B-F8B0-412E-ABD9-785EC206476C}" dt="2024-08-23T06:38:20.162" v="7888" actId="1076"/>
          <ac:picMkLst>
            <pc:docMk/>
            <pc:sldMk cId="2825686732" sldId="816"/>
            <ac:picMk id="17" creationId="{18AFC420-C096-0D19-90FC-7F102B06A962}"/>
          </ac:picMkLst>
        </pc:picChg>
        <pc:picChg chg="add mod">
          <ac:chgData name="Andreas Koksrud" userId="9d9beba6-c052-407a-8599-c781a677a996" providerId="ADAL" clId="{8658473B-F8B0-412E-ABD9-785EC206476C}" dt="2024-08-23T06:40:32.575" v="7903" actId="1076"/>
          <ac:picMkLst>
            <pc:docMk/>
            <pc:sldMk cId="2825686732" sldId="816"/>
            <ac:picMk id="20" creationId="{6D325BC0-6DA9-FEA9-11BB-F929E94CD56A}"/>
          </ac:picMkLst>
        </pc:picChg>
        <pc:picChg chg="add mod">
          <ac:chgData name="Andreas Koksrud" userId="9d9beba6-c052-407a-8599-c781a677a996" providerId="ADAL" clId="{8658473B-F8B0-412E-ABD9-785EC206476C}" dt="2024-08-23T06:41:10.557" v="7920" actId="1035"/>
          <ac:picMkLst>
            <pc:docMk/>
            <pc:sldMk cId="2825686732" sldId="816"/>
            <ac:picMk id="22" creationId="{6B98B65E-96AB-225E-1329-8971A3024381}"/>
          </ac:picMkLst>
        </pc:picChg>
        <pc:picChg chg="add mod">
          <ac:chgData name="Andreas Koksrud" userId="9d9beba6-c052-407a-8599-c781a677a996" providerId="ADAL" clId="{8658473B-F8B0-412E-ABD9-785EC206476C}" dt="2024-08-23T06:41:10.557" v="7920" actId="1035"/>
          <ac:picMkLst>
            <pc:docMk/>
            <pc:sldMk cId="2825686732" sldId="816"/>
            <ac:picMk id="24" creationId="{3FD50D43-1656-71A8-4E94-207DDED3E740}"/>
          </ac:picMkLst>
        </pc:picChg>
        <pc:picChg chg="add mod">
          <ac:chgData name="Andreas Koksrud" userId="9d9beba6-c052-407a-8599-c781a677a996" providerId="ADAL" clId="{8658473B-F8B0-412E-ABD9-785EC206476C}" dt="2024-08-23T06:42:36.110" v="7926" actId="1076"/>
          <ac:picMkLst>
            <pc:docMk/>
            <pc:sldMk cId="2825686732" sldId="816"/>
            <ac:picMk id="26" creationId="{D30630B9-FCDD-3D1E-E26D-31756F8D0CA1}"/>
          </ac:picMkLst>
        </pc:picChg>
        <pc:picChg chg="add mod">
          <ac:chgData name="Andreas Koksrud" userId="9d9beba6-c052-407a-8599-c781a677a996" providerId="ADAL" clId="{8658473B-F8B0-412E-ABD9-785EC206476C}" dt="2024-08-23T06:44:11.228" v="7929" actId="1076"/>
          <ac:picMkLst>
            <pc:docMk/>
            <pc:sldMk cId="2825686732" sldId="816"/>
            <ac:picMk id="28" creationId="{5A121766-582A-F70C-01D8-38A3F671AF91}"/>
          </ac:picMkLst>
        </pc:picChg>
        <pc:cxnChg chg="add del mod">
          <ac:chgData name="Andreas Koksrud" userId="9d9beba6-c052-407a-8599-c781a677a996" providerId="ADAL" clId="{8658473B-F8B0-412E-ABD9-785EC206476C}" dt="2024-08-23T06:38:26.237" v="7890" actId="478"/>
          <ac:cxnSpMkLst>
            <pc:docMk/>
            <pc:sldMk cId="2825686732" sldId="816"/>
            <ac:cxnSpMk id="6" creationId="{E73E61CC-0270-1D5D-46F2-88842DD16807}"/>
          </ac:cxnSpMkLst>
        </pc:cxnChg>
        <pc:cxnChg chg="add del mod">
          <ac:chgData name="Andreas Koksrud" userId="9d9beba6-c052-407a-8599-c781a677a996" providerId="ADAL" clId="{8658473B-F8B0-412E-ABD9-785EC206476C}" dt="2024-08-23T06:40:08.078" v="7898" actId="478"/>
          <ac:cxnSpMkLst>
            <pc:docMk/>
            <pc:sldMk cId="2825686732" sldId="816"/>
            <ac:cxnSpMk id="9" creationId="{A8710B46-F03C-DD6F-5A64-8A2A41C2C592}"/>
          </ac:cxnSpMkLst>
        </pc:cxnChg>
        <pc:cxnChg chg="add del mod">
          <ac:chgData name="Andreas Koksrud" userId="9d9beba6-c052-407a-8599-c781a677a996" providerId="ADAL" clId="{8658473B-F8B0-412E-ABD9-785EC206476C}" dt="2024-08-23T06:39:58.341" v="7896" actId="478"/>
          <ac:cxnSpMkLst>
            <pc:docMk/>
            <pc:sldMk cId="2825686732" sldId="816"/>
            <ac:cxnSpMk id="12" creationId="{232FA8D4-EC30-8B9B-0CAE-F2134EA1DF24}"/>
          </ac:cxnSpMkLst>
        </pc:cxnChg>
        <pc:cxnChg chg="add del mod">
          <ac:chgData name="Andreas Koksrud" userId="9d9beba6-c052-407a-8599-c781a677a996" providerId="ADAL" clId="{8658473B-F8B0-412E-ABD9-785EC206476C}" dt="2024-08-23T06:39:59.260" v="7897" actId="478"/>
          <ac:cxnSpMkLst>
            <pc:docMk/>
            <pc:sldMk cId="2825686732" sldId="816"/>
            <ac:cxnSpMk id="14" creationId="{4929C7E3-26C3-2607-CF36-FE687C04EB3A}"/>
          </ac:cxnSpMkLst>
        </pc:cxnChg>
        <pc:cxnChg chg="add mod">
          <ac:chgData name="Andreas Koksrud" userId="9d9beba6-c052-407a-8599-c781a677a996" providerId="ADAL" clId="{8658473B-F8B0-412E-ABD9-785EC206476C}" dt="2024-08-23T06:44:38.531" v="7934" actId="14100"/>
          <ac:cxnSpMkLst>
            <pc:docMk/>
            <pc:sldMk cId="2825686732" sldId="816"/>
            <ac:cxnSpMk id="29" creationId="{E31D091D-C275-A9D3-EC63-14E79518C0D2}"/>
          </ac:cxnSpMkLst>
        </pc:cxnChg>
      </pc:sldChg>
      <pc:sldChg chg="modSp mod">
        <pc:chgData name="Andreas Koksrud" userId="9d9beba6-c052-407a-8599-c781a677a996" providerId="ADAL" clId="{8658473B-F8B0-412E-ABD9-785EC206476C}" dt="2024-08-23T06:47:20.134" v="8097" actId="1076"/>
        <pc:sldMkLst>
          <pc:docMk/>
          <pc:sldMk cId="3012956304" sldId="817"/>
        </pc:sldMkLst>
        <pc:spChg chg="mod">
          <ac:chgData name="Andreas Koksrud" userId="9d9beba6-c052-407a-8599-c781a677a996" providerId="ADAL" clId="{8658473B-F8B0-412E-ABD9-785EC206476C}" dt="2024-08-23T05:51:02.369" v="6684"/>
          <ac:spMkLst>
            <pc:docMk/>
            <pc:sldMk cId="3012956304" sldId="817"/>
            <ac:spMk id="4" creationId="{782EE758-968B-A34F-9A95-9495D1837EC8}"/>
          </ac:spMkLst>
        </pc:spChg>
        <pc:spChg chg="mod">
          <ac:chgData name="Andreas Koksrud" userId="9d9beba6-c052-407a-8599-c781a677a996" providerId="ADAL" clId="{8658473B-F8B0-412E-ABD9-785EC206476C}" dt="2024-08-23T06:46:56.976" v="8091" actId="14100"/>
          <ac:spMkLst>
            <pc:docMk/>
            <pc:sldMk cId="3012956304" sldId="817"/>
            <ac:spMk id="5" creationId="{D3387783-D64E-1205-7EB0-0EEC7313F540}"/>
          </ac:spMkLst>
        </pc:spChg>
        <pc:spChg chg="mod">
          <ac:chgData name="Andreas Koksrud" userId="9d9beba6-c052-407a-8599-c781a677a996" providerId="ADAL" clId="{8658473B-F8B0-412E-ABD9-785EC206476C}" dt="2024-08-23T06:46:58.741" v="8092" actId="6549"/>
          <ac:spMkLst>
            <pc:docMk/>
            <pc:sldMk cId="3012956304" sldId="817"/>
            <ac:spMk id="181" creationId="{00000000-0000-0000-0000-000000000000}"/>
          </ac:spMkLst>
        </pc:spChg>
        <pc:picChg chg="mod modCrop">
          <ac:chgData name="Andreas Koksrud" userId="9d9beba6-c052-407a-8599-c781a677a996" providerId="ADAL" clId="{8658473B-F8B0-412E-ABD9-785EC206476C}" dt="2024-08-23T06:46:49.687" v="8090" actId="732"/>
          <ac:picMkLst>
            <pc:docMk/>
            <pc:sldMk cId="3012956304" sldId="817"/>
            <ac:picMk id="2" creationId="{611EED0C-E5EC-E8CE-9054-037D7154499A}"/>
          </ac:picMkLst>
        </pc:picChg>
        <pc:picChg chg="mod modCrop">
          <ac:chgData name="Andreas Koksrud" userId="9d9beba6-c052-407a-8599-c781a677a996" providerId="ADAL" clId="{8658473B-F8B0-412E-ABD9-785EC206476C}" dt="2024-08-23T06:47:20.134" v="8097" actId="1076"/>
          <ac:picMkLst>
            <pc:docMk/>
            <pc:sldMk cId="3012956304" sldId="817"/>
            <ac:picMk id="6" creationId="{7B428BF2-67D8-C9D7-A08F-88F8D960A4CB}"/>
          </ac:picMkLst>
        </pc:picChg>
      </pc:sldChg>
      <pc:sldChg chg="modSp mod">
        <pc:chgData name="Andreas Koksrud" userId="9d9beba6-c052-407a-8599-c781a677a996" providerId="ADAL" clId="{8658473B-F8B0-412E-ABD9-785EC206476C}" dt="2024-08-23T06:48:22.975" v="8189" actId="1076"/>
        <pc:sldMkLst>
          <pc:docMk/>
          <pc:sldMk cId="958133851" sldId="818"/>
        </pc:sldMkLst>
        <pc:spChg chg="mod">
          <ac:chgData name="Andreas Koksrud" userId="9d9beba6-c052-407a-8599-c781a677a996" providerId="ADAL" clId="{8658473B-F8B0-412E-ABD9-785EC206476C}" dt="2024-08-23T05:51:02.369" v="6684"/>
          <ac:spMkLst>
            <pc:docMk/>
            <pc:sldMk cId="958133851" sldId="818"/>
            <ac:spMk id="5" creationId="{C751BA6C-2C9E-F12C-680F-73722C63B520}"/>
          </ac:spMkLst>
        </pc:spChg>
        <pc:spChg chg="mod">
          <ac:chgData name="Andreas Koksrud" userId="9d9beba6-c052-407a-8599-c781a677a996" providerId="ADAL" clId="{8658473B-F8B0-412E-ABD9-785EC206476C}" dt="2024-08-23T06:48:16.760" v="8188" actId="20577"/>
          <ac:spMkLst>
            <pc:docMk/>
            <pc:sldMk cId="958133851" sldId="818"/>
            <ac:spMk id="181" creationId="{00000000-0000-0000-0000-000000000000}"/>
          </ac:spMkLst>
        </pc:spChg>
        <pc:picChg chg="mod">
          <ac:chgData name="Andreas Koksrud" userId="9d9beba6-c052-407a-8599-c781a677a996" providerId="ADAL" clId="{8658473B-F8B0-412E-ABD9-785EC206476C}" dt="2024-08-23T06:48:22.975" v="8189" actId="1076"/>
          <ac:picMkLst>
            <pc:docMk/>
            <pc:sldMk cId="958133851" sldId="818"/>
            <ac:picMk id="3" creationId="{59AC5083-7CE3-8A70-4A62-A13DE4A0B552}"/>
          </ac:picMkLst>
        </pc:picChg>
      </pc:sldChg>
      <pc:sldChg chg="modSp">
        <pc:chgData name="Andreas Koksrud" userId="9d9beba6-c052-407a-8599-c781a677a996" providerId="ADAL" clId="{8658473B-F8B0-412E-ABD9-785EC206476C}" dt="2024-08-23T05:51:02.369" v="6684"/>
        <pc:sldMkLst>
          <pc:docMk/>
          <pc:sldMk cId="3123567294" sldId="819"/>
        </pc:sldMkLst>
        <pc:spChg chg="mod">
          <ac:chgData name="Andreas Koksrud" userId="9d9beba6-c052-407a-8599-c781a677a996" providerId="ADAL" clId="{8658473B-F8B0-412E-ABD9-785EC206476C}" dt="2024-08-23T05:51:02.369" v="6684"/>
          <ac:spMkLst>
            <pc:docMk/>
            <pc:sldMk cId="3123567294" sldId="819"/>
            <ac:spMk id="3" creationId="{41465CF4-20DA-163A-99C6-1D2297ACF95C}"/>
          </ac:spMkLst>
        </pc:spChg>
      </pc:sldChg>
      <pc:sldChg chg="modSp del mod">
        <pc:chgData name="Andreas Koksrud" userId="9d9beba6-c052-407a-8599-c781a677a996" providerId="ADAL" clId="{8658473B-F8B0-412E-ABD9-785EC206476C}" dt="2024-08-31T13:31:33.615" v="15948" actId="47"/>
        <pc:sldMkLst>
          <pc:docMk/>
          <pc:sldMk cId="2810975730" sldId="820"/>
        </pc:sldMkLst>
        <pc:spChg chg="mod">
          <ac:chgData name="Andreas Koksrud" userId="9d9beba6-c052-407a-8599-c781a677a996" providerId="ADAL" clId="{8658473B-F8B0-412E-ABD9-785EC206476C}" dt="2024-08-31T13:28:19.457" v="15912" actId="27636"/>
          <ac:spMkLst>
            <pc:docMk/>
            <pc:sldMk cId="2810975730" sldId="820"/>
            <ac:spMk id="4" creationId="{7B2B45CA-95BD-2704-AA56-E8D306F64CB7}"/>
          </ac:spMkLst>
        </pc:spChg>
        <pc:spChg chg="mod">
          <ac:chgData name="Andreas Koksrud" userId="9d9beba6-c052-407a-8599-c781a677a996" providerId="ADAL" clId="{8658473B-F8B0-412E-ABD9-785EC206476C}" dt="2024-08-23T05:44:02.231" v="6576"/>
          <ac:spMkLst>
            <pc:docMk/>
            <pc:sldMk cId="2810975730" sldId="820"/>
            <ac:spMk id="7" creationId="{4BBD0E0B-CE5A-A623-9813-5C4BAB3A6CC3}"/>
          </ac:spMkLst>
        </pc:spChg>
      </pc:sldChg>
      <pc:sldChg chg="delSp modSp add del mod">
        <pc:chgData name="Andreas Koksrud" userId="9d9beba6-c052-407a-8599-c781a677a996" providerId="ADAL" clId="{8658473B-F8B0-412E-ABD9-785EC206476C}" dt="2024-08-31T13:35:02.911" v="15993"/>
        <pc:sldMkLst>
          <pc:docMk/>
          <pc:sldMk cId="484354108" sldId="821"/>
        </pc:sldMkLst>
        <pc:spChg chg="del">
          <ac:chgData name="Andreas Koksrud" userId="9d9beba6-c052-407a-8599-c781a677a996" providerId="ADAL" clId="{8658473B-F8B0-412E-ABD9-785EC206476C}" dt="2024-08-31T13:30:35.482" v="15946" actId="21"/>
          <ac:spMkLst>
            <pc:docMk/>
            <pc:sldMk cId="484354108" sldId="821"/>
            <ac:spMk id="5" creationId="{2B5F87C7-1A75-AE43-144E-BC06017C5C2F}"/>
          </ac:spMkLst>
        </pc:spChg>
        <pc:spChg chg="mod">
          <ac:chgData name="Andreas Koksrud" userId="9d9beba6-c052-407a-8599-c781a677a996" providerId="ADAL" clId="{8658473B-F8B0-412E-ABD9-785EC206476C}" dt="2024-08-23T05:44:02.231" v="6576"/>
          <ac:spMkLst>
            <pc:docMk/>
            <pc:sldMk cId="484354108" sldId="821"/>
            <ac:spMk id="8" creationId="{8C1DF1F2-C95B-AB58-1B3A-7CE8CFCA2838}"/>
          </ac:spMkLst>
        </pc:spChg>
      </pc:sldChg>
      <pc:sldChg chg="addSp delSp modSp del mod">
        <pc:chgData name="Andreas Koksrud" userId="9d9beba6-c052-407a-8599-c781a677a996" providerId="ADAL" clId="{8658473B-F8B0-412E-ABD9-785EC206476C}" dt="2024-08-31T13:31:37.945" v="15950" actId="47"/>
        <pc:sldMkLst>
          <pc:docMk/>
          <pc:sldMk cId="1297674930" sldId="822"/>
        </pc:sldMkLst>
        <pc:spChg chg="mod">
          <ac:chgData name="Andreas Koksrud" userId="9d9beba6-c052-407a-8599-c781a677a996" providerId="ADAL" clId="{8658473B-F8B0-412E-ABD9-785EC206476C}" dt="2024-08-31T13:29:50.423" v="15945" actId="1036"/>
          <ac:spMkLst>
            <pc:docMk/>
            <pc:sldMk cId="1297674930" sldId="822"/>
            <ac:spMk id="2" creationId="{021CA0C3-964C-194D-8088-55B4655C41AF}"/>
          </ac:spMkLst>
        </pc:spChg>
        <pc:spChg chg="mod">
          <ac:chgData name="Andreas Koksrud" userId="9d9beba6-c052-407a-8599-c781a677a996" providerId="ADAL" clId="{8658473B-F8B0-412E-ABD9-785EC206476C}" dt="2024-08-23T05:44:02.231" v="6576"/>
          <ac:spMkLst>
            <pc:docMk/>
            <pc:sldMk cId="1297674930" sldId="822"/>
            <ac:spMk id="5" creationId="{E23FCB6F-1649-E103-C32E-F510389E48C1}"/>
          </ac:spMkLst>
        </pc:spChg>
        <pc:spChg chg="add del mod">
          <ac:chgData name="Andreas Koksrud" userId="9d9beba6-c052-407a-8599-c781a677a996" providerId="ADAL" clId="{8658473B-F8B0-412E-ABD9-785EC206476C}" dt="2024-08-31T13:29:27.530" v="15916" actId="478"/>
          <ac:spMkLst>
            <pc:docMk/>
            <pc:sldMk cId="1297674930" sldId="822"/>
            <ac:spMk id="7" creationId="{B7F63EA9-5BF0-E7D5-C85F-848C5035D9CE}"/>
          </ac:spMkLst>
        </pc:spChg>
      </pc:sldChg>
      <pc:sldChg chg="modSp add del">
        <pc:chgData name="Andreas Koksrud" userId="9d9beba6-c052-407a-8599-c781a677a996" providerId="ADAL" clId="{8658473B-F8B0-412E-ABD9-785EC206476C}" dt="2024-08-31T13:35:50.509" v="15996"/>
        <pc:sldMkLst>
          <pc:docMk/>
          <pc:sldMk cId="3521479601" sldId="823"/>
        </pc:sldMkLst>
        <pc:spChg chg="mod">
          <ac:chgData name="Andreas Koksrud" userId="9d9beba6-c052-407a-8599-c781a677a996" providerId="ADAL" clId="{8658473B-F8B0-412E-ABD9-785EC206476C}" dt="2024-08-23T05:44:02.231" v="6576"/>
          <ac:spMkLst>
            <pc:docMk/>
            <pc:sldMk cId="3521479601" sldId="823"/>
            <ac:spMk id="7" creationId="{5AC3D159-A1AF-77AF-BA96-70EF6E15A645}"/>
          </ac:spMkLst>
        </pc:spChg>
        <pc:spChg chg="mod">
          <ac:chgData name="Andreas Koksrud" userId="9d9beba6-c052-407a-8599-c781a677a996" providerId="ADAL" clId="{8658473B-F8B0-412E-ABD9-785EC206476C}" dt="2024-08-23T07:36:43.759" v="11070"/>
          <ac:spMkLst>
            <pc:docMk/>
            <pc:sldMk cId="3521479601" sldId="823"/>
            <ac:spMk id="11" creationId="{EDCFD39E-BC2E-CE73-9E05-DE7F383A2EB0}"/>
          </ac:spMkLst>
        </pc:spChg>
      </pc:sldChg>
      <pc:sldChg chg="modSp add del">
        <pc:chgData name="Andreas Koksrud" userId="9d9beba6-c052-407a-8599-c781a677a996" providerId="ADAL" clId="{8658473B-F8B0-412E-ABD9-785EC206476C}" dt="2024-08-31T13:35:50.509" v="15996"/>
        <pc:sldMkLst>
          <pc:docMk/>
          <pc:sldMk cId="4106763092" sldId="826"/>
        </pc:sldMkLst>
        <pc:spChg chg="mod">
          <ac:chgData name="Andreas Koksrud" userId="9d9beba6-c052-407a-8599-c781a677a996" providerId="ADAL" clId="{8658473B-F8B0-412E-ABD9-785EC206476C}" dt="2024-08-23T05:44:02.231" v="6576"/>
          <ac:spMkLst>
            <pc:docMk/>
            <pc:sldMk cId="4106763092" sldId="826"/>
            <ac:spMk id="3" creationId="{4A714335-A3B1-3224-D787-9F867DA11134}"/>
          </ac:spMkLst>
        </pc:spChg>
      </pc:sldChg>
      <pc:sldChg chg="modSp del">
        <pc:chgData name="Andreas Koksrud" userId="9d9beba6-c052-407a-8599-c781a677a996" providerId="ADAL" clId="{8658473B-F8B0-412E-ABD9-785EC206476C}" dt="2024-08-31T13:31:41.147" v="15951" actId="47"/>
        <pc:sldMkLst>
          <pc:docMk/>
          <pc:sldMk cId="1118305278" sldId="829"/>
        </pc:sldMkLst>
        <pc:spChg chg="mod">
          <ac:chgData name="Andreas Koksrud" userId="9d9beba6-c052-407a-8599-c781a677a996" providerId="ADAL" clId="{8658473B-F8B0-412E-ABD9-785EC206476C}" dt="2024-08-23T05:44:02.231" v="6576"/>
          <ac:spMkLst>
            <pc:docMk/>
            <pc:sldMk cId="1118305278" sldId="829"/>
            <ac:spMk id="4" creationId="{18A7D459-E93F-07CF-F7AB-816123700A2E}"/>
          </ac:spMkLst>
        </pc:spChg>
      </pc:sldChg>
      <pc:sldChg chg="modSp del">
        <pc:chgData name="Andreas Koksrud" userId="9d9beba6-c052-407a-8599-c781a677a996" providerId="ADAL" clId="{8658473B-F8B0-412E-ABD9-785EC206476C}" dt="2024-08-31T13:40:47.811" v="15997" actId="47"/>
        <pc:sldMkLst>
          <pc:docMk/>
          <pc:sldMk cId="1212745208" sldId="830"/>
        </pc:sldMkLst>
        <pc:spChg chg="mod">
          <ac:chgData name="Andreas Koksrud" userId="9d9beba6-c052-407a-8599-c781a677a996" providerId="ADAL" clId="{8658473B-F8B0-412E-ABD9-785EC206476C}" dt="2024-08-23T05:45:12.779" v="6580"/>
          <ac:spMkLst>
            <pc:docMk/>
            <pc:sldMk cId="1212745208" sldId="830"/>
            <ac:spMk id="3" creationId="{3C64FD93-5E17-435B-A8B7-30E45CAB7A1A}"/>
          </ac:spMkLst>
        </pc:spChg>
      </pc:sldChg>
      <pc:sldChg chg="del">
        <pc:chgData name="Andreas Koksrud" userId="9d9beba6-c052-407a-8599-c781a677a996" providerId="ADAL" clId="{8658473B-F8B0-412E-ABD9-785EC206476C}" dt="2024-08-11T09:51:31.572" v="19" actId="47"/>
        <pc:sldMkLst>
          <pc:docMk/>
          <pc:sldMk cId="1070812493" sldId="839"/>
        </pc:sldMkLst>
      </pc:sldChg>
      <pc:sldChg chg="del">
        <pc:chgData name="Andreas Koksrud" userId="9d9beba6-c052-407a-8599-c781a677a996" providerId="ADAL" clId="{8658473B-F8B0-412E-ABD9-785EC206476C}" dt="2024-08-11T09:51:31.572" v="19" actId="47"/>
        <pc:sldMkLst>
          <pc:docMk/>
          <pc:sldMk cId="2685798531" sldId="840"/>
        </pc:sldMkLst>
      </pc:sldChg>
      <pc:sldChg chg="del">
        <pc:chgData name="Andreas Koksrud" userId="9d9beba6-c052-407a-8599-c781a677a996" providerId="ADAL" clId="{8658473B-F8B0-412E-ABD9-785EC206476C}" dt="2024-08-11T09:51:31.572" v="19" actId="47"/>
        <pc:sldMkLst>
          <pc:docMk/>
          <pc:sldMk cId="2309282967" sldId="841"/>
        </pc:sldMkLst>
      </pc:sldChg>
      <pc:sldChg chg="del">
        <pc:chgData name="Andreas Koksrud" userId="9d9beba6-c052-407a-8599-c781a677a996" providerId="ADAL" clId="{8658473B-F8B0-412E-ABD9-785EC206476C}" dt="2024-08-11T09:51:31.572" v="19" actId="47"/>
        <pc:sldMkLst>
          <pc:docMk/>
          <pc:sldMk cId="685011829" sldId="842"/>
        </pc:sldMkLst>
      </pc:sldChg>
      <pc:sldChg chg="del">
        <pc:chgData name="Andreas Koksrud" userId="9d9beba6-c052-407a-8599-c781a677a996" providerId="ADAL" clId="{8658473B-F8B0-412E-ABD9-785EC206476C}" dt="2024-08-11T09:51:31.572" v="19" actId="47"/>
        <pc:sldMkLst>
          <pc:docMk/>
          <pc:sldMk cId="3245717989" sldId="845"/>
        </pc:sldMkLst>
      </pc:sldChg>
      <pc:sldChg chg="del">
        <pc:chgData name="Andreas Koksrud" userId="9d9beba6-c052-407a-8599-c781a677a996" providerId="ADAL" clId="{8658473B-F8B0-412E-ABD9-785EC206476C}" dt="2024-08-11T09:51:31.572" v="19" actId="47"/>
        <pc:sldMkLst>
          <pc:docMk/>
          <pc:sldMk cId="3805266284" sldId="846"/>
        </pc:sldMkLst>
      </pc:sldChg>
      <pc:sldChg chg="del">
        <pc:chgData name="Andreas Koksrud" userId="9d9beba6-c052-407a-8599-c781a677a996" providerId="ADAL" clId="{8658473B-F8B0-412E-ABD9-785EC206476C}" dt="2024-08-11T09:51:31.572" v="19" actId="47"/>
        <pc:sldMkLst>
          <pc:docMk/>
          <pc:sldMk cId="1521086367" sldId="847"/>
        </pc:sldMkLst>
      </pc:sldChg>
      <pc:sldChg chg="modSp mod ord">
        <pc:chgData name="Andreas Koksrud" userId="9d9beba6-c052-407a-8599-c781a677a996" providerId="ADAL" clId="{8658473B-F8B0-412E-ABD9-785EC206476C}" dt="2024-08-23T07:36:43.759" v="11070"/>
        <pc:sldMkLst>
          <pc:docMk/>
          <pc:sldMk cId="468106742" sldId="850"/>
        </pc:sldMkLst>
        <pc:spChg chg="mod">
          <ac:chgData name="Andreas Koksrud" userId="9d9beba6-c052-407a-8599-c781a677a996" providerId="ADAL" clId="{8658473B-F8B0-412E-ABD9-785EC206476C}" dt="2024-08-23T05:40:56.340" v="6569"/>
          <ac:spMkLst>
            <pc:docMk/>
            <pc:sldMk cId="468106742" sldId="850"/>
            <ac:spMk id="6" creationId="{84F2DA91-90C9-C865-9D2D-3CEDE26E5AB0}"/>
          </ac:spMkLst>
        </pc:spChg>
        <pc:spChg chg="mod">
          <ac:chgData name="Andreas Koksrud" userId="9d9beba6-c052-407a-8599-c781a677a996" providerId="ADAL" clId="{8658473B-F8B0-412E-ABD9-785EC206476C}" dt="2024-08-23T07:36:43.759" v="11070"/>
          <ac:spMkLst>
            <pc:docMk/>
            <pc:sldMk cId="468106742" sldId="850"/>
            <ac:spMk id="7" creationId="{F57809A5-5D18-E09A-D8A2-8E873756E594}"/>
          </ac:spMkLst>
        </pc:spChg>
        <pc:spChg chg="mod">
          <ac:chgData name="Andreas Koksrud" userId="9d9beba6-c052-407a-8599-c781a677a996" providerId="ADAL" clId="{8658473B-F8B0-412E-ABD9-785EC206476C}" dt="2024-08-23T07:35:42.756" v="11063" actId="20577"/>
          <ac:spMkLst>
            <pc:docMk/>
            <pc:sldMk cId="468106742" sldId="850"/>
            <ac:spMk id="181" creationId="{00000000-0000-0000-0000-000000000000}"/>
          </ac:spMkLst>
        </pc:spChg>
      </pc:sldChg>
      <pc:sldChg chg="modSp">
        <pc:chgData name="Andreas Koksrud" userId="9d9beba6-c052-407a-8599-c781a677a996" providerId="ADAL" clId="{8658473B-F8B0-412E-ABD9-785EC206476C}" dt="2024-08-23T05:43:38.080" v="6575"/>
        <pc:sldMkLst>
          <pc:docMk/>
          <pc:sldMk cId="3782901869" sldId="851"/>
        </pc:sldMkLst>
        <pc:spChg chg="mod">
          <ac:chgData name="Andreas Koksrud" userId="9d9beba6-c052-407a-8599-c781a677a996" providerId="ADAL" clId="{8658473B-F8B0-412E-ABD9-785EC206476C}" dt="2024-08-23T05:43:38.080" v="6575"/>
          <ac:spMkLst>
            <pc:docMk/>
            <pc:sldMk cId="3782901869" sldId="851"/>
            <ac:spMk id="4" creationId="{802F7DCE-DF15-C44E-DF61-F162389FA51D}"/>
          </ac:spMkLst>
        </pc:spChg>
      </pc:sldChg>
      <pc:sldChg chg="del">
        <pc:chgData name="Andreas Koksrud" userId="9d9beba6-c052-407a-8599-c781a677a996" providerId="ADAL" clId="{8658473B-F8B0-412E-ABD9-785EC206476C}" dt="2024-08-11T09:41:31.703" v="13" actId="47"/>
        <pc:sldMkLst>
          <pc:docMk/>
          <pc:sldMk cId="911993613" sldId="853"/>
        </pc:sldMkLst>
      </pc:sldChg>
      <pc:sldChg chg="modSp ord">
        <pc:chgData name="Andreas Koksrud" userId="9d9beba6-c052-407a-8599-c781a677a996" providerId="ADAL" clId="{8658473B-F8B0-412E-ABD9-785EC206476C}" dt="2024-08-23T05:40:56.340" v="6569"/>
        <pc:sldMkLst>
          <pc:docMk/>
          <pc:sldMk cId="3385289181" sldId="854"/>
        </pc:sldMkLst>
        <pc:spChg chg="mod">
          <ac:chgData name="Andreas Koksrud" userId="9d9beba6-c052-407a-8599-c781a677a996" providerId="ADAL" clId="{8658473B-F8B0-412E-ABD9-785EC206476C}" dt="2024-08-23T05:40:56.340" v="6569"/>
          <ac:spMkLst>
            <pc:docMk/>
            <pc:sldMk cId="3385289181" sldId="854"/>
            <ac:spMk id="3" creationId="{1E25DF2D-D2A1-6026-2A45-5B48A09582E5}"/>
          </ac:spMkLst>
        </pc:spChg>
      </pc:sldChg>
      <pc:sldChg chg="modSp ord">
        <pc:chgData name="Andreas Koksrud" userId="9d9beba6-c052-407a-8599-c781a677a996" providerId="ADAL" clId="{8658473B-F8B0-412E-ABD9-785EC206476C}" dt="2024-08-23T05:40:56.340" v="6569"/>
        <pc:sldMkLst>
          <pc:docMk/>
          <pc:sldMk cId="1250772557" sldId="855"/>
        </pc:sldMkLst>
        <pc:spChg chg="mod">
          <ac:chgData name="Andreas Koksrud" userId="9d9beba6-c052-407a-8599-c781a677a996" providerId="ADAL" clId="{8658473B-F8B0-412E-ABD9-785EC206476C}" dt="2024-08-23T05:40:56.340" v="6569"/>
          <ac:spMkLst>
            <pc:docMk/>
            <pc:sldMk cId="1250772557" sldId="855"/>
            <ac:spMk id="3" creationId="{DBF78579-E9B0-3316-8A52-54306D0ECA8D}"/>
          </ac:spMkLst>
        </pc:spChg>
      </pc:sldChg>
      <pc:sldChg chg="modSp ord">
        <pc:chgData name="Andreas Koksrud" userId="9d9beba6-c052-407a-8599-c781a677a996" providerId="ADAL" clId="{8658473B-F8B0-412E-ABD9-785EC206476C}" dt="2024-08-23T05:40:56.340" v="6569"/>
        <pc:sldMkLst>
          <pc:docMk/>
          <pc:sldMk cId="879097217" sldId="856"/>
        </pc:sldMkLst>
        <pc:spChg chg="mod">
          <ac:chgData name="Andreas Koksrud" userId="9d9beba6-c052-407a-8599-c781a677a996" providerId="ADAL" clId="{8658473B-F8B0-412E-ABD9-785EC206476C}" dt="2024-08-23T05:40:56.340" v="6569"/>
          <ac:spMkLst>
            <pc:docMk/>
            <pc:sldMk cId="879097217" sldId="856"/>
            <ac:spMk id="4" creationId="{2F340342-FF92-B5AF-4139-3E83B013C094}"/>
          </ac:spMkLst>
        </pc:spChg>
      </pc:sldChg>
      <pc:sldChg chg="modSp ord">
        <pc:chgData name="Andreas Koksrud" userId="9d9beba6-c052-407a-8599-c781a677a996" providerId="ADAL" clId="{8658473B-F8B0-412E-ABD9-785EC206476C}" dt="2024-08-23T05:40:20.596" v="6568"/>
        <pc:sldMkLst>
          <pc:docMk/>
          <pc:sldMk cId="2658323505" sldId="857"/>
        </pc:sldMkLst>
        <pc:spChg chg="mod">
          <ac:chgData name="Andreas Koksrud" userId="9d9beba6-c052-407a-8599-c781a677a996" providerId="ADAL" clId="{8658473B-F8B0-412E-ABD9-785EC206476C}" dt="2024-08-23T05:40:20.596" v="6568"/>
          <ac:spMkLst>
            <pc:docMk/>
            <pc:sldMk cId="2658323505" sldId="857"/>
            <ac:spMk id="9" creationId="{C068577C-A0DF-795F-9771-BAE02C59CBB2}"/>
          </ac:spMkLst>
        </pc:spChg>
      </pc:sldChg>
      <pc:sldChg chg="modSp mod ord">
        <pc:chgData name="Andreas Koksrud" userId="9d9beba6-c052-407a-8599-c781a677a996" providerId="ADAL" clId="{8658473B-F8B0-412E-ABD9-785EC206476C}" dt="2024-08-24T17:39:54.219" v="12342" actId="14826"/>
        <pc:sldMkLst>
          <pc:docMk/>
          <pc:sldMk cId="2554802186" sldId="861"/>
        </pc:sldMkLst>
        <pc:spChg chg="mod">
          <ac:chgData name="Andreas Koksrud" userId="9d9beba6-c052-407a-8599-c781a677a996" providerId="ADAL" clId="{8658473B-F8B0-412E-ABD9-785EC206476C}" dt="2024-08-24T17:39:32.079" v="12341" actId="14100"/>
          <ac:spMkLst>
            <pc:docMk/>
            <pc:sldMk cId="2554802186" sldId="861"/>
            <ac:spMk id="2" creationId="{9796E8C1-5924-9DB3-B51B-75296717F89F}"/>
          </ac:spMkLst>
        </pc:spChg>
        <pc:spChg chg="mod">
          <ac:chgData name="Andreas Koksrud" userId="9d9beba6-c052-407a-8599-c781a677a996" providerId="ADAL" clId="{8658473B-F8B0-412E-ABD9-785EC206476C}" dt="2024-08-23T05:40:56.340" v="6569"/>
          <ac:spMkLst>
            <pc:docMk/>
            <pc:sldMk cId="2554802186" sldId="861"/>
            <ac:spMk id="7" creationId="{E2DB7780-0CB7-A551-3EA7-484C310E45AD}"/>
          </ac:spMkLst>
        </pc:spChg>
        <pc:spChg chg="mod">
          <ac:chgData name="Andreas Koksrud" userId="9d9beba6-c052-407a-8599-c781a677a996" providerId="ADAL" clId="{8658473B-F8B0-412E-ABD9-785EC206476C}" dt="2024-08-23T07:36:13.833" v="11069" actId="20577"/>
          <ac:spMkLst>
            <pc:docMk/>
            <pc:sldMk cId="2554802186" sldId="861"/>
            <ac:spMk id="9" creationId="{76667482-48B7-C29F-CD5F-748E1DA51AFA}"/>
          </ac:spMkLst>
        </pc:spChg>
        <pc:spChg chg="mod">
          <ac:chgData name="Andreas Koksrud" userId="9d9beba6-c052-407a-8599-c781a677a996" providerId="ADAL" clId="{8658473B-F8B0-412E-ABD9-785EC206476C}" dt="2024-08-23T07:36:43.759" v="11070"/>
          <ac:spMkLst>
            <pc:docMk/>
            <pc:sldMk cId="2554802186" sldId="861"/>
            <ac:spMk id="180" creationId="{00000000-0000-0000-0000-000000000000}"/>
          </ac:spMkLst>
        </pc:spChg>
        <pc:picChg chg="mod">
          <ac:chgData name="Andreas Koksrud" userId="9d9beba6-c052-407a-8599-c781a677a996" providerId="ADAL" clId="{8658473B-F8B0-412E-ABD9-785EC206476C}" dt="2024-08-24T17:39:54.219" v="12342" actId="14826"/>
          <ac:picMkLst>
            <pc:docMk/>
            <pc:sldMk cId="2554802186" sldId="861"/>
            <ac:picMk id="28" creationId="{4F842464-3A0A-B8C8-C4F9-2F7A194E41A2}"/>
          </ac:picMkLst>
        </pc:picChg>
      </pc:sldChg>
      <pc:sldChg chg="addSp delSp modSp mod ord">
        <pc:chgData name="Andreas Koksrud" userId="9d9beba6-c052-407a-8599-c781a677a996" providerId="ADAL" clId="{8658473B-F8B0-412E-ABD9-785EC206476C}" dt="2024-08-24T18:14:11.024" v="12810" actId="14826"/>
        <pc:sldMkLst>
          <pc:docMk/>
          <pc:sldMk cId="575130139" sldId="862"/>
        </pc:sldMkLst>
        <pc:spChg chg="add mod">
          <ac:chgData name="Andreas Koksrud" userId="9d9beba6-c052-407a-8599-c781a677a996" providerId="ADAL" clId="{8658473B-F8B0-412E-ABD9-785EC206476C}" dt="2024-08-23T07:45:52.177" v="11443" actId="1076"/>
          <ac:spMkLst>
            <pc:docMk/>
            <pc:sldMk cId="575130139" sldId="862"/>
            <ac:spMk id="3" creationId="{9F17347B-4AA5-0EC7-FCAE-5D92674F68F4}"/>
          </ac:spMkLst>
        </pc:spChg>
        <pc:spChg chg="mod">
          <ac:chgData name="Andreas Koksrud" userId="9d9beba6-c052-407a-8599-c781a677a996" providerId="ADAL" clId="{8658473B-F8B0-412E-ABD9-785EC206476C}" dt="2024-08-24T18:05:29.013" v="12790" actId="20577"/>
          <ac:spMkLst>
            <pc:docMk/>
            <pc:sldMk cId="575130139" sldId="862"/>
            <ac:spMk id="6" creationId="{D33A7F7C-0CFF-12D8-D3F9-55EA11817DA1}"/>
          </ac:spMkLst>
        </pc:spChg>
        <pc:spChg chg="mod">
          <ac:chgData name="Andreas Koksrud" userId="9d9beba6-c052-407a-8599-c781a677a996" providerId="ADAL" clId="{8658473B-F8B0-412E-ABD9-785EC206476C}" dt="2024-08-23T05:41:16.879" v="6570"/>
          <ac:spMkLst>
            <pc:docMk/>
            <pc:sldMk cId="575130139" sldId="862"/>
            <ac:spMk id="7" creationId="{4D754D07-9E11-A566-0AB6-8DAFC56BFA04}"/>
          </ac:spMkLst>
        </pc:spChg>
        <pc:picChg chg="add mod modCrop">
          <ac:chgData name="Andreas Koksrud" userId="9d9beba6-c052-407a-8599-c781a677a996" providerId="ADAL" clId="{8658473B-F8B0-412E-ABD9-785EC206476C}" dt="2024-08-24T18:05:47.213" v="12807" actId="1036"/>
          <ac:picMkLst>
            <pc:docMk/>
            <pc:sldMk cId="575130139" sldId="862"/>
            <ac:picMk id="5" creationId="{3113B6B0-9682-C6CB-E2C3-D2A2139ECC6B}"/>
          </ac:picMkLst>
        </pc:picChg>
        <pc:picChg chg="del">
          <ac:chgData name="Andreas Koksrud" userId="9d9beba6-c052-407a-8599-c781a677a996" providerId="ADAL" clId="{8658473B-F8B0-412E-ABD9-785EC206476C}" dt="2024-08-23T07:45:44.734" v="11441" actId="478"/>
          <ac:picMkLst>
            <pc:docMk/>
            <pc:sldMk cId="575130139" sldId="862"/>
            <ac:picMk id="9" creationId="{ACF5DE2B-66A5-E71E-5903-7F0D8FFF6102}"/>
          </ac:picMkLst>
        </pc:picChg>
        <pc:picChg chg="mod">
          <ac:chgData name="Andreas Koksrud" userId="9d9beba6-c052-407a-8599-c781a677a996" providerId="ADAL" clId="{8658473B-F8B0-412E-ABD9-785EC206476C}" dt="2024-08-24T18:03:20.041" v="12691" actId="14826"/>
          <ac:picMkLst>
            <pc:docMk/>
            <pc:sldMk cId="575130139" sldId="862"/>
            <ac:picMk id="16" creationId="{4D9DADFD-10FA-19A6-98E4-610C81750C85}"/>
          </ac:picMkLst>
        </pc:picChg>
        <pc:picChg chg="mod">
          <ac:chgData name="Andreas Koksrud" userId="9d9beba6-c052-407a-8599-c781a677a996" providerId="ADAL" clId="{8658473B-F8B0-412E-ABD9-785EC206476C}" dt="2024-08-24T18:04:13.906" v="12692" actId="14826"/>
          <ac:picMkLst>
            <pc:docMk/>
            <pc:sldMk cId="575130139" sldId="862"/>
            <ac:picMk id="18" creationId="{DE5F48FC-3C42-5859-4351-E0D25B460A59}"/>
          </ac:picMkLst>
        </pc:picChg>
        <pc:picChg chg="mod">
          <ac:chgData name="Andreas Koksrud" userId="9d9beba6-c052-407a-8599-c781a677a996" providerId="ADAL" clId="{8658473B-F8B0-412E-ABD9-785EC206476C}" dt="2024-08-24T18:14:11.024" v="12810" actId="14826"/>
          <ac:picMkLst>
            <pc:docMk/>
            <pc:sldMk cId="575130139" sldId="862"/>
            <ac:picMk id="20" creationId="{D269A6E6-DC19-3C34-5B65-3556FAACB2F8}"/>
          </ac:picMkLst>
        </pc:picChg>
        <pc:picChg chg="mod">
          <ac:chgData name="Andreas Koksrud" userId="9d9beba6-c052-407a-8599-c781a677a996" providerId="ADAL" clId="{8658473B-F8B0-412E-ABD9-785EC206476C}" dt="2024-08-24T18:07:32.294" v="12809" actId="14826"/>
          <ac:picMkLst>
            <pc:docMk/>
            <pc:sldMk cId="575130139" sldId="862"/>
            <ac:picMk id="28" creationId="{041E496F-A3DC-1F55-A8AB-BFC57EF2B80D}"/>
          </ac:picMkLst>
        </pc:picChg>
      </pc:sldChg>
      <pc:sldChg chg="addSp modSp mod ord">
        <pc:chgData name="Andreas Koksrud" userId="9d9beba6-c052-407a-8599-c781a677a996" providerId="ADAL" clId="{8658473B-F8B0-412E-ABD9-785EC206476C}" dt="2024-08-24T18:32:47.910" v="12870" actId="14100"/>
        <pc:sldMkLst>
          <pc:docMk/>
          <pc:sldMk cId="3027998341" sldId="863"/>
        </pc:sldMkLst>
        <pc:spChg chg="mod">
          <ac:chgData name="Andreas Koksrud" userId="9d9beba6-c052-407a-8599-c781a677a996" providerId="ADAL" clId="{8658473B-F8B0-412E-ABD9-785EC206476C}" dt="2024-08-23T05:41:16.879" v="6570"/>
          <ac:spMkLst>
            <pc:docMk/>
            <pc:sldMk cId="3027998341" sldId="863"/>
            <ac:spMk id="3" creationId="{3BA462E2-B807-F22E-43E0-EEED9979F7C5}"/>
          </ac:spMkLst>
        </pc:spChg>
        <pc:spChg chg="add mod">
          <ac:chgData name="Andreas Koksrud" userId="9d9beba6-c052-407a-8599-c781a677a996" providerId="ADAL" clId="{8658473B-F8B0-412E-ABD9-785EC206476C}" dt="2024-08-19T19:08:21.990" v="6347" actId="14100"/>
          <ac:spMkLst>
            <pc:docMk/>
            <pc:sldMk cId="3027998341" sldId="863"/>
            <ac:spMk id="4" creationId="{DC748AD9-C809-CE30-EC83-CBA72342438D}"/>
          </ac:spMkLst>
        </pc:spChg>
        <pc:spChg chg="add mod">
          <ac:chgData name="Andreas Koksrud" userId="9d9beba6-c052-407a-8599-c781a677a996" providerId="ADAL" clId="{8658473B-F8B0-412E-ABD9-785EC206476C}" dt="2024-08-24T18:32:06.978" v="12864" actId="1076"/>
          <ac:spMkLst>
            <pc:docMk/>
            <pc:sldMk cId="3027998341" sldId="863"/>
            <ac:spMk id="5" creationId="{B259C13C-2644-4AD5-B4DF-B39BAFF24006}"/>
          </ac:spMkLst>
        </pc:spChg>
        <pc:spChg chg="mod">
          <ac:chgData name="Andreas Koksrud" userId="9d9beba6-c052-407a-8599-c781a677a996" providerId="ADAL" clId="{8658473B-F8B0-412E-ABD9-785EC206476C}" dt="2024-08-24T18:32:11.153" v="12865" actId="20577"/>
          <ac:spMkLst>
            <pc:docMk/>
            <pc:sldMk cId="3027998341" sldId="863"/>
            <ac:spMk id="6" creationId="{D66CA787-D3BF-24C5-DD37-94892B12E37B}"/>
          </ac:spMkLst>
        </pc:spChg>
        <pc:spChg chg="add mod">
          <ac:chgData name="Andreas Koksrud" userId="9d9beba6-c052-407a-8599-c781a677a996" providerId="ADAL" clId="{8658473B-F8B0-412E-ABD9-785EC206476C}" dt="2024-08-24T18:32:29.896" v="12867" actId="14100"/>
          <ac:spMkLst>
            <pc:docMk/>
            <pc:sldMk cId="3027998341" sldId="863"/>
            <ac:spMk id="7" creationId="{5F730EDA-F436-6411-E83F-33884CC0B3A8}"/>
          </ac:spMkLst>
        </pc:spChg>
        <pc:spChg chg="mod">
          <ac:chgData name="Andreas Koksrud" userId="9d9beba6-c052-407a-8599-c781a677a996" providerId="ADAL" clId="{8658473B-F8B0-412E-ABD9-785EC206476C}" dt="2024-08-24T18:31:21.242" v="12863" actId="6549"/>
          <ac:spMkLst>
            <pc:docMk/>
            <pc:sldMk cId="3027998341" sldId="863"/>
            <ac:spMk id="13" creationId="{C1ED8D54-28B4-8D9C-6C64-FB1501648279}"/>
          </ac:spMkLst>
        </pc:spChg>
        <pc:spChg chg="mod">
          <ac:chgData name="Andreas Koksrud" userId="9d9beba6-c052-407a-8599-c781a677a996" providerId="ADAL" clId="{8658473B-F8B0-412E-ABD9-785EC206476C}" dt="2024-08-19T19:09:26.287" v="6388" actId="404"/>
          <ac:spMkLst>
            <pc:docMk/>
            <pc:sldMk cId="3027998341" sldId="863"/>
            <ac:spMk id="14" creationId="{C85A9E99-AA4E-C194-FF2A-6C5AC5C1CF94}"/>
          </ac:spMkLst>
        </pc:spChg>
        <pc:cxnChg chg="add mod">
          <ac:chgData name="Andreas Koksrud" userId="9d9beba6-c052-407a-8599-c781a677a996" providerId="ADAL" clId="{8658473B-F8B0-412E-ABD9-785EC206476C}" dt="2024-08-24T18:32:47.910" v="12870" actId="14100"/>
          <ac:cxnSpMkLst>
            <pc:docMk/>
            <pc:sldMk cId="3027998341" sldId="863"/>
            <ac:cxnSpMk id="8" creationId="{5F901343-D2D1-0A3E-E080-46379552CD55}"/>
          </ac:cxnSpMkLst>
        </pc:cxnChg>
      </pc:sldChg>
      <pc:sldChg chg="addSp delSp modSp mod ord">
        <pc:chgData name="Andreas Koksrud" userId="9d9beba6-c052-407a-8599-c781a677a996" providerId="ADAL" clId="{8658473B-F8B0-412E-ABD9-785EC206476C}" dt="2024-08-25T19:05:23.455" v="13088" actId="167"/>
        <pc:sldMkLst>
          <pc:docMk/>
          <pc:sldMk cId="2970237999" sldId="864"/>
        </pc:sldMkLst>
        <pc:spChg chg="add mod">
          <ac:chgData name="Andreas Koksrud" userId="9d9beba6-c052-407a-8599-c781a677a996" providerId="ADAL" clId="{8658473B-F8B0-412E-ABD9-785EC206476C}" dt="2024-08-24T18:35:27.915" v="12892" actId="1037"/>
          <ac:spMkLst>
            <pc:docMk/>
            <pc:sldMk cId="2970237999" sldId="864"/>
            <ac:spMk id="4" creationId="{E3546BE2-B8A5-E0B8-BE46-976B701B35A5}"/>
          </ac:spMkLst>
        </pc:spChg>
        <pc:spChg chg="mod">
          <ac:chgData name="Andreas Koksrud" userId="9d9beba6-c052-407a-8599-c781a677a996" providerId="ADAL" clId="{8658473B-F8B0-412E-ABD9-785EC206476C}" dt="2024-08-23T05:41:16.879" v="6570"/>
          <ac:spMkLst>
            <pc:docMk/>
            <pc:sldMk cId="2970237999" sldId="864"/>
            <ac:spMk id="5" creationId="{3A51921F-6FDD-0861-65C2-D29FFCE1CD90}"/>
          </ac:spMkLst>
        </pc:spChg>
        <pc:spChg chg="add mod ord">
          <ac:chgData name="Andreas Koksrud" userId="9d9beba6-c052-407a-8599-c781a677a996" providerId="ADAL" clId="{8658473B-F8B0-412E-ABD9-785EC206476C}" dt="2024-08-24T18:35:13.843" v="12882" actId="167"/>
          <ac:spMkLst>
            <pc:docMk/>
            <pc:sldMk cId="2970237999" sldId="864"/>
            <ac:spMk id="6" creationId="{6ECA06EF-A331-F8AB-180C-1DC6A9AE7E43}"/>
          </ac:spMkLst>
        </pc:spChg>
        <pc:spChg chg="add mod">
          <ac:chgData name="Andreas Koksrud" userId="9d9beba6-c052-407a-8599-c781a677a996" providerId="ADAL" clId="{8658473B-F8B0-412E-ABD9-785EC206476C}" dt="2024-08-24T18:34:37.676" v="12876"/>
          <ac:spMkLst>
            <pc:docMk/>
            <pc:sldMk cId="2970237999" sldId="864"/>
            <ac:spMk id="7" creationId="{696741B1-6BF2-DB8F-5073-B7AE3A674E57}"/>
          </ac:spMkLst>
        </pc:spChg>
        <pc:spChg chg="mod">
          <ac:chgData name="Andreas Koksrud" userId="9d9beba6-c052-407a-8599-c781a677a996" providerId="ADAL" clId="{8658473B-F8B0-412E-ABD9-785EC206476C}" dt="2024-08-19T19:10:47.515" v="6396" actId="1076"/>
          <ac:spMkLst>
            <pc:docMk/>
            <pc:sldMk cId="2970237999" sldId="864"/>
            <ac:spMk id="8" creationId="{D895C0DE-5A5E-BAD0-09E1-C0CCA6D2E272}"/>
          </ac:spMkLst>
        </pc:spChg>
        <pc:spChg chg="mod">
          <ac:chgData name="Andreas Koksrud" userId="9d9beba6-c052-407a-8599-c781a677a996" providerId="ADAL" clId="{8658473B-F8B0-412E-ABD9-785EC206476C}" dt="2024-08-24T18:41:06.003" v="12953" actId="20577"/>
          <ac:spMkLst>
            <pc:docMk/>
            <pc:sldMk cId="2970237999" sldId="864"/>
            <ac:spMk id="9" creationId="{C5D0C8DA-7085-00DB-1E89-BC180452B60B}"/>
          </ac:spMkLst>
        </pc:spChg>
        <pc:spChg chg="mod ord">
          <ac:chgData name="Andreas Koksrud" userId="9d9beba6-c052-407a-8599-c781a677a996" providerId="ADAL" clId="{8658473B-F8B0-412E-ABD9-785EC206476C}" dt="2024-08-25T19:05:23.455" v="13088" actId="167"/>
          <ac:spMkLst>
            <pc:docMk/>
            <pc:sldMk cId="2970237999" sldId="864"/>
            <ac:spMk id="14" creationId="{C85A9E99-AA4E-C194-FF2A-6C5AC5C1CF94}"/>
          </ac:spMkLst>
        </pc:spChg>
        <pc:spChg chg="mod">
          <ac:chgData name="Andreas Koksrud" userId="9d9beba6-c052-407a-8599-c781a677a996" providerId="ADAL" clId="{8658473B-F8B0-412E-ABD9-785EC206476C}" dt="2024-08-24T18:48:00.633" v="12958" actId="1036"/>
          <ac:spMkLst>
            <pc:docMk/>
            <pc:sldMk cId="2970237999" sldId="864"/>
            <ac:spMk id="19" creationId="{FF82F14C-31B3-80C9-C4DB-E8559F942254}"/>
          </ac:spMkLst>
        </pc:spChg>
        <pc:spChg chg="mod">
          <ac:chgData name="Andreas Koksrud" userId="9d9beba6-c052-407a-8599-c781a677a996" providerId="ADAL" clId="{8658473B-F8B0-412E-ABD9-785EC206476C}" dt="2024-08-16T04:36:37.991" v="442" actId="20577"/>
          <ac:spMkLst>
            <pc:docMk/>
            <pc:sldMk cId="2970237999" sldId="864"/>
            <ac:spMk id="180" creationId="{00000000-0000-0000-0000-000000000000}"/>
          </ac:spMkLst>
        </pc:spChg>
        <pc:picChg chg="del mod ord modCrop">
          <ac:chgData name="Andreas Koksrud" userId="9d9beba6-c052-407a-8599-c781a677a996" providerId="ADAL" clId="{8658473B-F8B0-412E-ABD9-785EC206476C}" dt="2024-08-24T18:35:05.474" v="12879" actId="478"/>
          <ac:picMkLst>
            <pc:docMk/>
            <pc:sldMk cId="2970237999" sldId="864"/>
            <ac:picMk id="3" creationId="{C73A5D59-A3A1-B1EB-7D4C-49EAFDDF8D35}"/>
          </ac:picMkLst>
        </pc:picChg>
        <pc:picChg chg="mod">
          <ac:chgData name="Andreas Koksrud" userId="9d9beba6-c052-407a-8599-c781a677a996" providerId="ADAL" clId="{8658473B-F8B0-412E-ABD9-785EC206476C}" dt="2024-08-24T18:47:55.629" v="12954" actId="14826"/>
          <ac:picMkLst>
            <pc:docMk/>
            <pc:sldMk cId="2970237999" sldId="864"/>
            <ac:picMk id="13" creationId="{5AC913F4-50DE-366E-19F6-ADB839FEAF31}"/>
          </ac:picMkLst>
        </pc:picChg>
        <pc:cxnChg chg="mod">
          <ac:chgData name="Andreas Koksrud" userId="9d9beba6-c052-407a-8599-c781a677a996" providerId="ADAL" clId="{8658473B-F8B0-412E-ABD9-785EC206476C}" dt="2024-08-24T18:48:00.633" v="12958" actId="1036"/>
          <ac:cxnSpMkLst>
            <pc:docMk/>
            <pc:sldMk cId="2970237999" sldId="864"/>
            <ac:cxnSpMk id="15" creationId="{19DA8578-13B5-7BEC-8B5B-8636BC334503}"/>
          </ac:cxnSpMkLst>
        </pc:cxnChg>
      </pc:sldChg>
      <pc:sldChg chg="addSp delSp modSp mod ord">
        <pc:chgData name="Andreas Koksrud" userId="9d9beba6-c052-407a-8599-c781a677a996" providerId="ADAL" clId="{8658473B-F8B0-412E-ABD9-785EC206476C}" dt="2024-08-24T18:49:09.887" v="12962" actId="1076"/>
        <pc:sldMkLst>
          <pc:docMk/>
          <pc:sldMk cId="1445178992" sldId="865"/>
        </pc:sldMkLst>
        <pc:spChg chg="mod">
          <ac:chgData name="Andreas Koksrud" userId="9d9beba6-c052-407a-8599-c781a677a996" providerId="ADAL" clId="{8658473B-F8B0-412E-ABD9-785EC206476C}" dt="2024-08-23T05:41:16.879" v="6570"/>
          <ac:spMkLst>
            <pc:docMk/>
            <pc:sldMk cId="1445178992" sldId="865"/>
            <ac:spMk id="4" creationId="{3440CA42-C58B-F058-4FA1-B62FA1632640}"/>
          </ac:spMkLst>
        </pc:spChg>
        <pc:picChg chg="add mod">
          <ac:chgData name="Andreas Koksrud" userId="9d9beba6-c052-407a-8599-c781a677a996" providerId="ADAL" clId="{8658473B-F8B0-412E-ABD9-785EC206476C}" dt="2024-08-24T18:49:09.887" v="12962" actId="1076"/>
          <ac:picMkLst>
            <pc:docMk/>
            <pc:sldMk cId="1445178992" sldId="865"/>
            <ac:picMk id="5" creationId="{AF31B7FE-DED4-437A-E5AB-AC072D0C8D5B}"/>
          </ac:picMkLst>
        </pc:picChg>
        <pc:picChg chg="del">
          <ac:chgData name="Andreas Koksrud" userId="9d9beba6-c052-407a-8599-c781a677a996" providerId="ADAL" clId="{8658473B-F8B0-412E-ABD9-785EC206476C}" dt="2024-08-24T18:49:02.716" v="12959" actId="478"/>
          <ac:picMkLst>
            <pc:docMk/>
            <pc:sldMk cId="1445178992" sldId="865"/>
            <ac:picMk id="6" creationId="{406014D9-A234-5B5D-E8B8-68513C21336B}"/>
          </ac:picMkLst>
        </pc:picChg>
      </pc:sldChg>
      <pc:sldChg chg="addSp delSp modSp mod ord">
        <pc:chgData name="Andreas Koksrud" userId="9d9beba6-c052-407a-8599-c781a677a996" providerId="ADAL" clId="{8658473B-F8B0-412E-ABD9-785EC206476C}" dt="2024-08-24T18:51:53.842" v="13058" actId="14100"/>
        <pc:sldMkLst>
          <pc:docMk/>
          <pc:sldMk cId="3994882627" sldId="867"/>
        </pc:sldMkLst>
        <pc:spChg chg="mod">
          <ac:chgData name="Andreas Koksrud" userId="9d9beba6-c052-407a-8599-c781a677a996" providerId="ADAL" clId="{8658473B-F8B0-412E-ABD9-785EC206476C}" dt="2024-08-23T05:41:16.879" v="6570"/>
          <ac:spMkLst>
            <pc:docMk/>
            <pc:sldMk cId="3994882627" sldId="867"/>
            <ac:spMk id="3" creationId="{021D0895-1BD4-E42E-90B2-511DFB6CF3C8}"/>
          </ac:spMkLst>
        </pc:spChg>
        <pc:spChg chg="mod">
          <ac:chgData name="Andreas Koksrud" userId="9d9beba6-c052-407a-8599-c781a677a996" providerId="ADAL" clId="{8658473B-F8B0-412E-ABD9-785EC206476C}" dt="2024-08-24T18:50:29.616" v="13051" actId="404"/>
          <ac:spMkLst>
            <pc:docMk/>
            <pc:sldMk cId="3994882627" sldId="867"/>
            <ac:spMk id="14" creationId="{C85A9E99-AA4E-C194-FF2A-6C5AC5C1CF94}"/>
          </ac:spMkLst>
        </pc:spChg>
        <pc:spChg chg="mod">
          <ac:chgData name="Andreas Koksrud" userId="9d9beba6-c052-407a-8599-c781a677a996" providerId="ADAL" clId="{8658473B-F8B0-412E-ABD9-785EC206476C}" dt="2024-08-16T04:40:09.909" v="470" actId="20577"/>
          <ac:spMkLst>
            <pc:docMk/>
            <pc:sldMk cId="3994882627" sldId="867"/>
            <ac:spMk id="180" creationId="{00000000-0000-0000-0000-000000000000}"/>
          </ac:spMkLst>
        </pc:spChg>
        <pc:picChg chg="mod">
          <ac:chgData name="Andreas Koksrud" userId="9d9beba6-c052-407a-8599-c781a677a996" providerId="ADAL" clId="{8658473B-F8B0-412E-ABD9-785EC206476C}" dt="2024-08-24T18:50:33.462" v="13052" actId="1076"/>
          <ac:picMkLst>
            <pc:docMk/>
            <pc:sldMk cId="3994882627" sldId="867"/>
            <ac:picMk id="4" creationId="{8E3B416C-1AC1-0470-482B-62B74E32F3A7}"/>
          </ac:picMkLst>
        </pc:picChg>
        <pc:picChg chg="add mod modCrop">
          <ac:chgData name="Andreas Koksrud" userId="9d9beba6-c052-407a-8599-c781a677a996" providerId="ADAL" clId="{8658473B-F8B0-412E-ABD9-785EC206476C}" dt="2024-08-16T04:43:54.381" v="603" actId="732"/>
          <ac:picMkLst>
            <pc:docMk/>
            <pc:sldMk cId="3994882627" sldId="867"/>
            <ac:picMk id="6" creationId="{DE9CC281-7648-F679-6118-F9982E915E31}"/>
          </ac:picMkLst>
        </pc:picChg>
        <pc:picChg chg="del mod">
          <ac:chgData name="Andreas Koksrud" userId="9d9beba6-c052-407a-8599-c781a677a996" providerId="ADAL" clId="{8658473B-F8B0-412E-ABD9-785EC206476C}" dt="2024-08-24T18:51:44.896" v="13054" actId="478"/>
          <ac:picMkLst>
            <pc:docMk/>
            <pc:sldMk cId="3994882627" sldId="867"/>
            <ac:picMk id="7" creationId="{0C39E68A-7DF6-807B-0249-BADDB1320D18}"/>
          </ac:picMkLst>
        </pc:picChg>
        <pc:picChg chg="add mod">
          <ac:chgData name="Andreas Koksrud" userId="9d9beba6-c052-407a-8599-c781a677a996" providerId="ADAL" clId="{8658473B-F8B0-412E-ABD9-785EC206476C}" dt="2024-08-24T18:51:53.842" v="13058" actId="14100"/>
          <ac:picMkLst>
            <pc:docMk/>
            <pc:sldMk cId="3994882627" sldId="867"/>
            <ac:picMk id="8" creationId="{88628DF3-EB19-D398-31DF-C57D1A7E5384}"/>
          </ac:picMkLst>
        </pc:picChg>
        <pc:picChg chg="add mod">
          <ac:chgData name="Andreas Koksrud" userId="9d9beba6-c052-407a-8599-c781a677a996" providerId="ADAL" clId="{8658473B-F8B0-412E-ABD9-785EC206476C}" dt="2024-08-16T04:43:47.717" v="602" actId="1036"/>
          <ac:picMkLst>
            <pc:docMk/>
            <pc:sldMk cId="3994882627" sldId="867"/>
            <ac:picMk id="9" creationId="{CE2C19FD-6D86-D125-0AB5-C2F854D617A1}"/>
          </ac:picMkLst>
        </pc:picChg>
        <pc:cxnChg chg="add mod">
          <ac:chgData name="Andreas Koksrud" userId="9d9beba6-c052-407a-8599-c781a677a996" providerId="ADAL" clId="{8658473B-F8B0-412E-ABD9-785EC206476C}" dt="2024-08-16T04:44:17.608" v="606" actId="14100"/>
          <ac:cxnSpMkLst>
            <pc:docMk/>
            <pc:sldMk cId="3994882627" sldId="867"/>
            <ac:cxnSpMk id="10" creationId="{73266020-0B4F-2C5B-0FC4-A136BDF0B854}"/>
          </ac:cxnSpMkLst>
        </pc:cxnChg>
        <pc:cxnChg chg="add mod">
          <ac:chgData name="Andreas Koksrud" userId="9d9beba6-c052-407a-8599-c781a677a996" providerId="ADAL" clId="{8658473B-F8B0-412E-ABD9-785EC206476C}" dt="2024-08-16T04:44:31.748" v="608" actId="14100"/>
          <ac:cxnSpMkLst>
            <pc:docMk/>
            <pc:sldMk cId="3994882627" sldId="867"/>
            <ac:cxnSpMk id="13" creationId="{D61812EA-9C4C-C401-D73C-5C2AED17E68E}"/>
          </ac:cxnSpMkLst>
        </pc:cxnChg>
      </pc:sldChg>
      <pc:sldChg chg="del">
        <pc:chgData name="Andreas Koksrud" userId="9d9beba6-c052-407a-8599-c781a677a996" providerId="ADAL" clId="{8658473B-F8B0-412E-ABD9-785EC206476C}" dt="2024-08-11T09:51:31.572" v="19" actId="47"/>
        <pc:sldMkLst>
          <pc:docMk/>
          <pc:sldMk cId="4078051789" sldId="868"/>
        </pc:sldMkLst>
      </pc:sldChg>
      <pc:sldChg chg="del">
        <pc:chgData name="Andreas Koksrud" userId="9d9beba6-c052-407a-8599-c781a677a996" providerId="ADAL" clId="{8658473B-F8B0-412E-ABD9-785EC206476C}" dt="2024-08-11T09:51:31.572" v="19" actId="47"/>
        <pc:sldMkLst>
          <pc:docMk/>
          <pc:sldMk cId="612492956" sldId="869"/>
        </pc:sldMkLst>
      </pc:sldChg>
      <pc:sldChg chg="del">
        <pc:chgData name="Andreas Koksrud" userId="9d9beba6-c052-407a-8599-c781a677a996" providerId="ADAL" clId="{8658473B-F8B0-412E-ABD9-785EC206476C}" dt="2024-08-11T09:51:31.572" v="19" actId="47"/>
        <pc:sldMkLst>
          <pc:docMk/>
          <pc:sldMk cId="118550550" sldId="870"/>
        </pc:sldMkLst>
      </pc:sldChg>
      <pc:sldChg chg="del">
        <pc:chgData name="Andreas Koksrud" userId="9d9beba6-c052-407a-8599-c781a677a996" providerId="ADAL" clId="{8658473B-F8B0-412E-ABD9-785EC206476C}" dt="2024-08-11T09:51:31.572" v="19" actId="47"/>
        <pc:sldMkLst>
          <pc:docMk/>
          <pc:sldMk cId="548472017" sldId="871"/>
        </pc:sldMkLst>
      </pc:sldChg>
      <pc:sldChg chg="addSp modSp mod ord">
        <pc:chgData name="Andreas Koksrud" userId="9d9beba6-c052-407a-8599-c781a677a996" providerId="ADAL" clId="{8658473B-F8B0-412E-ABD9-785EC206476C}" dt="2024-08-24T17:28:02.503" v="12134" actId="14100"/>
        <pc:sldMkLst>
          <pc:docMk/>
          <pc:sldMk cId="2547417480" sldId="872"/>
        </pc:sldMkLst>
        <pc:spChg chg="mod">
          <ac:chgData name="Andreas Koksrud" userId="9d9beba6-c052-407a-8599-c781a677a996" providerId="ADAL" clId="{8658473B-F8B0-412E-ABD9-785EC206476C}" dt="2024-08-24T17:27:35.615" v="12124" actId="14100"/>
          <ac:spMkLst>
            <pc:docMk/>
            <pc:sldMk cId="2547417480" sldId="872"/>
            <ac:spMk id="2" creationId="{9796E8C1-5924-9DB3-B51B-75296717F89F}"/>
          </ac:spMkLst>
        </pc:spChg>
        <pc:spChg chg="add mod">
          <ac:chgData name="Andreas Koksrud" userId="9d9beba6-c052-407a-8599-c781a677a996" providerId="ADAL" clId="{8658473B-F8B0-412E-ABD9-785EC206476C}" dt="2024-08-24T17:28:02.503" v="12134" actId="14100"/>
          <ac:spMkLst>
            <pc:docMk/>
            <pc:sldMk cId="2547417480" sldId="872"/>
            <ac:spMk id="4" creationId="{A2AA7E7B-789F-BABC-8064-524E754B605A}"/>
          </ac:spMkLst>
        </pc:spChg>
        <pc:spChg chg="mod">
          <ac:chgData name="Andreas Koksrud" userId="9d9beba6-c052-407a-8599-c781a677a996" providerId="ADAL" clId="{8658473B-F8B0-412E-ABD9-785EC206476C}" dt="2024-08-23T05:40:20.596" v="6568"/>
          <ac:spMkLst>
            <pc:docMk/>
            <pc:sldMk cId="2547417480" sldId="872"/>
            <ac:spMk id="9" creationId="{66D07394-7DFD-A3DF-E040-0288B2538468}"/>
          </ac:spMkLst>
        </pc:spChg>
        <pc:spChg chg="mod">
          <ac:chgData name="Andreas Koksrud" userId="9d9beba6-c052-407a-8599-c781a677a996" providerId="ADAL" clId="{8658473B-F8B0-412E-ABD9-785EC206476C}" dt="2024-08-23T07:36:43.759" v="11070"/>
          <ac:spMkLst>
            <pc:docMk/>
            <pc:sldMk cId="2547417480" sldId="872"/>
            <ac:spMk id="180" creationId="{00000000-0000-0000-0000-000000000000}"/>
          </ac:spMkLst>
        </pc:spChg>
      </pc:sldChg>
      <pc:sldChg chg="modSp mod ord">
        <pc:chgData name="Andreas Koksrud" userId="9d9beba6-c052-407a-8599-c781a677a996" providerId="ADAL" clId="{8658473B-F8B0-412E-ABD9-785EC206476C}" dt="2024-08-24T18:40:33.591" v="12951" actId="20577"/>
        <pc:sldMkLst>
          <pc:docMk/>
          <pc:sldMk cId="3240008992" sldId="874"/>
        </pc:sldMkLst>
        <pc:spChg chg="mod">
          <ac:chgData name="Andreas Koksrud" userId="9d9beba6-c052-407a-8599-c781a677a996" providerId="ADAL" clId="{8658473B-F8B0-412E-ABD9-785EC206476C}" dt="2024-08-23T05:41:16.879" v="6570"/>
          <ac:spMkLst>
            <pc:docMk/>
            <pc:sldMk cId="3240008992" sldId="874"/>
            <ac:spMk id="5" creationId="{5D1F7A92-C360-088A-2BFA-E464B5120023}"/>
          </ac:spMkLst>
        </pc:spChg>
        <pc:spChg chg="mod">
          <ac:chgData name="Andreas Koksrud" userId="9d9beba6-c052-407a-8599-c781a677a996" providerId="ADAL" clId="{8658473B-F8B0-412E-ABD9-785EC206476C}" dt="2024-08-24T18:40:33.591" v="12951" actId="20577"/>
          <ac:spMkLst>
            <pc:docMk/>
            <pc:sldMk cId="3240008992" sldId="874"/>
            <ac:spMk id="8" creationId="{8928A11D-61E0-D194-E095-83A6945E510F}"/>
          </ac:spMkLst>
        </pc:spChg>
        <pc:picChg chg="mod">
          <ac:chgData name="Andreas Koksrud" userId="9d9beba6-c052-407a-8599-c781a677a996" providerId="ADAL" clId="{8658473B-F8B0-412E-ABD9-785EC206476C}" dt="2024-08-24T18:17:10.563" v="12854" actId="14826"/>
          <ac:picMkLst>
            <pc:docMk/>
            <pc:sldMk cId="3240008992" sldId="874"/>
            <ac:picMk id="11" creationId="{0657F2E5-C1D0-5271-98F9-0C9B91D9D3E0}"/>
          </ac:picMkLst>
        </pc:picChg>
        <pc:picChg chg="mod">
          <ac:chgData name="Andreas Koksrud" userId="9d9beba6-c052-407a-8599-c781a677a996" providerId="ADAL" clId="{8658473B-F8B0-412E-ABD9-785EC206476C}" dt="2024-08-24T18:28:53.919" v="12855" actId="14826"/>
          <ac:picMkLst>
            <pc:docMk/>
            <pc:sldMk cId="3240008992" sldId="874"/>
            <ac:picMk id="14" creationId="{7608F687-685D-C88B-3341-A9421C76EA4C}"/>
          </ac:picMkLst>
        </pc:picChg>
        <pc:picChg chg="mod">
          <ac:chgData name="Andreas Koksrud" userId="9d9beba6-c052-407a-8599-c781a677a996" providerId="ADAL" clId="{8658473B-F8B0-412E-ABD9-785EC206476C}" dt="2024-08-24T18:29:28.548" v="12857" actId="1076"/>
          <ac:picMkLst>
            <pc:docMk/>
            <pc:sldMk cId="3240008992" sldId="874"/>
            <ac:picMk id="17" creationId="{A2E35820-F204-C5BA-5DAF-EE7048B44AA6}"/>
          </ac:picMkLst>
        </pc:picChg>
      </pc:sldChg>
      <pc:sldChg chg="addSp delSp modSp mod ord">
        <pc:chgData name="Andreas Koksrud" userId="9d9beba6-c052-407a-8599-c781a677a996" providerId="ADAL" clId="{8658473B-F8B0-412E-ABD9-785EC206476C}" dt="2024-08-24T18:57:03.550" v="13080" actId="14100"/>
        <pc:sldMkLst>
          <pc:docMk/>
          <pc:sldMk cId="3825753762" sldId="875"/>
        </pc:sldMkLst>
        <pc:spChg chg="del mod">
          <ac:chgData name="Andreas Koksrud" userId="9d9beba6-c052-407a-8599-c781a677a996" providerId="ADAL" clId="{8658473B-F8B0-412E-ABD9-785EC206476C}" dt="2024-08-17T18:41:52.686" v="1748" actId="478"/>
          <ac:spMkLst>
            <pc:docMk/>
            <pc:sldMk cId="3825753762" sldId="875"/>
            <ac:spMk id="2" creationId="{0C578A6C-5215-9DFE-51D6-8AA7A3E4A34A}"/>
          </ac:spMkLst>
        </pc:spChg>
        <pc:spChg chg="del mod">
          <ac:chgData name="Andreas Koksrud" userId="9d9beba6-c052-407a-8599-c781a677a996" providerId="ADAL" clId="{8658473B-F8B0-412E-ABD9-785EC206476C}" dt="2024-08-16T04:46:04.476" v="675" actId="478"/>
          <ac:spMkLst>
            <pc:docMk/>
            <pc:sldMk cId="3825753762" sldId="875"/>
            <ac:spMk id="3" creationId="{13148106-895F-5AD9-9189-62DB848A69CD}"/>
          </ac:spMkLst>
        </pc:spChg>
        <pc:spChg chg="del mod">
          <ac:chgData name="Andreas Koksrud" userId="9d9beba6-c052-407a-8599-c781a677a996" providerId="ADAL" clId="{8658473B-F8B0-412E-ABD9-785EC206476C}" dt="2024-08-16T04:46:17.929" v="679" actId="478"/>
          <ac:spMkLst>
            <pc:docMk/>
            <pc:sldMk cId="3825753762" sldId="875"/>
            <ac:spMk id="5" creationId="{2F071062-D460-0FA3-75FF-629F2BD35023}"/>
          </ac:spMkLst>
        </pc:spChg>
        <pc:spChg chg="mod">
          <ac:chgData name="Andreas Koksrud" userId="9d9beba6-c052-407a-8599-c781a677a996" providerId="ADAL" clId="{8658473B-F8B0-412E-ABD9-785EC206476C}" dt="2024-08-23T05:41:16.879" v="6570"/>
          <ac:spMkLst>
            <pc:docMk/>
            <pc:sldMk cId="3825753762" sldId="875"/>
            <ac:spMk id="8" creationId="{2DEEE9B2-D543-DD70-2451-4C6596D07989}"/>
          </ac:spMkLst>
        </pc:spChg>
        <pc:spChg chg="add del mod">
          <ac:chgData name="Andreas Koksrud" userId="9d9beba6-c052-407a-8599-c781a677a996" providerId="ADAL" clId="{8658473B-F8B0-412E-ABD9-785EC206476C}" dt="2024-08-16T04:48:10.476" v="711" actId="478"/>
          <ac:spMkLst>
            <pc:docMk/>
            <pc:sldMk cId="3825753762" sldId="875"/>
            <ac:spMk id="9" creationId="{F7E8DAB2-B61C-1E44-456F-446588A235A8}"/>
          </ac:spMkLst>
        </pc:spChg>
        <pc:spChg chg="add del mod">
          <ac:chgData name="Andreas Koksrud" userId="9d9beba6-c052-407a-8599-c781a677a996" providerId="ADAL" clId="{8658473B-F8B0-412E-ABD9-785EC206476C}" dt="2024-08-16T04:48:08.286" v="710" actId="478"/>
          <ac:spMkLst>
            <pc:docMk/>
            <pc:sldMk cId="3825753762" sldId="875"/>
            <ac:spMk id="12" creationId="{D483F744-8316-839B-7992-7B1DD50E29E1}"/>
          </ac:spMkLst>
        </pc:spChg>
        <pc:spChg chg="add mod ord">
          <ac:chgData name="Andreas Koksrud" userId="9d9beba6-c052-407a-8599-c781a677a996" providerId="ADAL" clId="{8658473B-F8B0-412E-ABD9-785EC206476C}" dt="2024-08-24T18:55:38.256" v="13067" actId="404"/>
          <ac:spMkLst>
            <pc:docMk/>
            <pc:sldMk cId="3825753762" sldId="875"/>
            <ac:spMk id="13" creationId="{49BBEABD-6007-6337-349B-687EA547B9D2}"/>
          </ac:spMkLst>
        </pc:spChg>
        <pc:spChg chg="mod">
          <ac:chgData name="Andreas Koksrud" userId="9d9beba6-c052-407a-8599-c781a677a996" providerId="ADAL" clId="{8658473B-F8B0-412E-ABD9-785EC206476C}" dt="2024-08-17T18:39:54.244" v="1732" actId="20577"/>
          <ac:spMkLst>
            <pc:docMk/>
            <pc:sldMk cId="3825753762" sldId="875"/>
            <ac:spMk id="180" creationId="{00000000-0000-0000-0000-000000000000}"/>
          </ac:spMkLst>
        </pc:spChg>
        <pc:picChg chg="add mod">
          <ac:chgData name="Andreas Koksrud" userId="9d9beba6-c052-407a-8599-c781a677a996" providerId="ADAL" clId="{8658473B-F8B0-412E-ABD9-785EC206476C}" dt="2024-08-24T18:54:52.725" v="13063" actId="14100"/>
          <ac:picMkLst>
            <pc:docMk/>
            <pc:sldMk cId="3825753762" sldId="875"/>
            <ac:picMk id="3" creationId="{8031A070-EE54-6C8F-16C3-A5B6A00BDF53}"/>
          </ac:picMkLst>
        </pc:picChg>
        <pc:picChg chg="add del mod">
          <ac:chgData name="Andreas Koksrud" userId="9d9beba6-c052-407a-8599-c781a677a996" providerId="ADAL" clId="{8658473B-F8B0-412E-ABD9-785EC206476C}" dt="2024-08-24T18:54:42.997" v="13059" actId="478"/>
          <ac:picMkLst>
            <pc:docMk/>
            <pc:sldMk cId="3825753762" sldId="875"/>
            <ac:picMk id="5" creationId="{1C37F81D-0A5D-9106-0932-B1EB54D2B638}"/>
          </ac:picMkLst>
        </pc:picChg>
        <pc:picChg chg="del">
          <ac:chgData name="Andreas Koksrud" userId="9d9beba6-c052-407a-8599-c781a677a996" providerId="ADAL" clId="{8658473B-F8B0-412E-ABD9-785EC206476C}" dt="2024-08-16T04:48:03.005" v="709" actId="478"/>
          <ac:picMkLst>
            <pc:docMk/>
            <pc:sldMk cId="3825753762" sldId="875"/>
            <ac:picMk id="6" creationId="{60B7BE4B-C380-F509-39B9-63F66FEDB884}"/>
          </ac:picMkLst>
        </pc:picChg>
        <pc:picChg chg="del mod">
          <ac:chgData name="Andreas Koksrud" userId="9d9beba6-c052-407a-8599-c781a677a996" providerId="ADAL" clId="{8658473B-F8B0-412E-ABD9-785EC206476C}" dt="2024-08-17T18:41:00.359" v="1737" actId="478"/>
          <ac:picMkLst>
            <pc:docMk/>
            <pc:sldMk cId="3825753762" sldId="875"/>
            <ac:picMk id="7" creationId="{BCAD6897-386A-5BD6-AABB-CE34F342BBB7}"/>
          </ac:picMkLst>
        </pc:picChg>
        <pc:picChg chg="add mod">
          <ac:chgData name="Andreas Koksrud" userId="9d9beba6-c052-407a-8599-c781a677a996" providerId="ADAL" clId="{8658473B-F8B0-412E-ABD9-785EC206476C}" dt="2024-08-24T18:55:56.399" v="13074" actId="1035"/>
          <ac:picMkLst>
            <pc:docMk/>
            <pc:sldMk cId="3825753762" sldId="875"/>
            <ac:picMk id="9" creationId="{A36BF1F5-5BC1-F392-B9C0-E6AC63EDA24C}"/>
          </ac:picMkLst>
        </pc:picChg>
        <pc:picChg chg="del mod">
          <ac:chgData name="Andreas Koksrud" userId="9d9beba6-c052-407a-8599-c781a677a996" providerId="ADAL" clId="{8658473B-F8B0-412E-ABD9-785EC206476C}" dt="2024-08-17T18:40:39.987" v="1733" actId="478"/>
          <ac:picMkLst>
            <pc:docMk/>
            <pc:sldMk cId="3825753762" sldId="875"/>
            <ac:picMk id="10" creationId="{58879FEC-2172-0E32-F467-93CE73CE793A}"/>
          </ac:picMkLst>
        </pc:picChg>
        <pc:picChg chg="add mod">
          <ac:chgData name="Andreas Koksrud" userId="9d9beba6-c052-407a-8599-c781a677a996" providerId="ADAL" clId="{8658473B-F8B0-412E-ABD9-785EC206476C}" dt="2024-08-24T18:56:32.749" v="13077" actId="14826"/>
          <ac:picMkLst>
            <pc:docMk/>
            <pc:sldMk cId="3825753762" sldId="875"/>
            <ac:picMk id="16" creationId="{118F8703-15C6-5A09-47A4-92F549F11E34}"/>
          </ac:picMkLst>
        </pc:picChg>
        <pc:picChg chg="add mod">
          <ac:chgData name="Andreas Koksrud" userId="9d9beba6-c052-407a-8599-c781a677a996" providerId="ADAL" clId="{8658473B-F8B0-412E-ABD9-785EC206476C}" dt="2024-08-24T18:57:03.550" v="13080" actId="14100"/>
          <ac:picMkLst>
            <pc:docMk/>
            <pc:sldMk cId="3825753762" sldId="875"/>
            <ac:picMk id="18" creationId="{7717E78E-E1F1-44F7-AE1D-910419366FE0}"/>
          </ac:picMkLst>
        </pc:picChg>
        <pc:cxnChg chg="mod ord">
          <ac:chgData name="Andreas Koksrud" userId="9d9beba6-c052-407a-8599-c781a677a996" providerId="ADAL" clId="{8658473B-F8B0-412E-ABD9-785EC206476C}" dt="2024-08-24T18:56:01.187" v="13075" actId="14100"/>
          <ac:cxnSpMkLst>
            <pc:docMk/>
            <pc:sldMk cId="3825753762" sldId="875"/>
            <ac:cxnSpMk id="11" creationId="{1289D01B-409D-60E0-C319-E29D9069E7DD}"/>
          </ac:cxnSpMkLst>
        </pc:cxnChg>
        <pc:cxnChg chg="add mod">
          <ac:chgData name="Andreas Koksrud" userId="9d9beba6-c052-407a-8599-c781a677a996" providerId="ADAL" clId="{8658473B-F8B0-412E-ABD9-785EC206476C}" dt="2024-08-24T18:56:10.983" v="13076" actId="14100"/>
          <ac:cxnSpMkLst>
            <pc:docMk/>
            <pc:sldMk cId="3825753762" sldId="875"/>
            <ac:cxnSpMk id="19" creationId="{BFB988E0-687E-C3F7-C5B8-584BD52E68B2}"/>
          </ac:cxnSpMkLst>
        </pc:cxnChg>
        <pc:cxnChg chg="add mod">
          <ac:chgData name="Andreas Koksrud" userId="9d9beba6-c052-407a-8599-c781a677a996" providerId="ADAL" clId="{8658473B-F8B0-412E-ABD9-785EC206476C}" dt="2024-08-24T18:57:03.550" v="13080" actId="14100"/>
          <ac:cxnSpMkLst>
            <pc:docMk/>
            <pc:sldMk cId="3825753762" sldId="875"/>
            <ac:cxnSpMk id="21" creationId="{338970D1-D9D2-8D24-E247-7CAB26058329}"/>
          </ac:cxnSpMkLst>
        </pc:cxnChg>
      </pc:sldChg>
      <pc:sldChg chg="del">
        <pc:chgData name="Andreas Koksrud" userId="9d9beba6-c052-407a-8599-c781a677a996" providerId="ADAL" clId="{8658473B-F8B0-412E-ABD9-785EC206476C}" dt="2024-08-11T09:51:31.572" v="19" actId="47"/>
        <pc:sldMkLst>
          <pc:docMk/>
          <pc:sldMk cId="1529294142" sldId="876"/>
        </pc:sldMkLst>
      </pc:sldChg>
      <pc:sldChg chg="del">
        <pc:chgData name="Andreas Koksrud" userId="9d9beba6-c052-407a-8599-c781a677a996" providerId="ADAL" clId="{8658473B-F8B0-412E-ABD9-785EC206476C}" dt="2024-08-11T09:51:31.572" v="19" actId="47"/>
        <pc:sldMkLst>
          <pc:docMk/>
          <pc:sldMk cId="1680702220" sldId="877"/>
        </pc:sldMkLst>
      </pc:sldChg>
      <pc:sldChg chg="del">
        <pc:chgData name="Andreas Koksrud" userId="9d9beba6-c052-407a-8599-c781a677a996" providerId="ADAL" clId="{8658473B-F8B0-412E-ABD9-785EC206476C}" dt="2024-08-11T09:51:31.572" v="19" actId="47"/>
        <pc:sldMkLst>
          <pc:docMk/>
          <pc:sldMk cId="3516004309" sldId="878"/>
        </pc:sldMkLst>
      </pc:sldChg>
      <pc:sldChg chg="del">
        <pc:chgData name="Andreas Koksrud" userId="9d9beba6-c052-407a-8599-c781a677a996" providerId="ADAL" clId="{8658473B-F8B0-412E-ABD9-785EC206476C}" dt="2024-08-11T09:51:31.572" v="19" actId="47"/>
        <pc:sldMkLst>
          <pc:docMk/>
          <pc:sldMk cId="999972062" sldId="879"/>
        </pc:sldMkLst>
      </pc:sldChg>
      <pc:sldChg chg="del">
        <pc:chgData name="Andreas Koksrud" userId="9d9beba6-c052-407a-8599-c781a677a996" providerId="ADAL" clId="{8658473B-F8B0-412E-ABD9-785EC206476C}" dt="2024-08-11T09:51:31.572" v="19" actId="47"/>
        <pc:sldMkLst>
          <pc:docMk/>
          <pc:sldMk cId="3205976706" sldId="880"/>
        </pc:sldMkLst>
      </pc:sldChg>
      <pc:sldChg chg="del">
        <pc:chgData name="Andreas Koksrud" userId="9d9beba6-c052-407a-8599-c781a677a996" providerId="ADAL" clId="{8658473B-F8B0-412E-ABD9-785EC206476C}" dt="2024-08-11T09:51:31.572" v="19" actId="47"/>
        <pc:sldMkLst>
          <pc:docMk/>
          <pc:sldMk cId="2279528697" sldId="881"/>
        </pc:sldMkLst>
      </pc:sldChg>
      <pc:sldChg chg="del">
        <pc:chgData name="Andreas Koksrud" userId="9d9beba6-c052-407a-8599-c781a677a996" providerId="ADAL" clId="{8658473B-F8B0-412E-ABD9-785EC206476C}" dt="2024-08-11T09:51:31.572" v="19" actId="47"/>
        <pc:sldMkLst>
          <pc:docMk/>
          <pc:sldMk cId="360095748" sldId="882"/>
        </pc:sldMkLst>
      </pc:sldChg>
      <pc:sldChg chg="del">
        <pc:chgData name="Andreas Koksrud" userId="9d9beba6-c052-407a-8599-c781a677a996" providerId="ADAL" clId="{8658473B-F8B0-412E-ABD9-785EC206476C}" dt="2024-08-11T09:51:31.572" v="19" actId="47"/>
        <pc:sldMkLst>
          <pc:docMk/>
          <pc:sldMk cId="1917928831" sldId="883"/>
        </pc:sldMkLst>
      </pc:sldChg>
      <pc:sldChg chg="del">
        <pc:chgData name="Andreas Koksrud" userId="9d9beba6-c052-407a-8599-c781a677a996" providerId="ADAL" clId="{8658473B-F8B0-412E-ABD9-785EC206476C}" dt="2024-08-11T09:51:31.572" v="19" actId="47"/>
        <pc:sldMkLst>
          <pc:docMk/>
          <pc:sldMk cId="33461568" sldId="884"/>
        </pc:sldMkLst>
      </pc:sldChg>
      <pc:sldChg chg="del">
        <pc:chgData name="Andreas Koksrud" userId="9d9beba6-c052-407a-8599-c781a677a996" providerId="ADAL" clId="{8658473B-F8B0-412E-ABD9-785EC206476C}" dt="2024-08-11T09:51:31.572" v="19" actId="47"/>
        <pc:sldMkLst>
          <pc:docMk/>
          <pc:sldMk cId="2228775269" sldId="885"/>
        </pc:sldMkLst>
      </pc:sldChg>
      <pc:sldChg chg="del">
        <pc:chgData name="Andreas Koksrud" userId="9d9beba6-c052-407a-8599-c781a677a996" providerId="ADAL" clId="{8658473B-F8B0-412E-ABD9-785EC206476C}" dt="2024-08-11T09:51:31.572" v="19" actId="47"/>
        <pc:sldMkLst>
          <pc:docMk/>
          <pc:sldMk cId="3576402817" sldId="886"/>
        </pc:sldMkLst>
      </pc:sldChg>
      <pc:sldChg chg="del">
        <pc:chgData name="Andreas Koksrud" userId="9d9beba6-c052-407a-8599-c781a677a996" providerId="ADAL" clId="{8658473B-F8B0-412E-ABD9-785EC206476C}" dt="2024-08-11T09:51:31.572" v="19" actId="47"/>
        <pc:sldMkLst>
          <pc:docMk/>
          <pc:sldMk cId="3284537785" sldId="887"/>
        </pc:sldMkLst>
      </pc:sldChg>
      <pc:sldChg chg="del">
        <pc:chgData name="Andreas Koksrud" userId="9d9beba6-c052-407a-8599-c781a677a996" providerId="ADAL" clId="{8658473B-F8B0-412E-ABD9-785EC206476C}" dt="2024-08-11T09:51:31.572" v="19" actId="47"/>
        <pc:sldMkLst>
          <pc:docMk/>
          <pc:sldMk cId="2194220150" sldId="888"/>
        </pc:sldMkLst>
      </pc:sldChg>
      <pc:sldChg chg="del">
        <pc:chgData name="Andreas Koksrud" userId="9d9beba6-c052-407a-8599-c781a677a996" providerId="ADAL" clId="{8658473B-F8B0-412E-ABD9-785EC206476C}" dt="2024-08-11T09:51:31.572" v="19" actId="47"/>
        <pc:sldMkLst>
          <pc:docMk/>
          <pc:sldMk cId="797114304" sldId="889"/>
        </pc:sldMkLst>
      </pc:sldChg>
      <pc:sldChg chg="del">
        <pc:chgData name="Andreas Koksrud" userId="9d9beba6-c052-407a-8599-c781a677a996" providerId="ADAL" clId="{8658473B-F8B0-412E-ABD9-785EC206476C}" dt="2024-08-11T09:51:31.572" v="19" actId="47"/>
        <pc:sldMkLst>
          <pc:docMk/>
          <pc:sldMk cId="2383107090" sldId="890"/>
        </pc:sldMkLst>
      </pc:sldChg>
      <pc:sldChg chg="modSp">
        <pc:chgData name="Andreas Koksrud" userId="9d9beba6-c052-407a-8599-c781a677a996" providerId="ADAL" clId="{8658473B-F8B0-412E-ABD9-785EC206476C}" dt="2024-08-27T11:44:49.129" v="15269"/>
        <pc:sldMkLst>
          <pc:docMk/>
          <pc:sldMk cId="3146980650" sldId="891"/>
        </pc:sldMkLst>
        <pc:graphicFrameChg chg="mod">
          <ac:chgData name="Andreas Koksrud" userId="9d9beba6-c052-407a-8599-c781a677a996" providerId="ADAL" clId="{8658473B-F8B0-412E-ABD9-785EC206476C}" dt="2024-08-27T11:44:49.129" v="15269"/>
          <ac:graphicFrameMkLst>
            <pc:docMk/>
            <pc:sldMk cId="3146980650" sldId="891"/>
            <ac:graphicFrameMk id="182" creationId="{31C961BD-9981-8CD8-539D-AB011F3808BE}"/>
          </ac:graphicFrameMkLst>
        </pc:graphicFrameChg>
      </pc:sldChg>
      <pc:sldChg chg="modSp mod">
        <pc:chgData name="Andreas Koksrud" userId="9d9beba6-c052-407a-8599-c781a677a996" providerId="ADAL" clId="{8658473B-F8B0-412E-ABD9-785EC206476C}" dt="2024-08-24T17:17:49.454" v="11879" actId="14100"/>
        <pc:sldMkLst>
          <pc:docMk/>
          <pc:sldMk cId="3243061228" sldId="892"/>
        </pc:sldMkLst>
        <pc:spChg chg="mod">
          <ac:chgData name="Andreas Koksrud" userId="9d9beba6-c052-407a-8599-c781a677a996" providerId="ADAL" clId="{8658473B-F8B0-412E-ABD9-785EC206476C}" dt="2024-08-24T17:17:49.454" v="11879" actId="14100"/>
          <ac:spMkLst>
            <pc:docMk/>
            <pc:sldMk cId="3243061228" sldId="892"/>
            <ac:spMk id="5" creationId="{06C331F7-EF3E-5E7F-9901-C355F1A9896B}"/>
          </ac:spMkLst>
        </pc:spChg>
      </pc:sldChg>
      <pc:sldChg chg="modSp mod">
        <pc:chgData name="Andreas Koksrud" userId="9d9beba6-c052-407a-8599-c781a677a996" providerId="ADAL" clId="{8658473B-F8B0-412E-ABD9-785EC206476C}" dt="2024-08-24T17:20:32.193" v="11997" actId="6549"/>
        <pc:sldMkLst>
          <pc:docMk/>
          <pc:sldMk cId="2673461105" sldId="893"/>
        </pc:sldMkLst>
        <pc:spChg chg="mod">
          <ac:chgData name="Andreas Koksrud" userId="9d9beba6-c052-407a-8599-c781a677a996" providerId="ADAL" clId="{8658473B-F8B0-412E-ABD9-785EC206476C}" dt="2024-08-24T17:20:32.193" v="11997" actId="6549"/>
          <ac:spMkLst>
            <pc:docMk/>
            <pc:sldMk cId="2673461105" sldId="893"/>
            <ac:spMk id="5" creationId="{06C331F7-EF3E-5E7F-9901-C355F1A9896B}"/>
          </ac:spMkLst>
        </pc:spChg>
      </pc:sldChg>
      <pc:sldChg chg="del">
        <pc:chgData name="Andreas Koksrud" userId="9d9beba6-c052-407a-8599-c781a677a996" providerId="ADAL" clId="{8658473B-F8B0-412E-ABD9-785EC206476C}" dt="2024-08-11T09:41:31.703" v="13" actId="47"/>
        <pc:sldMkLst>
          <pc:docMk/>
          <pc:sldMk cId="3219145646" sldId="894"/>
        </pc:sldMkLst>
      </pc:sldChg>
      <pc:sldChg chg="del">
        <pc:chgData name="Andreas Koksrud" userId="9d9beba6-c052-407a-8599-c781a677a996" providerId="ADAL" clId="{8658473B-F8B0-412E-ABD9-785EC206476C}" dt="2024-08-11T09:41:31.703" v="13" actId="47"/>
        <pc:sldMkLst>
          <pc:docMk/>
          <pc:sldMk cId="2337525422" sldId="896"/>
        </pc:sldMkLst>
      </pc:sldChg>
      <pc:sldChg chg="del">
        <pc:chgData name="Andreas Koksrud" userId="9d9beba6-c052-407a-8599-c781a677a996" providerId="ADAL" clId="{8658473B-F8B0-412E-ABD9-785EC206476C}" dt="2024-08-11T09:41:31.703" v="13" actId="47"/>
        <pc:sldMkLst>
          <pc:docMk/>
          <pc:sldMk cId="1698186835" sldId="897"/>
        </pc:sldMkLst>
      </pc:sldChg>
      <pc:sldChg chg="del">
        <pc:chgData name="Andreas Koksrud" userId="9d9beba6-c052-407a-8599-c781a677a996" providerId="ADAL" clId="{8658473B-F8B0-412E-ABD9-785EC206476C}" dt="2024-08-11T09:41:31.703" v="13" actId="47"/>
        <pc:sldMkLst>
          <pc:docMk/>
          <pc:sldMk cId="3624130659" sldId="898"/>
        </pc:sldMkLst>
      </pc:sldChg>
      <pc:sldChg chg="del">
        <pc:chgData name="Andreas Koksrud" userId="9d9beba6-c052-407a-8599-c781a677a996" providerId="ADAL" clId="{8658473B-F8B0-412E-ABD9-785EC206476C}" dt="2024-08-11T09:41:31.703" v="13" actId="47"/>
        <pc:sldMkLst>
          <pc:docMk/>
          <pc:sldMk cId="1695057909" sldId="899"/>
        </pc:sldMkLst>
      </pc:sldChg>
      <pc:sldChg chg="modSp mod">
        <pc:chgData name="Andreas Koksrud" userId="9d9beba6-c052-407a-8599-c781a677a996" providerId="ADAL" clId="{8658473B-F8B0-412E-ABD9-785EC206476C}" dt="2024-08-23T05:22:53.667" v="6437" actId="20577"/>
        <pc:sldMkLst>
          <pc:docMk/>
          <pc:sldMk cId="1681035015" sldId="900"/>
        </pc:sldMkLst>
        <pc:spChg chg="mod">
          <ac:chgData name="Andreas Koksrud" userId="9d9beba6-c052-407a-8599-c781a677a996" providerId="ADAL" clId="{8658473B-F8B0-412E-ABD9-785EC206476C}" dt="2024-08-23T05:22:53.667" v="6437" actId="20577"/>
          <ac:spMkLst>
            <pc:docMk/>
            <pc:sldMk cId="1681035015" sldId="900"/>
            <ac:spMk id="181" creationId="{00000000-0000-0000-0000-000000000000}"/>
          </ac:spMkLst>
        </pc:spChg>
      </pc:sldChg>
      <pc:sldChg chg="modSp mod">
        <pc:chgData name="Andreas Koksrud" userId="9d9beba6-c052-407a-8599-c781a677a996" providerId="ADAL" clId="{8658473B-F8B0-412E-ABD9-785EC206476C}" dt="2024-08-23T05:24:14.884" v="6461" actId="6549"/>
        <pc:sldMkLst>
          <pc:docMk/>
          <pc:sldMk cId="1114492161" sldId="902"/>
        </pc:sldMkLst>
        <pc:spChg chg="mod">
          <ac:chgData name="Andreas Koksrud" userId="9d9beba6-c052-407a-8599-c781a677a996" providerId="ADAL" clId="{8658473B-F8B0-412E-ABD9-785EC206476C}" dt="2024-08-23T05:24:14.884" v="6461" actId="6549"/>
          <ac:spMkLst>
            <pc:docMk/>
            <pc:sldMk cId="1114492161" sldId="902"/>
            <ac:spMk id="181" creationId="{00000000-0000-0000-0000-000000000000}"/>
          </ac:spMkLst>
        </pc:spChg>
      </pc:sldChg>
      <pc:sldChg chg="modSp mod">
        <pc:chgData name="Andreas Koksrud" userId="9d9beba6-c052-407a-8599-c781a677a996" providerId="ADAL" clId="{8658473B-F8B0-412E-ABD9-785EC206476C}" dt="2024-08-23T06:05:07.450" v="7304" actId="20577"/>
        <pc:sldMkLst>
          <pc:docMk/>
          <pc:sldMk cId="2933509549" sldId="903"/>
        </pc:sldMkLst>
        <pc:spChg chg="mod">
          <ac:chgData name="Andreas Koksrud" userId="9d9beba6-c052-407a-8599-c781a677a996" providerId="ADAL" clId="{8658473B-F8B0-412E-ABD9-785EC206476C}" dt="2024-08-23T05:51:02.369" v="6684"/>
          <ac:spMkLst>
            <pc:docMk/>
            <pc:sldMk cId="2933509549" sldId="903"/>
            <ac:spMk id="4" creationId="{4E1C2F61-69D1-C4C7-A93C-FAB0264657C4}"/>
          </ac:spMkLst>
        </pc:spChg>
        <pc:spChg chg="mod">
          <ac:chgData name="Andreas Koksrud" userId="9d9beba6-c052-407a-8599-c781a677a996" providerId="ADAL" clId="{8658473B-F8B0-412E-ABD9-785EC206476C}" dt="2024-08-23T05:50:46.518" v="6683" actId="20577"/>
          <ac:spMkLst>
            <pc:docMk/>
            <pc:sldMk cId="2933509549" sldId="903"/>
            <ac:spMk id="180" creationId="{00000000-0000-0000-0000-000000000000}"/>
          </ac:spMkLst>
        </pc:spChg>
        <pc:spChg chg="mod">
          <ac:chgData name="Andreas Koksrud" userId="9d9beba6-c052-407a-8599-c781a677a996" providerId="ADAL" clId="{8658473B-F8B0-412E-ABD9-785EC206476C}" dt="2024-08-23T06:05:07.450" v="7304" actId="20577"/>
          <ac:spMkLst>
            <pc:docMk/>
            <pc:sldMk cId="2933509549" sldId="903"/>
            <ac:spMk id="181" creationId="{00000000-0000-0000-0000-000000000000}"/>
          </ac:spMkLst>
        </pc:spChg>
      </pc:sldChg>
      <pc:sldChg chg="modSp mod">
        <pc:chgData name="Andreas Koksrud" userId="9d9beba6-c052-407a-8599-c781a677a996" providerId="ADAL" clId="{8658473B-F8B0-412E-ABD9-785EC206476C}" dt="2024-08-23T06:52:37.520" v="8411" actId="20577"/>
        <pc:sldMkLst>
          <pc:docMk/>
          <pc:sldMk cId="2986239912" sldId="904"/>
        </pc:sldMkLst>
        <pc:spChg chg="mod">
          <ac:chgData name="Andreas Koksrud" userId="9d9beba6-c052-407a-8599-c781a677a996" providerId="ADAL" clId="{8658473B-F8B0-412E-ABD9-785EC206476C}" dt="2024-08-23T05:43:16.803" v="6574"/>
          <ac:spMkLst>
            <pc:docMk/>
            <pc:sldMk cId="2986239912" sldId="904"/>
            <ac:spMk id="4" creationId="{2AAFDAAC-8F4B-153F-5BA4-4AA004EB1E80}"/>
          </ac:spMkLst>
        </pc:spChg>
        <pc:spChg chg="mod">
          <ac:chgData name="Andreas Koksrud" userId="9d9beba6-c052-407a-8599-c781a677a996" providerId="ADAL" clId="{8658473B-F8B0-412E-ABD9-785EC206476C}" dt="2024-08-23T05:43:16.803" v="6574"/>
          <ac:spMkLst>
            <pc:docMk/>
            <pc:sldMk cId="2986239912" sldId="904"/>
            <ac:spMk id="180" creationId="{00000000-0000-0000-0000-000000000000}"/>
          </ac:spMkLst>
        </pc:spChg>
        <pc:spChg chg="mod">
          <ac:chgData name="Andreas Koksrud" userId="9d9beba6-c052-407a-8599-c781a677a996" providerId="ADAL" clId="{8658473B-F8B0-412E-ABD9-785EC206476C}" dt="2024-08-23T06:52:37.520" v="8411" actId="20577"/>
          <ac:spMkLst>
            <pc:docMk/>
            <pc:sldMk cId="2986239912" sldId="904"/>
            <ac:spMk id="181" creationId="{00000000-0000-0000-0000-000000000000}"/>
          </ac:spMkLst>
        </pc:spChg>
      </pc:sldChg>
      <pc:sldChg chg="modSp mod">
        <pc:chgData name="Andreas Koksrud" userId="9d9beba6-c052-407a-8599-c781a677a996" providerId="ADAL" clId="{8658473B-F8B0-412E-ABD9-785EC206476C}" dt="2024-08-23T07:15:30.160" v="9439" actId="20577"/>
        <pc:sldMkLst>
          <pc:docMk/>
          <pc:sldMk cId="2439861555" sldId="905"/>
        </pc:sldMkLst>
        <pc:spChg chg="mod">
          <ac:chgData name="Andreas Koksrud" userId="9d9beba6-c052-407a-8599-c781a677a996" providerId="ADAL" clId="{8658473B-F8B0-412E-ABD9-785EC206476C}" dt="2024-08-23T05:43:38.080" v="6575"/>
          <ac:spMkLst>
            <pc:docMk/>
            <pc:sldMk cId="2439861555" sldId="905"/>
            <ac:spMk id="4" creationId="{06D484B0-8A03-2AA5-1C90-502CFFA0A0A7}"/>
          </ac:spMkLst>
        </pc:spChg>
        <pc:spChg chg="mod">
          <ac:chgData name="Andreas Koksrud" userId="9d9beba6-c052-407a-8599-c781a677a996" providerId="ADAL" clId="{8658473B-F8B0-412E-ABD9-785EC206476C}" dt="2024-08-23T05:43:38.080" v="6575"/>
          <ac:spMkLst>
            <pc:docMk/>
            <pc:sldMk cId="2439861555" sldId="905"/>
            <ac:spMk id="180" creationId="{00000000-0000-0000-0000-000000000000}"/>
          </ac:spMkLst>
        </pc:spChg>
        <pc:spChg chg="mod">
          <ac:chgData name="Andreas Koksrud" userId="9d9beba6-c052-407a-8599-c781a677a996" providerId="ADAL" clId="{8658473B-F8B0-412E-ABD9-785EC206476C}" dt="2024-08-23T07:15:30.160" v="9439" actId="20577"/>
          <ac:spMkLst>
            <pc:docMk/>
            <pc:sldMk cId="2439861555" sldId="905"/>
            <ac:spMk id="181" creationId="{00000000-0000-0000-0000-000000000000}"/>
          </ac:spMkLst>
        </pc:spChg>
      </pc:sldChg>
      <pc:sldChg chg="modSp ord">
        <pc:chgData name="Andreas Koksrud" userId="9d9beba6-c052-407a-8599-c781a677a996" providerId="ADAL" clId="{8658473B-F8B0-412E-ABD9-785EC206476C}" dt="2024-08-23T05:40:20.596" v="6568"/>
        <pc:sldMkLst>
          <pc:docMk/>
          <pc:sldMk cId="3378771878" sldId="906"/>
        </pc:sldMkLst>
        <pc:spChg chg="mod">
          <ac:chgData name="Andreas Koksrud" userId="9d9beba6-c052-407a-8599-c781a677a996" providerId="ADAL" clId="{8658473B-F8B0-412E-ABD9-785EC206476C}" dt="2024-08-23T05:40:20.596" v="6568"/>
          <ac:spMkLst>
            <pc:docMk/>
            <pc:sldMk cId="3378771878" sldId="906"/>
            <ac:spMk id="4" creationId="{5DEE125A-D0E1-5DDF-028E-C5FA4A15F28C}"/>
          </ac:spMkLst>
        </pc:spChg>
        <pc:spChg chg="mod">
          <ac:chgData name="Andreas Koksrud" userId="9d9beba6-c052-407a-8599-c781a677a996" providerId="ADAL" clId="{8658473B-F8B0-412E-ABD9-785EC206476C}" dt="2024-08-23T05:40:20.596" v="6568"/>
          <ac:spMkLst>
            <pc:docMk/>
            <pc:sldMk cId="3378771878" sldId="906"/>
            <ac:spMk id="180" creationId="{00000000-0000-0000-0000-000000000000}"/>
          </ac:spMkLst>
        </pc:spChg>
      </pc:sldChg>
      <pc:sldChg chg="modSp mod">
        <pc:chgData name="Andreas Koksrud" userId="9d9beba6-c052-407a-8599-c781a677a996" providerId="ADAL" clId="{8658473B-F8B0-412E-ABD9-785EC206476C}" dt="2024-08-31T13:25:41.115" v="15875" actId="20577"/>
        <pc:sldMkLst>
          <pc:docMk/>
          <pc:sldMk cId="2223033950" sldId="907"/>
        </pc:sldMkLst>
        <pc:spChg chg="mod">
          <ac:chgData name="Andreas Koksrud" userId="9d9beba6-c052-407a-8599-c781a677a996" providerId="ADAL" clId="{8658473B-F8B0-412E-ABD9-785EC206476C}" dt="2024-08-23T05:44:02.231" v="6576"/>
          <ac:spMkLst>
            <pc:docMk/>
            <pc:sldMk cId="2223033950" sldId="907"/>
            <ac:spMk id="4" creationId="{9DE28A13-DC0E-C4C0-5958-28FED7170CC1}"/>
          </ac:spMkLst>
        </pc:spChg>
        <pc:spChg chg="mod">
          <ac:chgData name="Andreas Koksrud" userId="9d9beba6-c052-407a-8599-c781a677a996" providerId="ADAL" clId="{8658473B-F8B0-412E-ABD9-785EC206476C}" dt="2024-08-23T05:44:02.231" v="6576"/>
          <ac:spMkLst>
            <pc:docMk/>
            <pc:sldMk cId="2223033950" sldId="907"/>
            <ac:spMk id="180" creationId="{00000000-0000-0000-0000-000000000000}"/>
          </ac:spMkLst>
        </pc:spChg>
        <pc:spChg chg="mod">
          <ac:chgData name="Andreas Koksrud" userId="9d9beba6-c052-407a-8599-c781a677a996" providerId="ADAL" clId="{8658473B-F8B0-412E-ABD9-785EC206476C}" dt="2024-08-31T13:25:41.115" v="15875" actId="20577"/>
          <ac:spMkLst>
            <pc:docMk/>
            <pc:sldMk cId="2223033950" sldId="907"/>
            <ac:spMk id="181" creationId="{00000000-0000-0000-0000-000000000000}"/>
          </ac:spMkLst>
        </pc:spChg>
      </pc:sldChg>
      <pc:sldChg chg="modSp add del mod">
        <pc:chgData name="Andreas Koksrud" userId="9d9beba6-c052-407a-8599-c781a677a996" providerId="ADAL" clId="{8658473B-F8B0-412E-ABD9-785EC206476C}" dt="2024-08-31T13:41:41.995" v="16103" actId="20577"/>
        <pc:sldMkLst>
          <pc:docMk/>
          <pc:sldMk cId="2242358945" sldId="908"/>
        </pc:sldMkLst>
        <pc:spChg chg="mod">
          <ac:chgData name="Andreas Koksrud" userId="9d9beba6-c052-407a-8599-c781a677a996" providerId="ADAL" clId="{8658473B-F8B0-412E-ABD9-785EC206476C}" dt="2024-08-23T05:45:12.779" v="6580"/>
          <ac:spMkLst>
            <pc:docMk/>
            <pc:sldMk cId="2242358945" sldId="908"/>
            <ac:spMk id="4" creationId="{37048664-C1F4-DCB0-A422-77268E1D8FF6}"/>
          </ac:spMkLst>
        </pc:spChg>
        <pc:spChg chg="mod">
          <ac:chgData name="Andreas Koksrud" userId="9d9beba6-c052-407a-8599-c781a677a996" providerId="ADAL" clId="{8658473B-F8B0-412E-ABD9-785EC206476C}" dt="2024-08-23T05:45:12.779" v="6580"/>
          <ac:spMkLst>
            <pc:docMk/>
            <pc:sldMk cId="2242358945" sldId="908"/>
            <ac:spMk id="180" creationId="{00000000-0000-0000-0000-000000000000}"/>
          </ac:spMkLst>
        </pc:spChg>
        <pc:spChg chg="mod">
          <ac:chgData name="Andreas Koksrud" userId="9d9beba6-c052-407a-8599-c781a677a996" providerId="ADAL" clId="{8658473B-F8B0-412E-ABD9-785EC206476C}" dt="2024-08-31T13:41:41.995" v="16103" actId="20577"/>
          <ac:spMkLst>
            <pc:docMk/>
            <pc:sldMk cId="2242358945" sldId="908"/>
            <ac:spMk id="181" creationId="{00000000-0000-0000-0000-000000000000}"/>
          </ac:spMkLst>
        </pc:spChg>
      </pc:sldChg>
      <pc:sldChg chg="modSp mod ord">
        <pc:chgData name="Andreas Koksrud" userId="9d9beba6-c052-407a-8599-c781a677a996" providerId="ADAL" clId="{8658473B-F8B0-412E-ABD9-785EC206476C}" dt="2024-08-24T17:32:25.848" v="12262" actId="20577"/>
        <pc:sldMkLst>
          <pc:docMk/>
          <pc:sldMk cId="772392015" sldId="909"/>
        </pc:sldMkLst>
        <pc:spChg chg="mod">
          <ac:chgData name="Andreas Koksrud" userId="9d9beba6-c052-407a-8599-c781a677a996" providerId="ADAL" clId="{8658473B-F8B0-412E-ABD9-785EC206476C}" dt="2024-08-23T05:40:56.340" v="6569"/>
          <ac:spMkLst>
            <pc:docMk/>
            <pc:sldMk cId="772392015" sldId="909"/>
            <ac:spMk id="4" creationId="{6336CBD7-B379-EC32-246C-7CAD902CB21E}"/>
          </ac:spMkLst>
        </pc:spChg>
        <pc:spChg chg="mod">
          <ac:chgData name="Andreas Koksrud" userId="9d9beba6-c052-407a-8599-c781a677a996" providerId="ADAL" clId="{8658473B-F8B0-412E-ABD9-785EC206476C}" dt="2024-08-23T05:40:56.340" v="6569"/>
          <ac:spMkLst>
            <pc:docMk/>
            <pc:sldMk cId="772392015" sldId="909"/>
            <ac:spMk id="180" creationId="{00000000-0000-0000-0000-000000000000}"/>
          </ac:spMkLst>
        </pc:spChg>
        <pc:spChg chg="mod">
          <ac:chgData name="Andreas Koksrud" userId="9d9beba6-c052-407a-8599-c781a677a996" providerId="ADAL" clId="{8658473B-F8B0-412E-ABD9-785EC206476C}" dt="2024-08-24T17:32:25.848" v="12262" actId="20577"/>
          <ac:spMkLst>
            <pc:docMk/>
            <pc:sldMk cId="772392015" sldId="909"/>
            <ac:spMk id="181" creationId="{00000000-0000-0000-0000-000000000000}"/>
          </ac:spMkLst>
        </pc:spChg>
      </pc:sldChg>
      <pc:sldChg chg="modSp mod ord">
        <pc:chgData name="Andreas Koksrud" userId="9d9beba6-c052-407a-8599-c781a677a996" providerId="ADAL" clId="{8658473B-F8B0-412E-ABD9-785EC206476C}" dt="2024-08-24T19:00:26.212" v="13085" actId="20577"/>
        <pc:sldMkLst>
          <pc:docMk/>
          <pc:sldMk cId="3240845591" sldId="910"/>
        </pc:sldMkLst>
        <pc:spChg chg="mod">
          <ac:chgData name="Andreas Koksrud" userId="9d9beba6-c052-407a-8599-c781a677a996" providerId="ADAL" clId="{8658473B-F8B0-412E-ABD9-785EC206476C}" dt="2024-08-23T05:41:16.879" v="6570"/>
          <ac:spMkLst>
            <pc:docMk/>
            <pc:sldMk cId="3240845591" sldId="910"/>
            <ac:spMk id="4" creationId="{45C76EA7-DE23-854E-87C7-0357221CF8D6}"/>
          </ac:spMkLst>
        </pc:spChg>
        <pc:spChg chg="mod">
          <ac:chgData name="Andreas Koksrud" userId="9d9beba6-c052-407a-8599-c781a677a996" providerId="ADAL" clId="{8658473B-F8B0-412E-ABD9-785EC206476C}" dt="2024-08-23T05:41:16.879" v="6570"/>
          <ac:spMkLst>
            <pc:docMk/>
            <pc:sldMk cId="3240845591" sldId="910"/>
            <ac:spMk id="180" creationId="{00000000-0000-0000-0000-000000000000}"/>
          </ac:spMkLst>
        </pc:spChg>
        <pc:spChg chg="mod">
          <ac:chgData name="Andreas Koksrud" userId="9d9beba6-c052-407a-8599-c781a677a996" providerId="ADAL" clId="{8658473B-F8B0-412E-ABD9-785EC206476C}" dt="2024-08-24T19:00:26.212" v="13085" actId="20577"/>
          <ac:spMkLst>
            <pc:docMk/>
            <pc:sldMk cId="3240845591" sldId="910"/>
            <ac:spMk id="181" creationId="{00000000-0000-0000-0000-000000000000}"/>
          </ac:spMkLst>
        </pc:spChg>
      </pc:sldChg>
      <pc:sldChg chg="addSp delSp modSp mod ord">
        <pc:chgData name="Andreas Koksrud" userId="9d9beba6-c052-407a-8599-c781a677a996" providerId="ADAL" clId="{8658473B-F8B0-412E-ABD9-785EC206476C}" dt="2024-08-26T16:21:48.065" v="15268" actId="20577"/>
        <pc:sldMkLst>
          <pc:docMk/>
          <pc:sldMk cId="2156656660" sldId="911"/>
        </pc:sldMkLst>
        <pc:spChg chg="mod">
          <ac:chgData name="Andreas Koksrud" userId="9d9beba6-c052-407a-8599-c781a677a996" providerId="ADAL" clId="{8658473B-F8B0-412E-ABD9-785EC206476C}" dt="2024-08-23T05:41:49.370" v="6571"/>
          <ac:spMkLst>
            <pc:docMk/>
            <pc:sldMk cId="2156656660" sldId="911"/>
            <ac:spMk id="4" creationId="{BDF04420-95D5-A2F1-5C85-4410F0AD48ED}"/>
          </ac:spMkLst>
        </pc:spChg>
        <pc:spChg chg="add del mod">
          <ac:chgData name="Andreas Koksrud" userId="9d9beba6-c052-407a-8599-c781a677a996" providerId="ADAL" clId="{8658473B-F8B0-412E-ABD9-785EC206476C}" dt="2024-08-17T19:00:53.886" v="2285" actId="478"/>
          <ac:spMkLst>
            <pc:docMk/>
            <pc:sldMk cId="2156656660" sldId="911"/>
            <ac:spMk id="6" creationId="{CFB6A71B-1238-5EE0-EB34-E87FE50A92DE}"/>
          </ac:spMkLst>
        </pc:spChg>
        <pc:spChg chg="add del mod">
          <ac:chgData name="Andreas Koksrud" userId="9d9beba6-c052-407a-8599-c781a677a996" providerId="ADAL" clId="{8658473B-F8B0-412E-ABD9-785EC206476C}" dt="2024-08-17T19:00:52.182" v="2284" actId="478"/>
          <ac:spMkLst>
            <pc:docMk/>
            <pc:sldMk cId="2156656660" sldId="911"/>
            <ac:spMk id="7" creationId="{B979BCDD-C26E-3E3A-837A-85F6AC08AF9C}"/>
          </ac:spMkLst>
        </pc:spChg>
        <pc:spChg chg="mod">
          <ac:chgData name="Andreas Koksrud" userId="9d9beba6-c052-407a-8599-c781a677a996" providerId="ADAL" clId="{8658473B-F8B0-412E-ABD9-785EC206476C}" dt="2024-08-23T05:41:49.370" v="6571"/>
          <ac:spMkLst>
            <pc:docMk/>
            <pc:sldMk cId="2156656660" sldId="911"/>
            <ac:spMk id="180" creationId="{00000000-0000-0000-0000-000000000000}"/>
          </ac:spMkLst>
        </pc:spChg>
        <pc:spChg chg="mod">
          <ac:chgData name="Andreas Koksrud" userId="9d9beba6-c052-407a-8599-c781a677a996" providerId="ADAL" clId="{8658473B-F8B0-412E-ABD9-785EC206476C}" dt="2024-08-26T16:21:48.065" v="15268" actId="20577"/>
          <ac:spMkLst>
            <pc:docMk/>
            <pc:sldMk cId="2156656660" sldId="911"/>
            <ac:spMk id="181" creationId="{00000000-0000-0000-0000-000000000000}"/>
          </ac:spMkLst>
        </pc:spChg>
        <pc:picChg chg="add del mod">
          <ac:chgData name="Andreas Koksrud" userId="9d9beba6-c052-407a-8599-c781a677a996" providerId="ADAL" clId="{8658473B-F8B0-412E-ABD9-785EC206476C}" dt="2024-08-18T15:31:35.367" v="2365" actId="478"/>
          <ac:picMkLst>
            <pc:docMk/>
            <pc:sldMk cId="2156656660" sldId="911"/>
            <ac:picMk id="5" creationId="{E199C1B2-6F03-1E48-D30D-B207A0BD0D27}"/>
          </ac:picMkLst>
        </pc:picChg>
      </pc:sldChg>
      <pc:sldChg chg="del">
        <pc:chgData name="Andreas Koksrud" userId="9d9beba6-c052-407a-8599-c781a677a996" providerId="ADAL" clId="{8658473B-F8B0-412E-ABD9-785EC206476C}" dt="2024-08-11T09:51:31.572" v="19" actId="47"/>
        <pc:sldMkLst>
          <pc:docMk/>
          <pc:sldMk cId="3467226560" sldId="914"/>
        </pc:sldMkLst>
      </pc:sldChg>
      <pc:sldChg chg="modSp del">
        <pc:chgData name="Andreas Koksrud" userId="9d9beba6-c052-407a-8599-c781a677a996" providerId="ADAL" clId="{8658473B-F8B0-412E-ABD9-785EC206476C}" dt="2024-08-27T19:50:19.867" v="15270" actId="47"/>
        <pc:sldMkLst>
          <pc:docMk/>
          <pc:sldMk cId="2515752309" sldId="915"/>
        </pc:sldMkLst>
        <pc:spChg chg="mod">
          <ac:chgData name="Andreas Koksrud" userId="9d9beba6-c052-407a-8599-c781a677a996" providerId="ADAL" clId="{8658473B-F8B0-412E-ABD9-785EC206476C}" dt="2024-08-23T05:44:23.011" v="6577"/>
          <ac:spMkLst>
            <pc:docMk/>
            <pc:sldMk cId="2515752309" sldId="915"/>
            <ac:spMk id="4" creationId="{F334D586-E06C-0D46-08AC-5AD991FB4890}"/>
          </ac:spMkLst>
        </pc:spChg>
        <pc:spChg chg="mod">
          <ac:chgData name="Andreas Koksrud" userId="9d9beba6-c052-407a-8599-c781a677a996" providerId="ADAL" clId="{8658473B-F8B0-412E-ABD9-785EC206476C}" dt="2024-08-23T05:44:23.011" v="6577"/>
          <ac:spMkLst>
            <pc:docMk/>
            <pc:sldMk cId="2515752309" sldId="915"/>
            <ac:spMk id="180" creationId="{00000000-0000-0000-0000-000000000000}"/>
          </ac:spMkLst>
        </pc:spChg>
      </pc:sldChg>
      <pc:sldChg chg="del">
        <pc:chgData name="Andreas Koksrud" userId="9d9beba6-c052-407a-8599-c781a677a996" providerId="ADAL" clId="{8658473B-F8B0-412E-ABD9-785EC206476C}" dt="2024-08-11T09:51:31.572" v="19" actId="47"/>
        <pc:sldMkLst>
          <pc:docMk/>
          <pc:sldMk cId="2176964589" sldId="917"/>
        </pc:sldMkLst>
      </pc:sldChg>
      <pc:sldChg chg="del">
        <pc:chgData name="Andreas Koksrud" userId="9d9beba6-c052-407a-8599-c781a677a996" providerId="ADAL" clId="{8658473B-F8B0-412E-ABD9-785EC206476C}" dt="2024-08-11T09:51:31.572" v="19" actId="47"/>
        <pc:sldMkLst>
          <pc:docMk/>
          <pc:sldMk cId="1758492541" sldId="918"/>
        </pc:sldMkLst>
      </pc:sldChg>
      <pc:sldChg chg="del">
        <pc:chgData name="Andreas Koksrud" userId="9d9beba6-c052-407a-8599-c781a677a996" providerId="ADAL" clId="{8658473B-F8B0-412E-ABD9-785EC206476C}" dt="2024-08-11T09:51:31.572" v="19" actId="47"/>
        <pc:sldMkLst>
          <pc:docMk/>
          <pc:sldMk cId="1808846110" sldId="919"/>
        </pc:sldMkLst>
      </pc:sldChg>
      <pc:sldChg chg="del">
        <pc:chgData name="Andreas Koksrud" userId="9d9beba6-c052-407a-8599-c781a677a996" providerId="ADAL" clId="{8658473B-F8B0-412E-ABD9-785EC206476C}" dt="2024-08-11T09:51:31.572" v="19" actId="47"/>
        <pc:sldMkLst>
          <pc:docMk/>
          <pc:sldMk cId="1801208341" sldId="920"/>
        </pc:sldMkLst>
      </pc:sldChg>
      <pc:sldChg chg="del">
        <pc:chgData name="Andreas Koksrud" userId="9d9beba6-c052-407a-8599-c781a677a996" providerId="ADAL" clId="{8658473B-F8B0-412E-ABD9-785EC206476C}" dt="2024-08-11T09:51:31.572" v="19" actId="47"/>
        <pc:sldMkLst>
          <pc:docMk/>
          <pc:sldMk cId="2341160540" sldId="921"/>
        </pc:sldMkLst>
      </pc:sldChg>
      <pc:sldChg chg="del">
        <pc:chgData name="Andreas Koksrud" userId="9d9beba6-c052-407a-8599-c781a677a996" providerId="ADAL" clId="{8658473B-F8B0-412E-ABD9-785EC206476C}" dt="2024-08-11T09:51:31.572" v="19" actId="47"/>
        <pc:sldMkLst>
          <pc:docMk/>
          <pc:sldMk cId="118872145" sldId="922"/>
        </pc:sldMkLst>
      </pc:sldChg>
      <pc:sldChg chg="del">
        <pc:chgData name="Andreas Koksrud" userId="9d9beba6-c052-407a-8599-c781a677a996" providerId="ADAL" clId="{8658473B-F8B0-412E-ABD9-785EC206476C}" dt="2024-08-11T09:41:31.703" v="13" actId="47"/>
        <pc:sldMkLst>
          <pc:docMk/>
          <pc:sldMk cId="2885495848" sldId="923"/>
        </pc:sldMkLst>
      </pc:sldChg>
      <pc:sldChg chg="del">
        <pc:chgData name="Andreas Koksrud" userId="9d9beba6-c052-407a-8599-c781a677a996" providerId="ADAL" clId="{8658473B-F8B0-412E-ABD9-785EC206476C}" dt="2024-08-11T09:41:31.703" v="13" actId="47"/>
        <pc:sldMkLst>
          <pc:docMk/>
          <pc:sldMk cId="670631779" sldId="924"/>
        </pc:sldMkLst>
      </pc:sldChg>
      <pc:sldChg chg="del">
        <pc:chgData name="Andreas Koksrud" userId="9d9beba6-c052-407a-8599-c781a677a996" providerId="ADAL" clId="{8658473B-F8B0-412E-ABD9-785EC206476C}" dt="2024-08-11T09:41:31.703" v="13" actId="47"/>
        <pc:sldMkLst>
          <pc:docMk/>
          <pc:sldMk cId="3505595237" sldId="926"/>
        </pc:sldMkLst>
      </pc:sldChg>
      <pc:sldChg chg="del">
        <pc:chgData name="Andreas Koksrud" userId="9d9beba6-c052-407a-8599-c781a677a996" providerId="ADAL" clId="{8658473B-F8B0-412E-ABD9-785EC206476C}" dt="2024-08-11T09:41:31.703" v="13" actId="47"/>
        <pc:sldMkLst>
          <pc:docMk/>
          <pc:sldMk cId="1761133344" sldId="928"/>
        </pc:sldMkLst>
      </pc:sldChg>
      <pc:sldChg chg="modSp mod">
        <pc:chgData name="Andreas Koksrud" userId="9d9beba6-c052-407a-8599-c781a677a996" providerId="ADAL" clId="{8658473B-F8B0-412E-ABD9-785EC206476C}" dt="2024-08-23T05:57:06.343" v="7082" actId="6549"/>
        <pc:sldMkLst>
          <pc:docMk/>
          <pc:sldMk cId="3496916072" sldId="929"/>
        </pc:sldMkLst>
        <pc:spChg chg="mod">
          <ac:chgData name="Andreas Koksrud" userId="9d9beba6-c052-407a-8599-c781a677a996" providerId="ADAL" clId="{8658473B-F8B0-412E-ABD9-785EC206476C}" dt="2024-08-23T05:57:06.343" v="7082" actId="6549"/>
          <ac:spMkLst>
            <pc:docMk/>
            <pc:sldMk cId="3496916072" sldId="929"/>
            <ac:spMk id="3" creationId="{FE703E88-4252-FC56-3A11-F54BBB369E0F}"/>
          </ac:spMkLst>
        </pc:spChg>
        <pc:spChg chg="mod">
          <ac:chgData name="Andreas Koksrud" userId="9d9beba6-c052-407a-8599-c781a677a996" providerId="ADAL" clId="{8658473B-F8B0-412E-ABD9-785EC206476C}" dt="2024-08-23T05:55:36.869" v="7056" actId="20577"/>
          <ac:spMkLst>
            <pc:docMk/>
            <pc:sldMk cId="3496916072" sldId="929"/>
            <ac:spMk id="4" creationId="{42F1134E-0AF3-BB43-946F-E13A2D832C8F}"/>
          </ac:spMkLst>
        </pc:spChg>
        <pc:spChg chg="mod">
          <ac:chgData name="Andreas Koksrud" userId="9d9beba6-c052-407a-8599-c781a677a996" providerId="ADAL" clId="{8658473B-F8B0-412E-ABD9-785EC206476C}" dt="2024-08-23T05:51:02.369" v="6684"/>
          <ac:spMkLst>
            <pc:docMk/>
            <pc:sldMk cId="3496916072" sldId="929"/>
            <ac:spMk id="5" creationId="{B596EF22-E31D-A2E8-341E-3D77773F09FD}"/>
          </ac:spMkLst>
        </pc:spChg>
        <pc:picChg chg="mod modCrop">
          <ac:chgData name="Andreas Koksrud" userId="9d9beba6-c052-407a-8599-c781a677a996" providerId="ADAL" clId="{8658473B-F8B0-412E-ABD9-785EC206476C}" dt="2024-08-23T05:55:56.850" v="7057" actId="732"/>
          <ac:picMkLst>
            <pc:docMk/>
            <pc:sldMk cId="3496916072" sldId="929"/>
            <ac:picMk id="6" creationId="{BDEE2F7F-8F95-E3ED-4B86-7CC1BC37D7F8}"/>
          </ac:picMkLst>
        </pc:picChg>
      </pc:sldChg>
      <pc:sldChg chg="modSp del mod">
        <pc:chgData name="Andreas Koksrud" userId="9d9beba6-c052-407a-8599-c781a677a996" providerId="ADAL" clId="{8658473B-F8B0-412E-ABD9-785EC206476C}" dt="2024-08-23T06:03:17.912" v="7191" actId="2696"/>
        <pc:sldMkLst>
          <pc:docMk/>
          <pc:sldMk cId="1794767992" sldId="930"/>
        </pc:sldMkLst>
        <pc:spChg chg="mod">
          <ac:chgData name="Andreas Koksrud" userId="9d9beba6-c052-407a-8599-c781a677a996" providerId="ADAL" clId="{8658473B-F8B0-412E-ABD9-785EC206476C}" dt="2024-08-23T06:00:20.268" v="7179" actId="404"/>
          <ac:spMkLst>
            <pc:docMk/>
            <pc:sldMk cId="1794767992" sldId="930"/>
            <ac:spMk id="3" creationId="{A94370CE-CCE1-B2E9-4DAC-DDB8A8B0DA19}"/>
          </ac:spMkLst>
        </pc:spChg>
        <pc:spChg chg="mod">
          <ac:chgData name="Andreas Koksrud" userId="9d9beba6-c052-407a-8599-c781a677a996" providerId="ADAL" clId="{8658473B-F8B0-412E-ABD9-785EC206476C}" dt="2024-08-23T05:51:02.369" v="6684"/>
          <ac:spMkLst>
            <pc:docMk/>
            <pc:sldMk cId="1794767992" sldId="930"/>
            <ac:spMk id="4" creationId="{7C8786C3-5E58-2E1E-62BF-C38169340900}"/>
          </ac:spMkLst>
        </pc:spChg>
        <pc:spChg chg="mod">
          <ac:chgData name="Andreas Koksrud" userId="9d9beba6-c052-407a-8599-c781a677a996" providerId="ADAL" clId="{8658473B-F8B0-412E-ABD9-785EC206476C}" dt="2024-08-23T06:00:28.308" v="7190" actId="20577"/>
          <ac:spMkLst>
            <pc:docMk/>
            <pc:sldMk cId="1794767992" sldId="930"/>
            <ac:spMk id="180" creationId="{9C691A58-180D-5E6A-D5AB-FB31848DEBD9}"/>
          </ac:spMkLst>
        </pc:spChg>
        <pc:picChg chg="mod">
          <ac:chgData name="Andreas Koksrud" userId="9d9beba6-c052-407a-8599-c781a677a996" providerId="ADAL" clId="{8658473B-F8B0-412E-ABD9-785EC206476C}" dt="2024-08-23T05:58:37.546" v="7094" actId="14100"/>
          <ac:picMkLst>
            <pc:docMk/>
            <pc:sldMk cId="1794767992" sldId="930"/>
            <ac:picMk id="5" creationId="{98A14066-3866-0C90-C786-AF5AB6B552A0}"/>
          </ac:picMkLst>
        </pc:picChg>
      </pc:sldChg>
      <pc:sldChg chg="modSp">
        <pc:chgData name="Andreas Koksrud" userId="9d9beba6-c052-407a-8599-c781a677a996" providerId="ADAL" clId="{8658473B-F8B0-412E-ABD9-785EC206476C}" dt="2024-08-23T05:51:02.369" v="6684"/>
        <pc:sldMkLst>
          <pc:docMk/>
          <pc:sldMk cId="2544668817" sldId="931"/>
        </pc:sldMkLst>
        <pc:spChg chg="mod">
          <ac:chgData name="Andreas Koksrud" userId="9d9beba6-c052-407a-8599-c781a677a996" providerId="ADAL" clId="{8658473B-F8B0-412E-ABD9-785EC206476C}" dt="2024-08-23T05:51:02.369" v="6684"/>
          <ac:spMkLst>
            <pc:docMk/>
            <pc:sldMk cId="2544668817" sldId="931"/>
            <ac:spMk id="7" creationId="{9827CC03-792F-6275-16E4-B4CAE92C3026}"/>
          </ac:spMkLst>
        </pc:spChg>
      </pc:sldChg>
      <pc:sldChg chg="delSp modSp mod ord">
        <pc:chgData name="Andreas Koksrud" userId="9d9beba6-c052-407a-8599-c781a677a996" providerId="ADAL" clId="{8658473B-F8B0-412E-ABD9-785EC206476C}" dt="2024-08-23T06:16:58.777" v="7814"/>
        <pc:sldMkLst>
          <pc:docMk/>
          <pc:sldMk cId="1016572018" sldId="932"/>
        </pc:sldMkLst>
        <pc:spChg chg="del">
          <ac:chgData name="Andreas Koksrud" userId="9d9beba6-c052-407a-8599-c781a677a996" providerId="ADAL" clId="{8658473B-F8B0-412E-ABD9-785EC206476C}" dt="2024-08-23T06:11:11.990" v="7529" actId="478"/>
          <ac:spMkLst>
            <pc:docMk/>
            <pc:sldMk cId="1016572018" sldId="932"/>
            <ac:spMk id="2" creationId="{F8E83C25-8CA5-D584-5289-4C949008223D}"/>
          </ac:spMkLst>
        </pc:spChg>
        <pc:spChg chg="mod">
          <ac:chgData name="Andreas Koksrud" userId="9d9beba6-c052-407a-8599-c781a677a996" providerId="ADAL" clId="{8658473B-F8B0-412E-ABD9-785EC206476C}" dt="2024-08-23T05:51:02.369" v="6684"/>
          <ac:spMkLst>
            <pc:docMk/>
            <pc:sldMk cId="1016572018" sldId="932"/>
            <ac:spMk id="6" creationId="{FD64D427-7605-26F7-2631-74925BA54A34}"/>
          </ac:spMkLst>
        </pc:spChg>
        <pc:spChg chg="mod">
          <ac:chgData name="Andreas Koksrud" userId="9d9beba6-c052-407a-8599-c781a677a996" providerId="ADAL" clId="{8658473B-F8B0-412E-ABD9-785EC206476C}" dt="2024-08-23T06:15:41.035" v="7812" actId="6549"/>
          <ac:spMkLst>
            <pc:docMk/>
            <pc:sldMk cId="1016572018" sldId="932"/>
            <ac:spMk id="7" creationId="{A6D2F896-55A4-CD41-BF58-9C3ADF744611}"/>
          </ac:spMkLst>
        </pc:spChg>
        <pc:spChg chg="del">
          <ac:chgData name="Andreas Koksrud" userId="9d9beba6-c052-407a-8599-c781a677a996" providerId="ADAL" clId="{8658473B-F8B0-412E-ABD9-785EC206476C}" dt="2024-08-23T06:13:36.818" v="7737" actId="478"/>
          <ac:spMkLst>
            <pc:docMk/>
            <pc:sldMk cId="1016572018" sldId="932"/>
            <ac:spMk id="8" creationId="{ACE2674A-C183-6B54-CC23-416FEB788024}"/>
          </ac:spMkLst>
        </pc:spChg>
        <pc:spChg chg="mod">
          <ac:chgData name="Andreas Koksrud" userId="9d9beba6-c052-407a-8599-c781a677a996" providerId="ADAL" clId="{8658473B-F8B0-412E-ABD9-785EC206476C}" dt="2024-08-23T06:11:27.394" v="7560" actId="6549"/>
          <ac:spMkLst>
            <pc:docMk/>
            <pc:sldMk cId="1016572018" sldId="932"/>
            <ac:spMk id="180" creationId="{2F18F86A-BD31-AF17-88B8-2BD58E719633}"/>
          </ac:spMkLst>
        </pc:spChg>
      </pc:sldChg>
      <pc:sldChg chg="modSp mod">
        <pc:chgData name="Andreas Koksrud" userId="9d9beba6-c052-407a-8599-c781a677a996" providerId="ADAL" clId="{8658473B-F8B0-412E-ABD9-785EC206476C}" dt="2024-08-23T06:20:20.213" v="7833" actId="20577"/>
        <pc:sldMkLst>
          <pc:docMk/>
          <pc:sldMk cId="516132435" sldId="933"/>
        </pc:sldMkLst>
        <pc:spChg chg="mod">
          <ac:chgData name="Andreas Koksrud" userId="9d9beba6-c052-407a-8599-c781a677a996" providerId="ADAL" clId="{8658473B-F8B0-412E-ABD9-785EC206476C}" dt="2024-08-23T05:51:02.369" v="6684"/>
          <ac:spMkLst>
            <pc:docMk/>
            <pc:sldMk cId="516132435" sldId="933"/>
            <ac:spMk id="3" creationId="{E6E2C634-F92E-B8DF-A450-18C8D00FCA8C}"/>
          </ac:spMkLst>
        </pc:spChg>
        <pc:spChg chg="mod">
          <ac:chgData name="Andreas Koksrud" userId="9d9beba6-c052-407a-8599-c781a677a996" providerId="ADAL" clId="{8658473B-F8B0-412E-ABD9-785EC206476C}" dt="2024-08-23T06:20:20.213" v="7833" actId="20577"/>
          <ac:spMkLst>
            <pc:docMk/>
            <pc:sldMk cId="516132435" sldId="933"/>
            <ac:spMk id="181" creationId="{00000000-0000-0000-0000-000000000000}"/>
          </ac:spMkLst>
        </pc:spChg>
      </pc:sldChg>
      <pc:sldChg chg="modSp add del">
        <pc:chgData name="Andreas Koksrud" userId="9d9beba6-c052-407a-8599-c781a677a996" providerId="ADAL" clId="{8658473B-F8B0-412E-ABD9-785EC206476C}" dt="2024-08-31T13:35:50.509" v="15996"/>
        <pc:sldMkLst>
          <pc:docMk/>
          <pc:sldMk cId="100500619" sldId="934"/>
        </pc:sldMkLst>
        <pc:spChg chg="mod">
          <ac:chgData name="Andreas Koksrud" userId="9d9beba6-c052-407a-8599-c781a677a996" providerId="ADAL" clId="{8658473B-F8B0-412E-ABD9-785EC206476C}" dt="2024-08-23T05:44:02.231" v="6576"/>
          <ac:spMkLst>
            <pc:docMk/>
            <pc:sldMk cId="100500619" sldId="934"/>
            <ac:spMk id="10" creationId="{2B6E741D-F3B6-E374-050C-D8C0B42D6623}"/>
          </ac:spMkLst>
        </pc:spChg>
      </pc:sldChg>
      <pc:sldChg chg="modSp del">
        <pc:chgData name="Andreas Koksrud" userId="9d9beba6-c052-407a-8599-c781a677a996" providerId="ADAL" clId="{8658473B-F8B0-412E-ABD9-785EC206476C}" dt="2024-08-31T13:40:47.811" v="15997" actId="47"/>
        <pc:sldMkLst>
          <pc:docMk/>
          <pc:sldMk cId="1678513824" sldId="935"/>
        </pc:sldMkLst>
        <pc:spChg chg="mod">
          <ac:chgData name="Andreas Koksrud" userId="9d9beba6-c052-407a-8599-c781a677a996" providerId="ADAL" clId="{8658473B-F8B0-412E-ABD9-785EC206476C}" dt="2024-08-23T05:45:12.779" v="6580"/>
          <ac:spMkLst>
            <pc:docMk/>
            <pc:sldMk cId="1678513824" sldId="935"/>
            <ac:spMk id="3" creationId="{BEE715C8-924E-89E0-FF32-E171CAA2C874}"/>
          </ac:spMkLst>
        </pc:spChg>
      </pc:sldChg>
      <pc:sldChg chg="modSp add del">
        <pc:chgData name="Andreas Koksrud" userId="9d9beba6-c052-407a-8599-c781a677a996" providerId="ADAL" clId="{8658473B-F8B0-412E-ABD9-785EC206476C}" dt="2024-08-31T13:41:02.903" v="15998"/>
        <pc:sldMkLst>
          <pc:docMk/>
          <pc:sldMk cId="1640846257" sldId="936"/>
        </pc:sldMkLst>
        <pc:spChg chg="mod">
          <ac:chgData name="Andreas Koksrud" userId="9d9beba6-c052-407a-8599-c781a677a996" providerId="ADAL" clId="{8658473B-F8B0-412E-ABD9-785EC206476C}" dt="2024-08-23T05:45:12.779" v="6580"/>
          <ac:spMkLst>
            <pc:docMk/>
            <pc:sldMk cId="1640846257" sldId="936"/>
            <ac:spMk id="3" creationId="{AEB67DE2-4419-6A35-1303-4FFA243B08DC}"/>
          </ac:spMkLst>
        </pc:spChg>
      </pc:sldChg>
      <pc:sldChg chg="modSp del">
        <pc:chgData name="Andreas Koksrud" userId="9d9beba6-c052-407a-8599-c781a677a996" providerId="ADAL" clId="{8658473B-F8B0-412E-ABD9-785EC206476C}" dt="2024-08-31T13:40:47.811" v="15997" actId="47"/>
        <pc:sldMkLst>
          <pc:docMk/>
          <pc:sldMk cId="1343251663" sldId="937"/>
        </pc:sldMkLst>
        <pc:spChg chg="mod">
          <ac:chgData name="Andreas Koksrud" userId="9d9beba6-c052-407a-8599-c781a677a996" providerId="ADAL" clId="{8658473B-F8B0-412E-ABD9-785EC206476C}" dt="2024-08-23T05:45:12.779" v="6580"/>
          <ac:spMkLst>
            <pc:docMk/>
            <pc:sldMk cId="1343251663" sldId="937"/>
            <ac:spMk id="5" creationId="{C561C956-1C4A-D184-51D0-81304FB91DE8}"/>
          </ac:spMkLst>
        </pc:spChg>
      </pc:sldChg>
      <pc:sldChg chg="modSp del">
        <pc:chgData name="Andreas Koksrud" userId="9d9beba6-c052-407a-8599-c781a677a996" providerId="ADAL" clId="{8658473B-F8B0-412E-ABD9-785EC206476C}" dt="2024-08-31T13:40:47.811" v="15997" actId="47"/>
        <pc:sldMkLst>
          <pc:docMk/>
          <pc:sldMk cId="4244963184" sldId="938"/>
        </pc:sldMkLst>
        <pc:spChg chg="mod">
          <ac:chgData name="Andreas Koksrud" userId="9d9beba6-c052-407a-8599-c781a677a996" providerId="ADAL" clId="{8658473B-F8B0-412E-ABD9-785EC206476C}" dt="2024-08-23T05:45:12.779" v="6580"/>
          <ac:spMkLst>
            <pc:docMk/>
            <pc:sldMk cId="4244963184" sldId="938"/>
            <ac:spMk id="3" creationId="{50E6E05E-D759-39DF-4A3C-A48ED2CBDA8B}"/>
          </ac:spMkLst>
        </pc:spChg>
      </pc:sldChg>
      <pc:sldChg chg="del">
        <pc:chgData name="Andreas Koksrud" userId="9d9beba6-c052-407a-8599-c781a677a996" providerId="ADAL" clId="{8658473B-F8B0-412E-ABD9-785EC206476C}" dt="2024-08-11T09:51:31.572" v="19" actId="47"/>
        <pc:sldMkLst>
          <pc:docMk/>
          <pc:sldMk cId="4271162885" sldId="939"/>
        </pc:sldMkLst>
      </pc:sldChg>
      <pc:sldChg chg="del">
        <pc:chgData name="Andreas Koksrud" userId="9d9beba6-c052-407a-8599-c781a677a996" providerId="ADAL" clId="{8658473B-F8B0-412E-ABD9-785EC206476C}" dt="2024-08-11T09:51:31.572" v="19" actId="47"/>
        <pc:sldMkLst>
          <pc:docMk/>
          <pc:sldMk cId="76786861" sldId="940"/>
        </pc:sldMkLst>
      </pc:sldChg>
      <pc:sldChg chg="del">
        <pc:chgData name="Andreas Koksrud" userId="9d9beba6-c052-407a-8599-c781a677a996" providerId="ADAL" clId="{8658473B-F8B0-412E-ABD9-785EC206476C}" dt="2024-08-11T09:51:31.572" v="19" actId="47"/>
        <pc:sldMkLst>
          <pc:docMk/>
          <pc:sldMk cId="259599803" sldId="941"/>
        </pc:sldMkLst>
      </pc:sldChg>
      <pc:sldChg chg="del">
        <pc:chgData name="Andreas Koksrud" userId="9d9beba6-c052-407a-8599-c781a677a996" providerId="ADAL" clId="{8658473B-F8B0-412E-ABD9-785EC206476C}" dt="2024-08-11T09:51:31.572" v="19" actId="47"/>
        <pc:sldMkLst>
          <pc:docMk/>
          <pc:sldMk cId="617464026" sldId="942"/>
        </pc:sldMkLst>
      </pc:sldChg>
      <pc:sldChg chg="del">
        <pc:chgData name="Andreas Koksrud" userId="9d9beba6-c052-407a-8599-c781a677a996" providerId="ADAL" clId="{8658473B-F8B0-412E-ABD9-785EC206476C}" dt="2024-08-11T09:51:31.572" v="19" actId="47"/>
        <pc:sldMkLst>
          <pc:docMk/>
          <pc:sldMk cId="2452820001" sldId="943"/>
        </pc:sldMkLst>
      </pc:sldChg>
      <pc:sldChg chg="del">
        <pc:chgData name="Andreas Koksrud" userId="9d9beba6-c052-407a-8599-c781a677a996" providerId="ADAL" clId="{8658473B-F8B0-412E-ABD9-785EC206476C}" dt="2024-08-11T09:51:31.572" v="19" actId="47"/>
        <pc:sldMkLst>
          <pc:docMk/>
          <pc:sldMk cId="831372640" sldId="944"/>
        </pc:sldMkLst>
      </pc:sldChg>
      <pc:sldChg chg="del">
        <pc:chgData name="Andreas Koksrud" userId="9d9beba6-c052-407a-8599-c781a677a996" providerId="ADAL" clId="{8658473B-F8B0-412E-ABD9-785EC206476C}" dt="2024-08-11T09:51:31.572" v="19" actId="47"/>
        <pc:sldMkLst>
          <pc:docMk/>
          <pc:sldMk cId="3301216787" sldId="945"/>
        </pc:sldMkLst>
      </pc:sldChg>
      <pc:sldChg chg="del">
        <pc:chgData name="Andreas Koksrud" userId="9d9beba6-c052-407a-8599-c781a677a996" providerId="ADAL" clId="{8658473B-F8B0-412E-ABD9-785EC206476C}" dt="2024-08-11T09:51:31.572" v="19" actId="47"/>
        <pc:sldMkLst>
          <pc:docMk/>
          <pc:sldMk cId="3558541316" sldId="946"/>
        </pc:sldMkLst>
      </pc:sldChg>
      <pc:sldChg chg="del">
        <pc:chgData name="Andreas Koksrud" userId="9d9beba6-c052-407a-8599-c781a677a996" providerId="ADAL" clId="{8658473B-F8B0-412E-ABD9-785EC206476C}" dt="2024-08-11T09:51:31.572" v="19" actId="47"/>
        <pc:sldMkLst>
          <pc:docMk/>
          <pc:sldMk cId="1488992746" sldId="947"/>
        </pc:sldMkLst>
      </pc:sldChg>
      <pc:sldChg chg="del">
        <pc:chgData name="Andreas Koksrud" userId="9d9beba6-c052-407a-8599-c781a677a996" providerId="ADAL" clId="{8658473B-F8B0-412E-ABD9-785EC206476C}" dt="2024-08-11T09:51:31.572" v="19" actId="47"/>
        <pc:sldMkLst>
          <pc:docMk/>
          <pc:sldMk cId="3691710986" sldId="948"/>
        </pc:sldMkLst>
      </pc:sldChg>
      <pc:sldChg chg="del">
        <pc:chgData name="Andreas Koksrud" userId="9d9beba6-c052-407a-8599-c781a677a996" providerId="ADAL" clId="{8658473B-F8B0-412E-ABD9-785EC206476C}" dt="2024-08-11T09:51:31.572" v="19" actId="47"/>
        <pc:sldMkLst>
          <pc:docMk/>
          <pc:sldMk cId="1547393795" sldId="949"/>
        </pc:sldMkLst>
      </pc:sldChg>
      <pc:sldChg chg="del">
        <pc:chgData name="Andreas Koksrud" userId="9d9beba6-c052-407a-8599-c781a677a996" providerId="ADAL" clId="{8658473B-F8B0-412E-ABD9-785EC206476C}" dt="2024-08-11T09:51:31.572" v="19" actId="47"/>
        <pc:sldMkLst>
          <pc:docMk/>
          <pc:sldMk cId="2750337227" sldId="950"/>
        </pc:sldMkLst>
      </pc:sldChg>
      <pc:sldChg chg="del">
        <pc:chgData name="Andreas Koksrud" userId="9d9beba6-c052-407a-8599-c781a677a996" providerId="ADAL" clId="{8658473B-F8B0-412E-ABD9-785EC206476C}" dt="2024-08-11T09:51:31.572" v="19" actId="47"/>
        <pc:sldMkLst>
          <pc:docMk/>
          <pc:sldMk cId="1760940084" sldId="951"/>
        </pc:sldMkLst>
      </pc:sldChg>
      <pc:sldChg chg="del">
        <pc:chgData name="Andreas Koksrud" userId="9d9beba6-c052-407a-8599-c781a677a996" providerId="ADAL" clId="{8658473B-F8B0-412E-ABD9-785EC206476C}" dt="2024-08-11T09:51:31.572" v="19" actId="47"/>
        <pc:sldMkLst>
          <pc:docMk/>
          <pc:sldMk cId="3149545615" sldId="952"/>
        </pc:sldMkLst>
      </pc:sldChg>
      <pc:sldChg chg="del">
        <pc:chgData name="Andreas Koksrud" userId="9d9beba6-c052-407a-8599-c781a677a996" providerId="ADAL" clId="{8658473B-F8B0-412E-ABD9-785EC206476C}" dt="2024-08-11T09:51:31.572" v="19" actId="47"/>
        <pc:sldMkLst>
          <pc:docMk/>
          <pc:sldMk cId="1639579349" sldId="953"/>
        </pc:sldMkLst>
      </pc:sldChg>
      <pc:sldChg chg="del">
        <pc:chgData name="Andreas Koksrud" userId="9d9beba6-c052-407a-8599-c781a677a996" providerId="ADAL" clId="{8658473B-F8B0-412E-ABD9-785EC206476C}" dt="2024-08-11T09:51:31.572" v="19" actId="47"/>
        <pc:sldMkLst>
          <pc:docMk/>
          <pc:sldMk cId="621067258" sldId="954"/>
        </pc:sldMkLst>
      </pc:sldChg>
      <pc:sldChg chg="del">
        <pc:chgData name="Andreas Koksrud" userId="9d9beba6-c052-407a-8599-c781a677a996" providerId="ADAL" clId="{8658473B-F8B0-412E-ABD9-785EC206476C}" dt="2024-08-11T09:51:31.572" v="19" actId="47"/>
        <pc:sldMkLst>
          <pc:docMk/>
          <pc:sldMk cId="900096217" sldId="955"/>
        </pc:sldMkLst>
      </pc:sldChg>
      <pc:sldChg chg="del">
        <pc:chgData name="Andreas Koksrud" userId="9d9beba6-c052-407a-8599-c781a677a996" providerId="ADAL" clId="{8658473B-F8B0-412E-ABD9-785EC206476C}" dt="2024-08-11T09:41:31.703" v="13" actId="47"/>
        <pc:sldMkLst>
          <pc:docMk/>
          <pc:sldMk cId="3891081161" sldId="957"/>
        </pc:sldMkLst>
      </pc:sldChg>
      <pc:sldChg chg="del">
        <pc:chgData name="Andreas Koksrud" userId="9d9beba6-c052-407a-8599-c781a677a996" providerId="ADAL" clId="{8658473B-F8B0-412E-ABD9-785EC206476C}" dt="2024-08-11T09:41:31.703" v="13" actId="47"/>
        <pc:sldMkLst>
          <pc:docMk/>
          <pc:sldMk cId="2483814496" sldId="959"/>
        </pc:sldMkLst>
      </pc:sldChg>
      <pc:sldChg chg="del">
        <pc:chgData name="Andreas Koksrud" userId="9d9beba6-c052-407a-8599-c781a677a996" providerId="ADAL" clId="{8658473B-F8B0-412E-ABD9-785EC206476C}" dt="2024-08-11T09:41:31.703" v="13" actId="47"/>
        <pc:sldMkLst>
          <pc:docMk/>
          <pc:sldMk cId="1059178978" sldId="960"/>
        </pc:sldMkLst>
      </pc:sldChg>
      <pc:sldChg chg="del">
        <pc:chgData name="Andreas Koksrud" userId="9d9beba6-c052-407a-8599-c781a677a996" providerId="ADAL" clId="{8658473B-F8B0-412E-ABD9-785EC206476C}" dt="2024-08-11T09:41:31.703" v="13" actId="47"/>
        <pc:sldMkLst>
          <pc:docMk/>
          <pc:sldMk cId="3805325624" sldId="961"/>
        </pc:sldMkLst>
      </pc:sldChg>
      <pc:sldChg chg="del">
        <pc:chgData name="Andreas Koksrud" userId="9d9beba6-c052-407a-8599-c781a677a996" providerId="ADAL" clId="{8658473B-F8B0-412E-ABD9-785EC206476C}" dt="2024-08-11T09:41:31.703" v="13" actId="47"/>
        <pc:sldMkLst>
          <pc:docMk/>
          <pc:sldMk cId="3646121032" sldId="962"/>
        </pc:sldMkLst>
      </pc:sldChg>
      <pc:sldChg chg="del">
        <pc:chgData name="Andreas Koksrud" userId="9d9beba6-c052-407a-8599-c781a677a996" providerId="ADAL" clId="{8658473B-F8B0-412E-ABD9-785EC206476C}" dt="2024-08-11T09:41:31.703" v="13" actId="47"/>
        <pc:sldMkLst>
          <pc:docMk/>
          <pc:sldMk cId="2529490906" sldId="963"/>
        </pc:sldMkLst>
      </pc:sldChg>
      <pc:sldChg chg="del">
        <pc:chgData name="Andreas Koksrud" userId="9d9beba6-c052-407a-8599-c781a677a996" providerId="ADAL" clId="{8658473B-F8B0-412E-ABD9-785EC206476C}" dt="2024-08-11T09:41:31.703" v="13" actId="47"/>
        <pc:sldMkLst>
          <pc:docMk/>
          <pc:sldMk cId="1707712711" sldId="964"/>
        </pc:sldMkLst>
      </pc:sldChg>
      <pc:sldChg chg="del">
        <pc:chgData name="Andreas Koksrud" userId="9d9beba6-c052-407a-8599-c781a677a996" providerId="ADAL" clId="{8658473B-F8B0-412E-ABD9-785EC206476C}" dt="2024-08-11T09:41:31.703" v="13" actId="47"/>
        <pc:sldMkLst>
          <pc:docMk/>
          <pc:sldMk cId="24496870" sldId="965"/>
        </pc:sldMkLst>
      </pc:sldChg>
      <pc:sldChg chg="del">
        <pc:chgData name="Andreas Koksrud" userId="9d9beba6-c052-407a-8599-c781a677a996" providerId="ADAL" clId="{8658473B-F8B0-412E-ABD9-785EC206476C}" dt="2024-08-11T09:41:31.703" v="13" actId="47"/>
        <pc:sldMkLst>
          <pc:docMk/>
          <pc:sldMk cId="2495026824" sldId="966"/>
        </pc:sldMkLst>
      </pc:sldChg>
      <pc:sldChg chg="del">
        <pc:chgData name="Andreas Koksrud" userId="9d9beba6-c052-407a-8599-c781a677a996" providerId="ADAL" clId="{8658473B-F8B0-412E-ABD9-785EC206476C}" dt="2024-08-11T09:41:31.703" v="13" actId="47"/>
        <pc:sldMkLst>
          <pc:docMk/>
          <pc:sldMk cId="3285689553" sldId="967"/>
        </pc:sldMkLst>
      </pc:sldChg>
      <pc:sldChg chg="del">
        <pc:chgData name="Andreas Koksrud" userId="9d9beba6-c052-407a-8599-c781a677a996" providerId="ADAL" clId="{8658473B-F8B0-412E-ABD9-785EC206476C}" dt="2024-08-11T09:41:31.703" v="13" actId="47"/>
        <pc:sldMkLst>
          <pc:docMk/>
          <pc:sldMk cId="211427936" sldId="968"/>
        </pc:sldMkLst>
      </pc:sldChg>
      <pc:sldChg chg="del">
        <pc:chgData name="Andreas Koksrud" userId="9d9beba6-c052-407a-8599-c781a677a996" providerId="ADAL" clId="{8658473B-F8B0-412E-ABD9-785EC206476C}" dt="2024-08-11T09:41:31.703" v="13" actId="47"/>
        <pc:sldMkLst>
          <pc:docMk/>
          <pc:sldMk cId="1310829930" sldId="970"/>
        </pc:sldMkLst>
      </pc:sldChg>
      <pc:sldChg chg="del">
        <pc:chgData name="Andreas Koksrud" userId="9d9beba6-c052-407a-8599-c781a677a996" providerId="ADAL" clId="{8658473B-F8B0-412E-ABD9-785EC206476C}" dt="2024-08-11T09:41:31.703" v="13" actId="47"/>
        <pc:sldMkLst>
          <pc:docMk/>
          <pc:sldMk cId="2305951208" sldId="971"/>
        </pc:sldMkLst>
      </pc:sldChg>
      <pc:sldChg chg="addSp modSp mod ord">
        <pc:chgData name="Andreas Koksrud" userId="9d9beba6-c052-407a-8599-c781a677a996" providerId="ADAL" clId="{8658473B-F8B0-412E-ABD9-785EC206476C}" dt="2024-08-23T07:01:42.678" v="8786"/>
        <pc:sldMkLst>
          <pc:docMk/>
          <pc:sldMk cId="2919214617" sldId="972"/>
        </pc:sldMkLst>
        <pc:spChg chg="mod">
          <ac:chgData name="Andreas Koksrud" userId="9d9beba6-c052-407a-8599-c781a677a996" providerId="ADAL" clId="{8658473B-F8B0-412E-ABD9-785EC206476C}" dt="2024-08-23T05:43:38.080" v="6575"/>
          <ac:spMkLst>
            <pc:docMk/>
            <pc:sldMk cId="2919214617" sldId="972"/>
            <ac:spMk id="6" creationId="{6BCF03F3-FFDE-2EB5-7559-E2592BF25E0F}"/>
          </ac:spMkLst>
        </pc:spChg>
        <pc:spChg chg="mod">
          <ac:chgData name="Andreas Koksrud" userId="9d9beba6-c052-407a-8599-c781a677a996" providerId="ADAL" clId="{8658473B-F8B0-412E-ABD9-785EC206476C}" dt="2024-08-23T06:53:56.570" v="8465" actId="20577"/>
          <ac:spMkLst>
            <pc:docMk/>
            <pc:sldMk cId="2919214617" sldId="972"/>
            <ac:spMk id="180" creationId="{00000000-0000-0000-0000-000000000000}"/>
          </ac:spMkLst>
        </pc:spChg>
        <pc:spChg chg="mod">
          <ac:chgData name="Andreas Koksrud" userId="9d9beba6-c052-407a-8599-c781a677a996" providerId="ADAL" clId="{8658473B-F8B0-412E-ABD9-785EC206476C}" dt="2024-08-23T06:57:30.263" v="8759" actId="20577"/>
          <ac:spMkLst>
            <pc:docMk/>
            <pc:sldMk cId="2919214617" sldId="972"/>
            <ac:spMk id="181" creationId="{00000000-0000-0000-0000-000000000000}"/>
          </ac:spMkLst>
        </pc:spChg>
        <pc:picChg chg="add mod">
          <ac:chgData name="Andreas Koksrud" userId="9d9beba6-c052-407a-8599-c781a677a996" providerId="ADAL" clId="{8658473B-F8B0-412E-ABD9-785EC206476C}" dt="2024-08-23T06:58:42.237" v="8770" actId="1036"/>
          <ac:picMkLst>
            <pc:docMk/>
            <pc:sldMk cId="2919214617" sldId="972"/>
            <ac:picMk id="5" creationId="{B8E71810-4EDE-0AEC-C566-A7C61933617F}"/>
          </ac:picMkLst>
        </pc:picChg>
        <pc:picChg chg="add mod">
          <ac:chgData name="Andreas Koksrud" userId="9d9beba6-c052-407a-8599-c781a677a996" providerId="ADAL" clId="{8658473B-F8B0-412E-ABD9-785EC206476C}" dt="2024-08-23T07:00:57.539" v="8782" actId="1035"/>
          <ac:picMkLst>
            <pc:docMk/>
            <pc:sldMk cId="2919214617" sldId="972"/>
            <ac:picMk id="8" creationId="{38535E0A-82FC-5025-B447-3260C3BD6DAA}"/>
          </ac:picMkLst>
        </pc:picChg>
      </pc:sldChg>
      <pc:sldChg chg="modSp ord">
        <pc:chgData name="Andreas Koksrud" userId="9d9beba6-c052-407a-8599-c781a677a996" providerId="ADAL" clId="{8658473B-F8B0-412E-ABD9-785EC206476C}" dt="2024-08-23T07:36:43.759" v="11070"/>
        <pc:sldMkLst>
          <pc:docMk/>
          <pc:sldMk cId="2327836157" sldId="976"/>
        </pc:sldMkLst>
        <pc:spChg chg="mod">
          <ac:chgData name="Andreas Koksrud" userId="9d9beba6-c052-407a-8599-c781a677a996" providerId="ADAL" clId="{8658473B-F8B0-412E-ABD9-785EC206476C}" dt="2024-08-23T05:40:56.340" v="6569"/>
          <ac:spMkLst>
            <pc:docMk/>
            <pc:sldMk cId="2327836157" sldId="976"/>
            <ac:spMk id="4" creationId="{E53BC320-EB76-AACD-B492-E0CEFD69F83A}"/>
          </ac:spMkLst>
        </pc:spChg>
        <pc:spChg chg="mod">
          <ac:chgData name="Andreas Koksrud" userId="9d9beba6-c052-407a-8599-c781a677a996" providerId="ADAL" clId="{8658473B-F8B0-412E-ABD9-785EC206476C}" dt="2024-08-23T07:36:43.759" v="11070"/>
          <ac:spMkLst>
            <pc:docMk/>
            <pc:sldMk cId="2327836157" sldId="976"/>
            <ac:spMk id="180" creationId="{00000000-0000-0000-0000-000000000000}"/>
          </ac:spMkLst>
        </pc:spChg>
      </pc:sldChg>
      <pc:sldChg chg="addSp modSp mod ord">
        <pc:chgData name="Andreas Koksrud" userId="9d9beba6-c052-407a-8599-c781a677a996" providerId="ADAL" clId="{8658473B-F8B0-412E-ABD9-785EC206476C}" dt="2024-08-24T17:26:41.280" v="12061" actId="1076"/>
        <pc:sldMkLst>
          <pc:docMk/>
          <pc:sldMk cId="520098437" sldId="977"/>
        </pc:sldMkLst>
        <pc:spChg chg="add mod">
          <ac:chgData name="Andreas Koksrud" userId="9d9beba6-c052-407a-8599-c781a677a996" providerId="ADAL" clId="{8658473B-F8B0-412E-ABD9-785EC206476C}" dt="2024-08-24T17:25:45.433" v="12001" actId="14100"/>
          <ac:spMkLst>
            <pc:docMk/>
            <pc:sldMk cId="520098437" sldId="977"/>
            <ac:spMk id="4" creationId="{70E726D4-D0FF-92A3-1468-92D1928E3A90}"/>
          </ac:spMkLst>
        </pc:spChg>
        <pc:spChg chg="mod">
          <ac:chgData name="Andreas Koksrud" userId="9d9beba6-c052-407a-8599-c781a677a996" providerId="ADAL" clId="{8658473B-F8B0-412E-ABD9-785EC206476C}" dt="2024-08-23T05:40:20.596" v="6568"/>
          <ac:spMkLst>
            <pc:docMk/>
            <pc:sldMk cId="520098437" sldId="977"/>
            <ac:spMk id="6" creationId="{CF7F7F97-9C2F-81B1-DE35-802903A639AC}"/>
          </ac:spMkLst>
        </pc:spChg>
        <pc:spChg chg="add mod">
          <ac:chgData name="Andreas Koksrud" userId="9d9beba6-c052-407a-8599-c781a677a996" providerId="ADAL" clId="{8658473B-F8B0-412E-ABD9-785EC206476C}" dt="2024-08-24T17:26:41.280" v="12061" actId="1076"/>
          <ac:spMkLst>
            <pc:docMk/>
            <pc:sldMk cId="520098437" sldId="977"/>
            <ac:spMk id="10" creationId="{1BD9F5E8-F8D9-768F-F3F0-4993F0CBD736}"/>
          </ac:spMkLst>
        </pc:spChg>
        <pc:spChg chg="mod">
          <ac:chgData name="Andreas Koksrud" userId="9d9beba6-c052-407a-8599-c781a677a996" providerId="ADAL" clId="{8658473B-F8B0-412E-ABD9-785EC206476C}" dt="2024-08-23T07:36:43.759" v="11070"/>
          <ac:spMkLst>
            <pc:docMk/>
            <pc:sldMk cId="520098437" sldId="977"/>
            <ac:spMk id="180" creationId="{00000000-0000-0000-0000-000000000000}"/>
          </ac:spMkLst>
        </pc:spChg>
        <pc:cxnChg chg="add mod">
          <ac:chgData name="Andreas Koksrud" userId="9d9beba6-c052-407a-8599-c781a677a996" providerId="ADAL" clId="{8658473B-F8B0-412E-ABD9-785EC206476C}" dt="2024-08-24T17:25:51.187" v="12002" actId="14100"/>
          <ac:cxnSpMkLst>
            <pc:docMk/>
            <pc:sldMk cId="520098437" sldId="977"/>
            <ac:cxnSpMk id="5" creationId="{2B81E1AC-313D-C209-1A87-E1269539B326}"/>
          </ac:cxnSpMkLst>
        </pc:cxnChg>
      </pc:sldChg>
      <pc:sldChg chg="del">
        <pc:chgData name="Andreas Koksrud" userId="9d9beba6-c052-407a-8599-c781a677a996" providerId="ADAL" clId="{8658473B-F8B0-412E-ABD9-785EC206476C}" dt="2024-08-11T09:41:31.703" v="13" actId="47"/>
        <pc:sldMkLst>
          <pc:docMk/>
          <pc:sldMk cId="1090692380" sldId="979"/>
        </pc:sldMkLst>
      </pc:sldChg>
      <pc:sldChg chg="addSp delSp modSp mod ord">
        <pc:chgData name="Andreas Koksrud" userId="9d9beba6-c052-407a-8599-c781a677a996" providerId="ADAL" clId="{8658473B-F8B0-412E-ABD9-785EC206476C}" dt="2024-08-25T19:12:12.258" v="13648" actId="1076"/>
        <pc:sldMkLst>
          <pc:docMk/>
          <pc:sldMk cId="3623507131" sldId="980"/>
        </pc:sldMkLst>
        <pc:spChg chg="mod">
          <ac:chgData name="Andreas Koksrud" userId="9d9beba6-c052-407a-8599-c781a677a996" providerId="ADAL" clId="{8658473B-F8B0-412E-ABD9-785EC206476C}" dt="2024-08-23T05:41:49.370" v="6571"/>
          <ac:spMkLst>
            <pc:docMk/>
            <pc:sldMk cId="3623507131" sldId="980"/>
            <ac:spMk id="4" creationId="{BDF04420-95D5-A2F1-5C85-4410F0AD48ED}"/>
          </ac:spMkLst>
        </pc:spChg>
        <pc:spChg chg="mod">
          <ac:chgData name="Andreas Koksrud" userId="9d9beba6-c052-407a-8599-c781a677a996" providerId="ADAL" clId="{8658473B-F8B0-412E-ABD9-785EC206476C}" dt="2024-08-18T15:35:58.641" v="2768" actId="20577"/>
          <ac:spMkLst>
            <pc:docMk/>
            <pc:sldMk cId="3623507131" sldId="980"/>
            <ac:spMk id="180" creationId="{00000000-0000-0000-0000-000000000000}"/>
          </ac:spMkLst>
        </pc:spChg>
        <pc:spChg chg="mod">
          <ac:chgData name="Andreas Koksrud" userId="9d9beba6-c052-407a-8599-c781a677a996" providerId="ADAL" clId="{8658473B-F8B0-412E-ABD9-785EC206476C}" dt="2024-08-25T19:12:08.511" v="13647" actId="27636"/>
          <ac:spMkLst>
            <pc:docMk/>
            <pc:sldMk cId="3623507131" sldId="980"/>
            <ac:spMk id="181" creationId="{00000000-0000-0000-0000-000000000000}"/>
          </ac:spMkLst>
        </pc:spChg>
        <pc:picChg chg="add mod modCrop">
          <ac:chgData name="Andreas Koksrud" userId="9d9beba6-c052-407a-8599-c781a677a996" providerId="ADAL" clId="{8658473B-F8B0-412E-ABD9-785EC206476C}" dt="2024-08-18T15:47:13.257" v="3027" actId="1035"/>
          <ac:picMkLst>
            <pc:docMk/>
            <pc:sldMk cId="3623507131" sldId="980"/>
            <ac:picMk id="5" creationId="{43978EB8-70EE-3CC6-24FB-EA6DFC2DB6EE}"/>
          </ac:picMkLst>
        </pc:picChg>
        <pc:picChg chg="add mod">
          <ac:chgData name="Andreas Koksrud" userId="9d9beba6-c052-407a-8599-c781a677a996" providerId="ADAL" clId="{8658473B-F8B0-412E-ABD9-785EC206476C}" dt="2024-08-18T15:47:17.559" v="3040" actId="1035"/>
          <ac:picMkLst>
            <pc:docMk/>
            <pc:sldMk cId="3623507131" sldId="980"/>
            <ac:picMk id="7" creationId="{36570E2E-F370-D1BE-9F0F-97BF61C41C1F}"/>
          </ac:picMkLst>
        </pc:picChg>
        <pc:picChg chg="add mod">
          <ac:chgData name="Andreas Koksrud" userId="9d9beba6-c052-407a-8599-c781a677a996" providerId="ADAL" clId="{8658473B-F8B0-412E-ABD9-785EC206476C}" dt="2024-08-18T15:48:21.311" v="3118" actId="1076"/>
          <ac:picMkLst>
            <pc:docMk/>
            <pc:sldMk cId="3623507131" sldId="980"/>
            <ac:picMk id="9" creationId="{3C9153C8-1555-4AF7-A52C-C3CB537490C6}"/>
          </ac:picMkLst>
        </pc:picChg>
        <pc:picChg chg="add mod">
          <ac:chgData name="Andreas Koksrud" userId="9d9beba6-c052-407a-8599-c781a677a996" providerId="ADAL" clId="{8658473B-F8B0-412E-ABD9-785EC206476C}" dt="2024-08-18T15:49:06.998" v="3179" actId="1076"/>
          <ac:picMkLst>
            <pc:docMk/>
            <pc:sldMk cId="3623507131" sldId="980"/>
            <ac:picMk id="11" creationId="{1CD56ABB-80C8-11BD-C6B6-B6A313632347}"/>
          </ac:picMkLst>
        </pc:picChg>
        <pc:picChg chg="add del mod">
          <ac:chgData name="Andreas Koksrud" userId="9d9beba6-c052-407a-8599-c781a677a996" providerId="ADAL" clId="{8658473B-F8B0-412E-ABD9-785EC206476C}" dt="2024-08-18T15:50:33.479" v="3258" actId="478"/>
          <ac:picMkLst>
            <pc:docMk/>
            <pc:sldMk cId="3623507131" sldId="980"/>
            <ac:picMk id="13" creationId="{DCCBAF28-0E3F-D84F-1684-71A4E3A29A0C}"/>
          </ac:picMkLst>
        </pc:picChg>
        <pc:picChg chg="add mod">
          <ac:chgData name="Andreas Koksrud" userId="9d9beba6-c052-407a-8599-c781a677a996" providerId="ADAL" clId="{8658473B-F8B0-412E-ABD9-785EC206476C}" dt="2024-08-18T15:50:49.841" v="3262" actId="1076"/>
          <ac:picMkLst>
            <pc:docMk/>
            <pc:sldMk cId="3623507131" sldId="980"/>
            <ac:picMk id="15" creationId="{D3877276-EE30-A7F7-E40E-C1200E3E1C3C}"/>
          </ac:picMkLst>
        </pc:picChg>
        <pc:picChg chg="add del mod">
          <ac:chgData name="Andreas Koksrud" userId="9d9beba6-c052-407a-8599-c781a677a996" providerId="ADAL" clId="{8658473B-F8B0-412E-ABD9-785EC206476C}" dt="2024-08-18T15:57:45.394" v="3725" actId="478"/>
          <ac:picMkLst>
            <pc:docMk/>
            <pc:sldMk cId="3623507131" sldId="980"/>
            <ac:picMk id="17" creationId="{5ED77F6F-65EB-A075-A9BB-E2C344D8F2DC}"/>
          </ac:picMkLst>
        </pc:picChg>
        <pc:picChg chg="add mod modCrop">
          <ac:chgData name="Andreas Koksrud" userId="9d9beba6-c052-407a-8599-c781a677a996" providerId="ADAL" clId="{8658473B-F8B0-412E-ABD9-785EC206476C}" dt="2024-08-25T19:12:12.258" v="13648" actId="1076"/>
          <ac:picMkLst>
            <pc:docMk/>
            <pc:sldMk cId="3623507131" sldId="980"/>
            <ac:picMk id="19" creationId="{CF4A5943-5832-5B7D-00BA-4D7C3A8128D4}"/>
          </ac:picMkLst>
        </pc:picChg>
        <pc:picChg chg="add mod">
          <ac:chgData name="Andreas Koksrud" userId="9d9beba6-c052-407a-8599-c781a677a996" providerId="ADAL" clId="{8658473B-F8B0-412E-ABD9-785EC206476C}" dt="2024-08-18T16:01:38.545" v="3952" actId="1076"/>
          <ac:picMkLst>
            <pc:docMk/>
            <pc:sldMk cId="3623507131" sldId="980"/>
            <ac:picMk id="21" creationId="{DA868902-7D32-E4A6-B0F7-70576B133EB2}"/>
          </ac:picMkLst>
        </pc:picChg>
        <pc:picChg chg="add mod">
          <ac:chgData name="Andreas Koksrud" userId="9d9beba6-c052-407a-8599-c781a677a996" providerId="ADAL" clId="{8658473B-F8B0-412E-ABD9-785EC206476C}" dt="2024-08-18T16:02:50.344" v="3957" actId="1076"/>
          <ac:picMkLst>
            <pc:docMk/>
            <pc:sldMk cId="3623507131" sldId="980"/>
            <ac:picMk id="23" creationId="{A7F0A6F4-1144-FAE6-79D1-94D4DB22522C}"/>
          </ac:picMkLst>
        </pc:picChg>
        <pc:picChg chg="add mod">
          <ac:chgData name="Andreas Koksrud" userId="9d9beba6-c052-407a-8599-c781a677a996" providerId="ADAL" clId="{8658473B-F8B0-412E-ABD9-785EC206476C}" dt="2024-08-18T16:03:08.058" v="3959" actId="1076"/>
          <ac:picMkLst>
            <pc:docMk/>
            <pc:sldMk cId="3623507131" sldId="980"/>
            <ac:picMk id="25" creationId="{10B10BA7-28E4-CD68-EB58-1520307111D8}"/>
          </ac:picMkLst>
        </pc:picChg>
        <pc:cxnChg chg="add mod">
          <ac:chgData name="Andreas Koksrud" userId="9d9beba6-c052-407a-8599-c781a677a996" providerId="ADAL" clId="{8658473B-F8B0-412E-ABD9-785EC206476C}" dt="2024-08-18T16:03:33.988" v="3961" actId="1582"/>
          <ac:cxnSpMkLst>
            <pc:docMk/>
            <pc:sldMk cId="3623507131" sldId="980"/>
            <ac:cxnSpMk id="27" creationId="{9CD432F0-0A37-EAFC-B8C9-59FB81DE34F7}"/>
          </ac:cxnSpMkLst>
        </pc:cxnChg>
        <pc:cxnChg chg="add mod">
          <ac:chgData name="Andreas Koksrud" userId="9d9beba6-c052-407a-8599-c781a677a996" providerId="ADAL" clId="{8658473B-F8B0-412E-ABD9-785EC206476C}" dt="2024-08-18T16:03:43.405" v="3963" actId="14100"/>
          <ac:cxnSpMkLst>
            <pc:docMk/>
            <pc:sldMk cId="3623507131" sldId="980"/>
            <ac:cxnSpMk id="28" creationId="{7B2A3BAE-3D0B-610D-95D1-A77DBD1B74A0}"/>
          </ac:cxnSpMkLst>
        </pc:cxnChg>
        <pc:cxnChg chg="add mod">
          <ac:chgData name="Andreas Koksrud" userId="9d9beba6-c052-407a-8599-c781a677a996" providerId="ADAL" clId="{8658473B-F8B0-412E-ABD9-785EC206476C}" dt="2024-08-18T16:03:49.635" v="3966" actId="14100"/>
          <ac:cxnSpMkLst>
            <pc:docMk/>
            <pc:sldMk cId="3623507131" sldId="980"/>
            <ac:cxnSpMk id="30" creationId="{38763070-F373-1D47-DB60-ABFC6C847F1B}"/>
          </ac:cxnSpMkLst>
        </pc:cxnChg>
      </pc:sldChg>
      <pc:sldChg chg="del">
        <pc:chgData name="Andreas Koksrud" userId="9d9beba6-c052-407a-8599-c781a677a996" providerId="ADAL" clId="{8658473B-F8B0-412E-ABD9-785EC206476C}" dt="2024-08-11T09:51:31.572" v="19" actId="47"/>
        <pc:sldMkLst>
          <pc:docMk/>
          <pc:sldMk cId="201479614" sldId="981"/>
        </pc:sldMkLst>
      </pc:sldChg>
      <pc:sldChg chg="del">
        <pc:chgData name="Andreas Koksrud" userId="9d9beba6-c052-407a-8599-c781a677a996" providerId="ADAL" clId="{8658473B-F8B0-412E-ABD9-785EC206476C}" dt="2024-08-11T09:51:31.572" v="19" actId="47"/>
        <pc:sldMkLst>
          <pc:docMk/>
          <pc:sldMk cId="3258998827" sldId="982"/>
        </pc:sldMkLst>
      </pc:sldChg>
      <pc:sldChg chg="modSp mod ord">
        <pc:chgData name="Andreas Koksrud" userId="9d9beba6-c052-407a-8599-c781a677a996" providerId="ADAL" clId="{8658473B-F8B0-412E-ABD9-785EC206476C}" dt="2024-08-24T17:31:13.837" v="12148" actId="1076"/>
        <pc:sldMkLst>
          <pc:docMk/>
          <pc:sldMk cId="2763641771" sldId="983"/>
        </pc:sldMkLst>
        <pc:spChg chg="mod">
          <ac:chgData name="Andreas Koksrud" userId="9d9beba6-c052-407a-8599-c781a677a996" providerId="ADAL" clId="{8658473B-F8B0-412E-ABD9-785EC206476C}" dt="2024-08-23T05:40:20.596" v="6568"/>
          <ac:spMkLst>
            <pc:docMk/>
            <pc:sldMk cId="2763641771" sldId="983"/>
            <ac:spMk id="7" creationId="{D2C947CF-B6EB-7B40-A245-11A2432E05C3}"/>
          </ac:spMkLst>
        </pc:spChg>
        <pc:spChg chg="mod">
          <ac:chgData name="Andreas Koksrud" userId="9d9beba6-c052-407a-8599-c781a677a996" providerId="ADAL" clId="{8658473B-F8B0-412E-ABD9-785EC206476C}" dt="2024-08-24T17:31:00.039" v="12143" actId="14100"/>
          <ac:spMkLst>
            <pc:docMk/>
            <pc:sldMk cId="2763641771" sldId="983"/>
            <ac:spMk id="11" creationId="{08ECC5E9-F272-B52F-7825-2A6A702B319F}"/>
          </ac:spMkLst>
        </pc:spChg>
        <pc:spChg chg="mod">
          <ac:chgData name="Andreas Koksrud" userId="9d9beba6-c052-407a-8599-c781a677a996" providerId="ADAL" clId="{8658473B-F8B0-412E-ABD9-785EC206476C}" dt="2024-08-24T17:31:11.635" v="12147" actId="1035"/>
          <ac:spMkLst>
            <pc:docMk/>
            <pc:sldMk cId="2763641771" sldId="983"/>
            <ac:spMk id="13" creationId="{DD7970DD-F435-60ED-9479-AD4450812ED1}"/>
          </ac:spMkLst>
        </pc:spChg>
        <pc:picChg chg="mod">
          <ac:chgData name="Andreas Koksrud" userId="9d9beba6-c052-407a-8599-c781a677a996" providerId="ADAL" clId="{8658473B-F8B0-412E-ABD9-785EC206476C}" dt="2024-08-24T17:31:13.837" v="12148" actId="1076"/>
          <ac:picMkLst>
            <pc:docMk/>
            <pc:sldMk cId="2763641771" sldId="983"/>
            <ac:picMk id="24" creationId="{EFB4012B-4844-0459-FDD6-4151322CFE59}"/>
          </ac:picMkLst>
        </pc:picChg>
        <pc:cxnChg chg="mod">
          <ac:chgData name="Andreas Koksrud" userId="9d9beba6-c052-407a-8599-c781a677a996" providerId="ADAL" clId="{8658473B-F8B0-412E-ABD9-785EC206476C}" dt="2024-08-24T17:31:03.671" v="12145" actId="14100"/>
          <ac:cxnSpMkLst>
            <pc:docMk/>
            <pc:sldMk cId="2763641771" sldId="983"/>
            <ac:cxnSpMk id="5" creationId="{99EDF0DF-3AE9-13BB-D977-80F04527045E}"/>
          </ac:cxnSpMkLst>
        </pc:cxnChg>
        <pc:cxnChg chg="mod">
          <ac:chgData name="Andreas Koksrud" userId="9d9beba6-c052-407a-8599-c781a677a996" providerId="ADAL" clId="{8658473B-F8B0-412E-ABD9-785EC206476C}" dt="2024-08-24T17:30:54.601" v="12142" actId="14100"/>
          <ac:cxnSpMkLst>
            <pc:docMk/>
            <pc:sldMk cId="2763641771" sldId="983"/>
            <ac:cxnSpMk id="17" creationId="{F994F638-5F12-9B02-1073-08A90570FCE7}"/>
          </ac:cxnSpMkLst>
        </pc:cxnChg>
        <pc:cxnChg chg="mod">
          <ac:chgData name="Andreas Koksrud" userId="9d9beba6-c052-407a-8599-c781a677a996" providerId="ADAL" clId="{8658473B-F8B0-412E-ABD9-785EC206476C}" dt="2024-08-24T17:31:09.504" v="12146" actId="14100"/>
          <ac:cxnSpMkLst>
            <pc:docMk/>
            <pc:sldMk cId="2763641771" sldId="983"/>
            <ac:cxnSpMk id="19" creationId="{94D2A1A9-C9DA-8E00-2250-56FF710F9E20}"/>
          </ac:cxnSpMkLst>
        </pc:cxnChg>
        <pc:cxnChg chg="mod">
          <ac:chgData name="Andreas Koksrud" userId="9d9beba6-c052-407a-8599-c781a677a996" providerId="ADAL" clId="{8658473B-F8B0-412E-ABD9-785EC206476C}" dt="2024-08-24T17:30:45.740" v="12138" actId="14100"/>
          <ac:cxnSpMkLst>
            <pc:docMk/>
            <pc:sldMk cId="2763641771" sldId="983"/>
            <ac:cxnSpMk id="30" creationId="{7E767183-2953-BF4E-ADA2-72D40E2B119F}"/>
          </ac:cxnSpMkLst>
        </pc:cxnChg>
        <pc:cxnChg chg="mod">
          <ac:chgData name="Andreas Koksrud" userId="9d9beba6-c052-407a-8599-c781a677a996" providerId="ADAL" clId="{8658473B-F8B0-412E-ABD9-785EC206476C}" dt="2024-08-24T17:30:42.641" v="12137" actId="14100"/>
          <ac:cxnSpMkLst>
            <pc:docMk/>
            <pc:sldMk cId="2763641771" sldId="983"/>
            <ac:cxnSpMk id="32" creationId="{7000CBB5-772F-F9F7-C5C3-3EE79A64244A}"/>
          </ac:cxnSpMkLst>
        </pc:cxnChg>
      </pc:sldChg>
      <pc:sldChg chg="modSp ord">
        <pc:chgData name="Andreas Koksrud" userId="9d9beba6-c052-407a-8599-c781a677a996" providerId="ADAL" clId="{8658473B-F8B0-412E-ABD9-785EC206476C}" dt="2024-08-23T05:40:20.596" v="6568"/>
        <pc:sldMkLst>
          <pc:docMk/>
          <pc:sldMk cId="29582" sldId="984"/>
        </pc:sldMkLst>
        <pc:spChg chg="mod">
          <ac:chgData name="Andreas Koksrud" userId="9d9beba6-c052-407a-8599-c781a677a996" providerId="ADAL" clId="{8658473B-F8B0-412E-ABD9-785EC206476C}" dt="2024-08-23T05:40:20.596" v="6568"/>
          <ac:spMkLst>
            <pc:docMk/>
            <pc:sldMk cId="29582" sldId="984"/>
            <ac:spMk id="5" creationId="{9455CF74-42D1-AD16-1F0F-70A933B9FDB3}"/>
          </ac:spMkLst>
        </pc:spChg>
      </pc:sldChg>
      <pc:sldChg chg="addSp modSp mod ord">
        <pc:chgData name="Andreas Koksrud" userId="9d9beba6-c052-407a-8599-c781a677a996" providerId="ADAL" clId="{8658473B-F8B0-412E-ABD9-785EC206476C}" dt="2024-08-24T17:41:35.647" v="12345" actId="14100"/>
        <pc:sldMkLst>
          <pc:docMk/>
          <pc:sldMk cId="2373732333" sldId="985"/>
        </pc:sldMkLst>
        <pc:spChg chg="mod">
          <ac:chgData name="Andreas Koksrud" userId="9d9beba6-c052-407a-8599-c781a677a996" providerId="ADAL" clId="{8658473B-F8B0-412E-ABD9-785EC206476C}" dt="2024-08-23T07:41:25.890" v="11315" actId="20577"/>
          <ac:spMkLst>
            <pc:docMk/>
            <pc:sldMk cId="2373732333" sldId="985"/>
            <ac:spMk id="2" creationId="{9796E8C1-5924-9DB3-B51B-75296717F89F}"/>
          </ac:spMkLst>
        </pc:spChg>
        <pc:spChg chg="mod">
          <ac:chgData name="Andreas Koksrud" userId="9d9beba6-c052-407a-8599-c781a677a996" providerId="ADAL" clId="{8658473B-F8B0-412E-ABD9-785EC206476C}" dt="2024-08-23T05:40:56.340" v="6569"/>
          <ac:spMkLst>
            <pc:docMk/>
            <pc:sldMk cId="2373732333" sldId="985"/>
            <ac:spMk id="4" creationId="{E53BC320-EB76-AACD-B492-E0CEFD69F83A}"/>
          </ac:spMkLst>
        </pc:spChg>
        <pc:picChg chg="add mod">
          <ac:chgData name="Andreas Koksrud" userId="9d9beba6-c052-407a-8599-c781a677a996" providerId="ADAL" clId="{8658473B-F8B0-412E-ABD9-785EC206476C}" dt="2024-08-23T07:41:01.376" v="11296" actId="1076"/>
          <ac:picMkLst>
            <pc:docMk/>
            <pc:sldMk cId="2373732333" sldId="985"/>
            <ac:picMk id="7" creationId="{E70A9FC5-9E1C-CD63-96A5-06B37A215839}"/>
          </ac:picMkLst>
        </pc:picChg>
        <pc:cxnChg chg="add mod">
          <ac:chgData name="Andreas Koksrud" userId="9d9beba6-c052-407a-8599-c781a677a996" providerId="ADAL" clId="{8658473B-F8B0-412E-ABD9-785EC206476C}" dt="2024-08-24T17:41:35.647" v="12345" actId="14100"/>
          <ac:cxnSpMkLst>
            <pc:docMk/>
            <pc:sldMk cId="2373732333" sldId="985"/>
            <ac:cxnSpMk id="5" creationId="{BD871EDE-EE23-5166-D361-BCAC3CDBFFBF}"/>
          </ac:cxnSpMkLst>
        </pc:cxnChg>
      </pc:sldChg>
      <pc:sldChg chg="del">
        <pc:chgData name="Andreas Koksrud" userId="9d9beba6-c052-407a-8599-c781a677a996" providerId="ADAL" clId="{8658473B-F8B0-412E-ABD9-785EC206476C}" dt="2024-08-11T09:51:31.572" v="19" actId="47"/>
        <pc:sldMkLst>
          <pc:docMk/>
          <pc:sldMk cId="3094626849" sldId="986"/>
        </pc:sldMkLst>
      </pc:sldChg>
      <pc:sldChg chg="del">
        <pc:chgData name="Andreas Koksrud" userId="9d9beba6-c052-407a-8599-c781a677a996" providerId="ADAL" clId="{8658473B-F8B0-412E-ABD9-785EC206476C}" dt="2024-08-11T09:51:31.572" v="19" actId="47"/>
        <pc:sldMkLst>
          <pc:docMk/>
          <pc:sldMk cId="1120336581" sldId="987"/>
        </pc:sldMkLst>
      </pc:sldChg>
      <pc:sldChg chg="del">
        <pc:chgData name="Andreas Koksrud" userId="9d9beba6-c052-407a-8599-c781a677a996" providerId="ADAL" clId="{8658473B-F8B0-412E-ABD9-785EC206476C}" dt="2024-08-11T09:51:31.572" v="19" actId="47"/>
        <pc:sldMkLst>
          <pc:docMk/>
          <pc:sldMk cId="2858715144" sldId="989"/>
        </pc:sldMkLst>
      </pc:sldChg>
      <pc:sldChg chg="del">
        <pc:chgData name="Andreas Koksrud" userId="9d9beba6-c052-407a-8599-c781a677a996" providerId="ADAL" clId="{8658473B-F8B0-412E-ABD9-785EC206476C}" dt="2024-08-11T09:51:31.572" v="19" actId="47"/>
        <pc:sldMkLst>
          <pc:docMk/>
          <pc:sldMk cId="1472919352" sldId="990"/>
        </pc:sldMkLst>
      </pc:sldChg>
      <pc:sldChg chg="modSp">
        <pc:chgData name="Andreas Koksrud" userId="9d9beba6-c052-407a-8599-c781a677a996" providerId="ADAL" clId="{8658473B-F8B0-412E-ABD9-785EC206476C}" dt="2024-08-23T05:43:12.152" v="6573"/>
        <pc:sldMkLst>
          <pc:docMk/>
          <pc:sldMk cId="1776970496" sldId="991"/>
        </pc:sldMkLst>
        <pc:spChg chg="mod">
          <ac:chgData name="Andreas Koksrud" userId="9d9beba6-c052-407a-8599-c781a677a996" providerId="ADAL" clId="{8658473B-F8B0-412E-ABD9-785EC206476C}" dt="2024-08-23T05:43:12.152" v="6573"/>
          <ac:spMkLst>
            <pc:docMk/>
            <pc:sldMk cId="1776970496" sldId="991"/>
            <ac:spMk id="4" creationId="{2AAFDAAC-8F4B-153F-5BA4-4AA004EB1E80}"/>
          </ac:spMkLst>
        </pc:spChg>
      </pc:sldChg>
      <pc:sldChg chg="modSp">
        <pc:chgData name="Andreas Koksrud" userId="9d9beba6-c052-407a-8599-c781a677a996" providerId="ADAL" clId="{8658473B-F8B0-412E-ABD9-785EC206476C}" dt="2024-08-23T05:43:12.152" v="6573"/>
        <pc:sldMkLst>
          <pc:docMk/>
          <pc:sldMk cId="3392338419" sldId="992"/>
        </pc:sldMkLst>
        <pc:spChg chg="mod">
          <ac:chgData name="Andreas Koksrud" userId="9d9beba6-c052-407a-8599-c781a677a996" providerId="ADAL" clId="{8658473B-F8B0-412E-ABD9-785EC206476C}" dt="2024-08-23T05:43:12.152" v="6573"/>
          <ac:spMkLst>
            <pc:docMk/>
            <pc:sldMk cId="3392338419" sldId="992"/>
            <ac:spMk id="4" creationId="{2AAFDAAC-8F4B-153F-5BA4-4AA004EB1E80}"/>
          </ac:spMkLst>
        </pc:spChg>
      </pc:sldChg>
      <pc:sldChg chg="modSp">
        <pc:chgData name="Andreas Koksrud" userId="9d9beba6-c052-407a-8599-c781a677a996" providerId="ADAL" clId="{8658473B-F8B0-412E-ABD9-785EC206476C}" dt="2024-08-23T05:43:12.152" v="6573"/>
        <pc:sldMkLst>
          <pc:docMk/>
          <pc:sldMk cId="3849634961" sldId="993"/>
        </pc:sldMkLst>
        <pc:spChg chg="mod">
          <ac:chgData name="Andreas Koksrud" userId="9d9beba6-c052-407a-8599-c781a677a996" providerId="ADAL" clId="{8658473B-F8B0-412E-ABD9-785EC206476C}" dt="2024-08-23T05:43:12.152" v="6573"/>
          <ac:spMkLst>
            <pc:docMk/>
            <pc:sldMk cId="3849634961" sldId="993"/>
            <ac:spMk id="4" creationId="{2AAFDAAC-8F4B-153F-5BA4-4AA004EB1E80}"/>
          </ac:spMkLst>
        </pc:spChg>
      </pc:sldChg>
      <pc:sldChg chg="modSp">
        <pc:chgData name="Andreas Koksrud" userId="9d9beba6-c052-407a-8599-c781a677a996" providerId="ADAL" clId="{8658473B-F8B0-412E-ABD9-785EC206476C}" dt="2024-08-23T05:43:38.080" v="6575"/>
        <pc:sldMkLst>
          <pc:docMk/>
          <pc:sldMk cId="3249461836" sldId="994"/>
        </pc:sldMkLst>
        <pc:spChg chg="mod">
          <ac:chgData name="Andreas Koksrud" userId="9d9beba6-c052-407a-8599-c781a677a996" providerId="ADAL" clId="{8658473B-F8B0-412E-ABD9-785EC206476C}" dt="2024-08-23T05:43:38.080" v="6575"/>
          <ac:spMkLst>
            <pc:docMk/>
            <pc:sldMk cId="3249461836" sldId="994"/>
            <ac:spMk id="4" creationId="{06D484B0-8A03-2AA5-1C90-502CFFA0A0A7}"/>
          </ac:spMkLst>
        </pc:spChg>
      </pc:sldChg>
      <pc:sldChg chg="modSp mod">
        <pc:chgData name="Andreas Koksrud" userId="9d9beba6-c052-407a-8599-c781a677a996" providerId="ADAL" clId="{8658473B-F8B0-412E-ABD9-785EC206476C}" dt="2024-08-23T07:07:08.842" v="8787" actId="14826"/>
        <pc:sldMkLst>
          <pc:docMk/>
          <pc:sldMk cId="1236723272" sldId="995"/>
        </pc:sldMkLst>
        <pc:spChg chg="mod">
          <ac:chgData name="Andreas Koksrud" userId="9d9beba6-c052-407a-8599-c781a677a996" providerId="ADAL" clId="{8658473B-F8B0-412E-ABD9-785EC206476C}" dt="2024-08-23T05:43:38.080" v="6575"/>
          <ac:spMkLst>
            <pc:docMk/>
            <pc:sldMk cId="1236723272" sldId="995"/>
            <ac:spMk id="4" creationId="{06D484B0-8A03-2AA5-1C90-502CFFA0A0A7}"/>
          </ac:spMkLst>
        </pc:spChg>
        <pc:picChg chg="mod">
          <ac:chgData name="Andreas Koksrud" userId="9d9beba6-c052-407a-8599-c781a677a996" providerId="ADAL" clId="{8658473B-F8B0-412E-ABD9-785EC206476C}" dt="2024-08-23T07:07:08.842" v="8787" actId="14826"/>
          <ac:picMkLst>
            <pc:docMk/>
            <pc:sldMk cId="1236723272" sldId="995"/>
            <ac:picMk id="34" creationId="{824CF0E1-3C82-2457-7A38-5A1320A9A117}"/>
          </ac:picMkLst>
        </pc:picChg>
      </pc:sldChg>
      <pc:sldChg chg="modSp">
        <pc:chgData name="Andreas Koksrud" userId="9d9beba6-c052-407a-8599-c781a677a996" providerId="ADAL" clId="{8658473B-F8B0-412E-ABD9-785EC206476C}" dt="2024-08-23T05:43:38.080" v="6575"/>
        <pc:sldMkLst>
          <pc:docMk/>
          <pc:sldMk cId="1617717875" sldId="996"/>
        </pc:sldMkLst>
        <pc:spChg chg="mod">
          <ac:chgData name="Andreas Koksrud" userId="9d9beba6-c052-407a-8599-c781a677a996" providerId="ADAL" clId="{8658473B-F8B0-412E-ABD9-785EC206476C}" dt="2024-08-23T05:43:38.080" v="6575"/>
          <ac:spMkLst>
            <pc:docMk/>
            <pc:sldMk cId="1617717875" sldId="996"/>
            <ac:spMk id="4" creationId="{06D484B0-8A03-2AA5-1C90-502CFFA0A0A7}"/>
          </ac:spMkLst>
        </pc:spChg>
      </pc:sldChg>
      <pc:sldChg chg="del">
        <pc:chgData name="Andreas Koksrud" userId="9d9beba6-c052-407a-8599-c781a677a996" providerId="ADAL" clId="{8658473B-F8B0-412E-ABD9-785EC206476C}" dt="2024-08-11T09:41:31.703" v="13" actId="47"/>
        <pc:sldMkLst>
          <pc:docMk/>
          <pc:sldMk cId="1986310522" sldId="997"/>
        </pc:sldMkLst>
      </pc:sldChg>
      <pc:sldChg chg="del">
        <pc:chgData name="Andreas Koksrud" userId="9d9beba6-c052-407a-8599-c781a677a996" providerId="ADAL" clId="{8658473B-F8B0-412E-ABD9-785EC206476C}" dt="2024-08-11T09:41:31.703" v="13" actId="47"/>
        <pc:sldMkLst>
          <pc:docMk/>
          <pc:sldMk cId="69240320" sldId="1000"/>
        </pc:sldMkLst>
      </pc:sldChg>
      <pc:sldChg chg="del">
        <pc:chgData name="Andreas Koksrud" userId="9d9beba6-c052-407a-8599-c781a677a996" providerId="ADAL" clId="{8658473B-F8B0-412E-ABD9-785EC206476C}" dt="2024-08-11T09:41:31.703" v="13" actId="47"/>
        <pc:sldMkLst>
          <pc:docMk/>
          <pc:sldMk cId="316841881" sldId="1001"/>
        </pc:sldMkLst>
      </pc:sldChg>
      <pc:sldChg chg="del">
        <pc:chgData name="Andreas Koksrud" userId="9d9beba6-c052-407a-8599-c781a677a996" providerId="ADAL" clId="{8658473B-F8B0-412E-ABD9-785EC206476C}" dt="2024-08-11T09:41:31.703" v="13" actId="47"/>
        <pc:sldMkLst>
          <pc:docMk/>
          <pc:sldMk cId="3021409605" sldId="1002"/>
        </pc:sldMkLst>
      </pc:sldChg>
      <pc:sldChg chg="del">
        <pc:chgData name="Andreas Koksrud" userId="9d9beba6-c052-407a-8599-c781a677a996" providerId="ADAL" clId="{8658473B-F8B0-412E-ABD9-785EC206476C}" dt="2024-08-11T09:41:31.703" v="13" actId="47"/>
        <pc:sldMkLst>
          <pc:docMk/>
          <pc:sldMk cId="3489449866" sldId="1003"/>
        </pc:sldMkLst>
      </pc:sldChg>
      <pc:sldChg chg="del">
        <pc:chgData name="Andreas Koksrud" userId="9d9beba6-c052-407a-8599-c781a677a996" providerId="ADAL" clId="{8658473B-F8B0-412E-ABD9-785EC206476C}" dt="2024-08-11T09:41:31.703" v="13" actId="47"/>
        <pc:sldMkLst>
          <pc:docMk/>
          <pc:sldMk cId="2115270536" sldId="1004"/>
        </pc:sldMkLst>
      </pc:sldChg>
      <pc:sldChg chg="del">
        <pc:chgData name="Andreas Koksrud" userId="9d9beba6-c052-407a-8599-c781a677a996" providerId="ADAL" clId="{8658473B-F8B0-412E-ABD9-785EC206476C}" dt="2024-08-11T09:41:31.703" v="13" actId="47"/>
        <pc:sldMkLst>
          <pc:docMk/>
          <pc:sldMk cId="891349444" sldId="1005"/>
        </pc:sldMkLst>
      </pc:sldChg>
      <pc:sldChg chg="addSp modSp mod">
        <pc:chgData name="Andreas Koksrud" userId="9d9beba6-c052-407a-8599-c781a677a996" providerId="ADAL" clId="{8658473B-F8B0-412E-ABD9-785EC206476C}" dt="2024-08-23T07:20:28.329" v="9585" actId="1076"/>
        <pc:sldMkLst>
          <pc:docMk/>
          <pc:sldMk cId="1973431329" sldId="1006"/>
        </pc:sldMkLst>
        <pc:spChg chg="mod">
          <ac:chgData name="Andreas Koksrud" userId="9d9beba6-c052-407a-8599-c781a677a996" providerId="ADAL" clId="{8658473B-F8B0-412E-ABD9-785EC206476C}" dt="2024-08-23T05:43:38.080" v="6575"/>
          <ac:spMkLst>
            <pc:docMk/>
            <pc:sldMk cId="1973431329" sldId="1006"/>
            <ac:spMk id="4" creationId="{06D484B0-8A03-2AA5-1C90-502CFFA0A0A7}"/>
          </ac:spMkLst>
        </pc:spChg>
        <pc:spChg chg="mod">
          <ac:chgData name="Andreas Koksrud" userId="9d9beba6-c052-407a-8599-c781a677a996" providerId="ADAL" clId="{8658473B-F8B0-412E-ABD9-785EC206476C}" dt="2024-08-23T07:20:23.735" v="9584" actId="20577"/>
          <ac:spMkLst>
            <pc:docMk/>
            <pc:sldMk cId="1973431329" sldId="1006"/>
            <ac:spMk id="6" creationId="{0D4648DA-4B5B-6E10-A6B4-1C4D081CE994}"/>
          </ac:spMkLst>
        </pc:spChg>
        <pc:spChg chg="add mod">
          <ac:chgData name="Andreas Koksrud" userId="9d9beba6-c052-407a-8599-c781a677a996" providerId="ADAL" clId="{8658473B-F8B0-412E-ABD9-785EC206476C}" dt="2024-08-23T07:20:28.329" v="9585" actId="1076"/>
          <ac:spMkLst>
            <pc:docMk/>
            <pc:sldMk cId="1973431329" sldId="1006"/>
            <ac:spMk id="7" creationId="{4F090534-31BD-8690-581B-B812DD40DD52}"/>
          </ac:spMkLst>
        </pc:spChg>
        <pc:picChg chg="mod">
          <ac:chgData name="Andreas Koksrud" userId="9d9beba6-c052-407a-8599-c781a677a996" providerId="ADAL" clId="{8658473B-F8B0-412E-ABD9-785EC206476C}" dt="2024-08-23T07:17:02.107" v="9554" actId="1035"/>
          <ac:picMkLst>
            <pc:docMk/>
            <pc:sldMk cId="1973431329" sldId="1006"/>
            <ac:picMk id="20" creationId="{8A5E579A-7D44-0A7C-58BD-5B6F159E42F0}"/>
          </ac:picMkLst>
        </pc:picChg>
        <pc:picChg chg="mod">
          <ac:chgData name="Andreas Koksrud" userId="9d9beba6-c052-407a-8599-c781a677a996" providerId="ADAL" clId="{8658473B-F8B0-412E-ABD9-785EC206476C}" dt="2024-08-23T07:16:01.230" v="9440" actId="1076"/>
          <ac:picMkLst>
            <pc:docMk/>
            <pc:sldMk cId="1973431329" sldId="1006"/>
            <ac:picMk id="24" creationId="{6FE53B6D-961A-2176-C25C-3CDF0070DE87}"/>
          </ac:picMkLst>
        </pc:picChg>
      </pc:sldChg>
      <pc:sldChg chg="addSp modSp mod">
        <pc:chgData name="Andreas Koksrud" userId="9d9beba6-c052-407a-8599-c781a677a996" providerId="ADAL" clId="{8658473B-F8B0-412E-ABD9-785EC206476C}" dt="2024-08-23T07:25:59.740" v="9836" actId="20577"/>
        <pc:sldMkLst>
          <pc:docMk/>
          <pc:sldMk cId="393510099" sldId="1007"/>
        </pc:sldMkLst>
        <pc:spChg chg="add mod">
          <ac:chgData name="Andreas Koksrud" userId="9d9beba6-c052-407a-8599-c781a677a996" providerId="ADAL" clId="{8658473B-F8B0-412E-ABD9-785EC206476C}" dt="2024-08-23T07:22:14.650" v="9710" actId="14100"/>
          <ac:spMkLst>
            <pc:docMk/>
            <pc:sldMk cId="393510099" sldId="1007"/>
            <ac:spMk id="2" creationId="{2B83DADA-15F3-5234-8E88-49597CC00B96}"/>
          </ac:spMkLst>
        </pc:spChg>
        <pc:spChg chg="mod">
          <ac:chgData name="Andreas Koksrud" userId="9d9beba6-c052-407a-8599-c781a677a996" providerId="ADAL" clId="{8658473B-F8B0-412E-ABD9-785EC206476C}" dt="2024-08-23T05:43:38.080" v="6575"/>
          <ac:spMkLst>
            <pc:docMk/>
            <pc:sldMk cId="393510099" sldId="1007"/>
            <ac:spMk id="4" creationId="{06D484B0-8A03-2AA5-1C90-502CFFA0A0A7}"/>
          </ac:spMkLst>
        </pc:spChg>
        <pc:spChg chg="mod">
          <ac:chgData name="Andreas Koksrud" userId="9d9beba6-c052-407a-8599-c781a677a996" providerId="ADAL" clId="{8658473B-F8B0-412E-ABD9-785EC206476C}" dt="2024-08-23T07:25:59.740" v="9836" actId="20577"/>
          <ac:spMkLst>
            <pc:docMk/>
            <pc:sldMk cId="393510099" sldId="1007"/>
            <ac:spMk id="6" creationId="{0D4648DA-4B5B-6E10-A6B4-1C4D081CE994}"/>
          </ac:spMkLst>
        </pc:spChg>
        <pc:picChg chg="mod">
          <ac:chgData name="Andreas Koksrud" userId="9d9beba6-c052-407a-8599-c781a677a996" providerId="ADAL" clId="{8658473B-F8B0-412E-ABD9-785EC206476C}" dt="2024-08-23T07:21:41.094" v="9705" actId="1035"/>
          <ac:picMkLst>
            <pc:docMk/>
            <pc:sldMk cId="393510099" sldId="1007"/>
            <ac:picMk id="18" creationId="{A356CE13-1D38-7645-880F-A5DCBC74F3D1}"/>
          </ac:picMkLst>
        </pc:picChg>
        <pc:picChg chg="mod">
          <ac:chgData name="Andreas Koksrud" userId="9d9beba6-c052-407a-8599-c781a677a996" providerId="ADAL" clId="{8658473B-F8B0-412E-ABD9-785EC206476C}" dt="2024-08-23T07:21:41.094" v="9705" actId="1035"/>
          <ac:picMkLst>
            <pc:docMk/>
            <pc:sldMk cId="393510099" sldId="1007"/>
            <ac:picMk id="20" creationId="{69901157-AF83-E86B-B56A-DEF711529082}"/>
          </ac:picMkLst>
        </pc:picChg>
        <pc:picChg chg="mod">
          <ac:chgData name="Andreas Koksrud" userId="9d9beba6-c052-407a-8599-c781a677a996" providerId="ADAL" clId="{8658473B-F8B0-412E-ABD9-785EC206476C}" dt="2024-08-23T07:21:41.094" v="9705" actId="1035"/>
          <ac:picMkLst>
            <pc:docMk/>
            <pc:sldMk cId="393510099" sldId="1007"/>
            <ac:picMk id="22" creationId="{149DD14F-5045-F81E-96FA-0A9B4B309FF8}"/>
          </ac:picMkLst>
        </pc:picChg>
        <pc:picChg chg="mod">
          <ac:chgData name="Andreas Koksrud" userId="9d9beba6-c052-407a-8599-c781a677a996" providerId="ADAL" clId="{8658473B-F8B0-412E-ABD9-785EC206476C}" dt="2024-08-23T07:21:28.211" v="9668" actId="1036"/>
          <ac:picMkLst>
            <pc:docMk/>
            <pc:sldMk cId="393510099" sldId="1007"/>
            <ac:picMk id="32" creationId="{F8DA2683-BDFE-F449-57CB-F72B8877350B}"/>
          </ac:picMkLst>
        </pc:picChg>
        <pc:picChg chg="mod modCrop">
          <ac:chgData name="Andreas Koksrud" userId="9d9beba6-c052-407a-8599-c781a677a996" providerId="ADAL" clId="{8658473B-F8B0-412E-ABD9-785EC206476C}" dt="2024-08-23T07:21:19.514" v="9648" actId="1036"/>
          <ac:picMkLst>
            <pc:docMk/>
            <pc:sldMk cId="393510099" sldId="1007"/>
            <ac:picMk id="34" creationId="{E734843C-18F0-BB37-5A4F-3FEF0381F50C}"/>
          </ac:picMkLst>
        </pc:picChg>
        <pc:cxnChg chg="mod">
          <ac:chgData name="Andreas Koksrud" userId="9d9beba6-c052-407a-8599-c781a677a996" providerId="ADAL" clId="{8658473B-F8B0-412E-ABD9-785EC206476C}" dt="2024-08-23T07:21:41.094" v="9705" actId="1035"/>
          <ac:cxnSpMkLst>
            <pc:docMk/>
            <pc:sldMk cId="393510099" sldId="1007"/>
            <ac:cxnSpMk id="23" creationId="{E688358A-2472-8643-1ECF-1FAB3B17AEA4}"/>
          </ac:cxnSpMkLst>
        </pc:cxnChg>
        <pc:cxnChg chg="mod">
          <ac:chgData name="Andreas Koksrud" userId="9d9beba6-c052-407a-8599-c781a677a996" providerId="ADAL" clId="{8658473B-F8B0-412E-ABD9-785EC206476C}" dt="2024-08-23T07:21:41.094" v="9705" actId="1035"/>
          <ac:cxnSpMkLst>
            <pc:docMk/>
            <pc:sldMk cId="393510099" sldId="1007"/>
            <ac:cxnSpMk id="26" creationId="{34096284-9148-45DA-E801-137CB0846677}"/>
          </ac:cxnSpMkLst>
        </pc:cxnChg>
        <pc:cxnChg chg="mod">
          <ac:chgData name="Andreas Koksrud" userId="9d9beba6-c052-407a-8599-c781a677a996" providerId="ADAL" clId="{8658473B-F8B0-412E-ABD9-785EC206476C}" dt="2024-08-23T07:21:41.094" v="9705" actId="1035"/>
          <ac:cxnSpMkLst>
            <pc:docMk/>
            <pc:sldMk cId="393510099" sldId="1007"/>
            <ac:cxnSpMk id="29" creationId="{39D92218-74E7-6BA5-D3CE-E67955A4490A}"/>
          </ac:cxnSpMkLst>
        </pc:cxnChg>
      </pc:sldChg>
      <pc:sldChg chg="modSp">
        <pc:chgData name="Andreas Koksrud" userId="9d9beba6-c052-407a-8599-c781a677a996" providerId="ADAL" clId="{8658473B-F8B0-412E-ABD9-785EC206476C}" dt="2024-08-23T05:43:38.080" v="6575"/>
        <pc:sldMkLst>
          <pc:docMk/>
          <pc:sldMk cId="204293732" sldId="1009"/>
        </pc:sldMkLst>
        <pc:spChg chg="mod">
          <ac:chgData name="Andreas Koksrud" userId="9d9beba6-c052-407a-8599-c781a677a996" providerId="ADAL" clId="{8658473B-F8B0-412E-ABD9-785EC206476C}" dt="2024-08-23T05:43:38.080" v="6575"/>
          <ac:spMkLst>
            <pc:docMk/>
            <pc:sldMk cId="204293732" sldId="1009"/>
            <ac:spMk id="4" creationId="{06D484B0-8A03-2AA5-1C90-502CFFA0A0A7}"/>
          </ac:spMkLst>
        </pc:spChg>
      </pc:sldChg>
      <pc:sldChg chg="addSp delSp modSp mod">
        <pc:chgData name="Andreas Koksrud" userId="9d9beba6-c052-407a-8599-c781a677a996" providerId="ADAL" clId="{8658473B-F8B0-412E-ABD9-785EC206476C}" dt="2024-08-23T07:26:44.781" v="9844"/>
        <pc:sldMkLst>
          <pc:docMk/>
          <pc:sldMk cId="1721478970" sldId="1010"/>
        </pc:sldMkLst>
        <pc:spChg chg="mod">
          <ac:chgData name="Andreas Koksrud" userId="9d9beba6-c052-407a-8599-c781a677a996" providerId="ADAL" clId="{8658473B-F8B0-412E-ABD9-785EC206476C}" dt="2024-08-23T05:43:38.080" v="6575"/>
          <ac:spMkLst>
            <pc:docMk/>
            <pc:sldMk cId="1721478970" sldId="1010"/>
            <ac:spMk id="4" creationId="{06D484B0-8A03-2AA5-1C90-502CFFA0A0A7}"/>
          </ac:spMkLst>
        </pc:spChg>
        <pc:spChg chg="mod">
          <ac:chgData name="Andreas Koksrud" userId="9d9beba6-c052-407a-8599-c781a677a996" providerId="ADAL" clId="{8658473B-F8B0-412E-ABD9-785EC206476C}" dt="2024-08-23T07:26:07.104" v="9838"/>
          <ac:spMkLst>
            <pc:docMk/>
            <pc:sldMk cId="1721478970" sldId="1010"/>
            <ac:spMk id="6" creationId="{0D4648DA-4B5B-6E10-A6B4-1C4D081CE994}"/>
          </ac:spMkLst>
        </pc:spChg>
        <pc:spChg chg="add mod">
          <ac:chgData name="Andreas Koksrud" userId="9d9beba6-c052-407a-8599-c781a677a996" providerId="ADAL" clId="{8658473B-F8B0-412E-ABD9-785EC206476C}" dt="2024-08-23T07:26:44.781" v="9844"/>
          <ac:spMkLst>
            <pc:docMk/>
            <pc:sldMk cId="1721478970" sldId="1010"/>
            <ac:spMk id="7" creationId="{08779A14-B513-76C3-05B0-4E0AAAF6B644}"/>
          </ac:spMkLst>
        </pc:spChg>
        <pc:spChg chg="mod">
          <ac:chgData name="Andreas Koksrud" userId="9d9beba6-c052-407a-8599-c781a677a996" providerId="ADAL" clId="{8658473B-F8B0-412E-ABD9-785EC206476C}" dt="2024-08-23T07:24:48.442" v="9814" actId="1035"/>
          <ac:spMkLst>
            <pc:docMk/>
            <pc:sldMk cId="1721478970" sldId="1010"/>
            <ac:spMk id="24" creationId="{54106520-7F2D-C319-1F88-9EA7642B935A}"/>
          </ac:spMkLst>
        </pc:spChg>
        <pc:spChg chg="mod">
          <ac:chgData name="Andreas Koksrud" userId="9d9beba6-c052-407a-8599-c781a677a996" providerId="ADAL" clId="{8658473B-F8B0-412E-ABD9-785EC206476C}" dt="2024-08-23T07:24:48.442" v="9814" actId="1035"/>
          <ac:spMkLst>
            <pc:docMk/>
            <pc:sldMk cId="1721478970" sldId="1010"/>
            <ac:spMk id="25" creationId="{64682E0C-7F56-1050-7FC1-CE0C576E093D}"/>
          </ac:spMkLst>
        </pc:spChg>
        <pc:spChg chg="mod">
          <ac:chgData name="Andreas Koksrud" userId="9d9beba6-c052-407a-8599-c781a677a996" providerId="ADAL" clId="{8658473B-F8B0-412E-ABD9-785EC206476C}" dt="2024-08-23T07:24:48.442" v="9814" actId="1035"/>
          <ac:spMkLst>
            <pc:docMk/>
            <pc:sldMk cId="1721478970" sldId="1010"/>
            <ac:spMk id="27" creationId="{A102DBCC-132A-48BD-5804-1EF6F75E96E2}"/>
          </ac:spMkLst>
        </pc:spChg>
        <pc:spChg chg="mod">
          <ac:chgData name="Andreas Koksrud" userId="9d9beba6-c052-407a-8599-c781a677a996" providerId="ADAL" clId="{8658473B-F8B0-412E-ABD9-785EC206476C}" dt="2024-08-23T07:24:55.975" v="9815" actId="14100"/>
          <ac:spMkLst>
            <pc:docMk/>
            <pc:sldMk cId="1721478970" sldId="1010"/>
            <ac:spMk id="28" creationId="{3F8B869B-8A47-76AC-CE67-9FFEB127D972}"/>
          </ac:spMkLst>
        </pc:spChg>
        <pc:spChg chg="mod">
          <ac:chgData name="Andreas Koksrud" userId="9d9beba6-c052-407a-8599-c781a677a996" providerId="ADAL" clId="{8658473B-F8B0-412E-ABD9-785EC206476C}" dt="2024-08-23T07:25:03.696" v="9819" actId="14100"/>
          <ac:spMkLst>
            <pc:docMk/>
            <pc:sldMk cId="1721478970" sldId="1010"/>
            <ac:spMk id="33" creationId="{57157685-BEA4-F630-D38E-D16BBD7E9ED5}"/>
          </ac:spMkLst>
        </pc:spChg>
        <pc:spChg chg="mod">
          <ac:chgData name="Andreas Koksrud" userId="9d9beba6-c052-407a-8599-c781a677a996" providerId="ADAL" clId="{8658473B-F8B0-412E-ABD9-785EC206476C}" dt="2024-08-23T07:24:48.442" v="9814" actId="1035"/>
          <ac:spMkLst>
            <pc:docMk/>
            <pc:sldMk cId="1721478970" sldId="1010"/>
            <ac:spMk id="35" creationId="{E33A3144-AB76-D665-5D7F-A55982D79C24}"/>
          </ac:spMkLst>
        </pc:spChg>
        <pc:picChg chg="add mod ord modCrop">
          <ac:chgData name="Andreas Koksrud" userId="9d9beba6-c052-407a-8599-c781a677a996" providerId="ADAL" clId="{8658473B-F8B0-412E-ABD9-785EC206476C}" dt="2024-08-23T07:26:13.426" v="9839" actId="732"/>
          <ac:picMkLst>
            <pc:docMk/>
            <pc:sldMk cId="1721478970" sldId="1010"/>
            <ac:picMk id="5" creationId="{D712A047-6D55-93B2-8073-B289E19D75BD}"/>
          </ac:picMkLst>
        </pc:picChg>
        <pc:picChg chg="del">
          <ac:chgData name="Andreas Koksrud" userId="9d9beba6-c052-407a-8599-c781a677a996" providerId="ADAL" clId="{8658473B-F8B0-412E-ABD9-785EC206476C}" dt="2024-08-23T07:24:22.436" v="9776" actId="21"/>
          <ac:picMkLst>
            <pc:docMk/>
            <pc:sldMk cId="1721478970" sldId="1010"/>
            <ac:picMk id="12" creationId="{D712A047-6D55-93B2-8073-B289E19D75BD}"/>
          </ac:picMkLst>
        </pc:picChg>
      </pc:sldChg>
      <pc:sldChg chg="modSp ord">
        <pc:chgData name="Andreas Koksrud" userId="9d9beba6-c052-407a-8599-c781a677a996" providerId="ADAL" clId="{8658473B-F8B0-412E-ABD9-785EC206476C}" dt="2024-08-23T05:40:56.340" v="6569"/>
        <pc:sldMkLst>
          <pc:docMk/>
          <pc:sldMk cId="653559357" sldId="1011"/>
        </pc:sldMkLst>
        <pc:spChg chg="mod">
          <ac:chgData name="Andreas Koksrud" userId="9d9beba6-c052-407a-8599-c781a677a996" providerId="ADAL" clId="{8658473B-F8B0-412E-ABD9-785EC206476C}" dt="2024-08-23T05:40:56.340" v="6569"/>
          <ac:spMkLst>
            <pc:docMk/>
            <pc:sldMk cId="653559357" sldId="1011"/>
            <ac:spMk id="3" creationId="{1E25DF2D-D2A1-6026-2A45-5B48A09582E5}"/>
          </ac:spMkLst>
        </pc:spChg>
      </pc:sldChg>
      <pc:sldChg chg="addSp delSp modSp new mod ord">
        <pc:chgData name="Andreas Koksrud" userId="9d9beba6-c052-407a-8599-c781a677a996" providerId="ADAL" clId="{8658473B-F8B0-412E-ABD9-785EC206476C}" dt="2024-08-23T05:51:02.369" v="6684"/>
        <pc:sldMkLst>
          <pc:docMk/>
          <pc:sldMk cId="537530966" sldId="1012"/>
        </pc:sldMkLst>
        <pc:spChg chg="mod">
          <ac:chgData name="Andreas Koksrud" userId="9d9beba6-c052-407a-8599-c781a677a996" providerId="ADAL" clId="{8658473B-F8B0-412E-ABD9-785EC206476C}" dt="2024-08-23T05:51:02.369" v="6684"/>
          <ac:spMkLst>
            <pc:docMk/>
            <pc:sldMk cId="537530966" sldId="1012"/>
            <ac:spMk id="2" creationId="{4BEF3682-0D11-7084-6264-561B7673FB2C}"/>
          </ac:spMkLst>
        </pc:spChg>
        <pc:spChg chg="mod">
          <ac:chgData name="Andreas Koksrud" userId="9d9beba6-c052-407a-8599-c781a677a996" providerId="ADAL" clId="{8658473B-F8B0-412E-ABD9-785EC206476C}" dt="2024-08-11T14:07:44.251" v="88" actId="20577"/>
          <ac:spMkLst>
            <pc:docMk/>
            <pc:sldMk cId="537530966" sldId="1012"/>
            <ac:spMk id="4" creationId="{9F68312D-E12C-2B5C-542E-8E059F2E7D58}"/>
          </ac:spMkLst>
        </pc:spChg>
        <pc:spChg chg="del">
          <ac:chgData name="Andreas Koksrud" userId="9d9beba6-c052-407a-8599-c781a677a996" providerId="ADAL" clId="{8658473B-F8B0-412E-ABD9-785EC206476C}" dt="2024-08-11T14:07:58.522" v="108" actId="478"/>
          <ac:spMkLst>
            <pc:docMk/>
            <pc:sldMk cId="537530966" sldId="1012"/>
            <ac:spMk id="5" creationId="{96C50221-29EF-CD17-4BC2-64DAB8802CD8}"/>
          </ac:spMkLst>
        </pc:spChg>
        <pc:spChg chg="add mod">
          <ac:chgData name="Andreas Koksrud" userId="9d9beba6-c052-407a-8599-c781a677a996" providerId="ADAL" clId="{8658473B-F8B0-412E-ABD9-785EC206476C}" dt="2024-08-11T14:07:22.262" v="23"/>
          <ac:spMkLst>
            <pc:docMk/>
            <pc:sldMk cId="537530966" sldId="1012"/>
            <ac:spMk id="6" creationId="{3F672B9A-E116-DD21-B7B8-5DAADE8F1798}"/>
          </ac:spMkLst>
        </pc:spChg>
        <pc:spChg chg="add mod">
          <ac:chgData name="Andreas Koksrud" userId="9d9beba6-c052-407a-8599-c781a677a996" providerId="ADAL" clId="{8658473B-F8B0-412E-ABD9-785EC206476C}" dt="2024-08-11T14:07:50.026" v="106" actId="20577"/>
          <ac:spMkLst>
            <pc:docMk/>
            <pc:sldMk cId="537530966" sldId="1012"/>
            <ac:spMk id="7" creationId="{6B3307C6-C2DC-633D-4E9B-1391F30C6AFE}"/>
          </ac:spMkLst>
        </pc:spChg>
      </pc:sldChg>
      <pc:sldChg chg="addSp delSp modSp add mod ord">
        <pc:chgData name="Andreas Koksrud" userId="9d9beba6-c052-407a-8599-c781a677a996" providerId="ADAL" clId="{8658473B-F8B0-412E-ABD9-785EC206476C}" dt="2024-08-23T07:47:42.237" v="11469" actId="20577"/>
        <pc:sldMkLst>
          <pc:docMk/>
          <pc:sldMk cId="2231583209" sldId="1013"/>
        </pc:sldMkLst>
        <pc:spChg chg="add del mod">
          <ac:chgData name="Andreas Koksrud" userId="9d9beba6-c052-407a-8599-c781a677a996" providerId="ADAL" clId="{8658473B-F8B0-412E-ABD9-785EC206476C}" dt="2024-08-16T04:55:16.477" v="718" actId="478"/>
          <ac:spMkLst>
            <pc:docMk/>
            <pc:sldMk cId="2231583209" sldId="1013"/>
            <ac:spMk id="5" creationId="{B2441F74-7F74-3F1D-84FC-EFFB9D163876}"/>
          </ac:spMkLst>
        </pc:spChg>
        <pc:spChg chg="mod">
          <ac:chgData name="Andreas Koksrud" userId="9d9beba6-c052-407a-8599-c781a677a996" providerId="ADAL" clId="{8658473B-F8B0-412E-ABD9-785EC206476C}" dt="2024-08-23T05:41:16.879" v="6570"/>
          <ac:spMkLst>
            <pc:docMk/>
            <pc:sldMk cId="2231583209" sldId="1013"/>
            <ac:spMk id="8" creationId="{2DEEE9B2-D543-DD70-2451-4C6596D07989}"/>
          </ac:spMkLst>
        </pc:spChg>
        <pc:spChg chg="add mod">
          <ac:chgData name="Andreas Koksrud" userId="9d9beba6-c052-407a-8599-c781a677a996" providerId="ADAL" clId="{8658473B-F8B0-412E-ABD9-785EC206476C}" dt="2024-08-23T07:47:42.237" v="11469" actId="20577"/>
          <ac:spMkLst>
            <pc:docMk/>
            <pc:sldMk cId="2231583209" sldId="1013"/>
            <ac:spMk id="19" creationId="{EEE8D708-7E98-C7AD-73CF-9576FD140224}"/>
          </ac:spMkLst>
        </pc:spChg>
        <pc:picChg chg="del mod">
          <ac:chgData name="Andreas Koksrud" userId="9d9beba6-c052-407a-8599-c781a677a996" providerId="ADAL" clId="{8658473B-F8B0-412E-ABD9-785EC206476C}" dt="2024-08-16T04:47:52.420" v="705" actId="478"/>
          <ac:picMkLst>
            <pc:docMk/>
            <pc:sldMk cId="2231583209" sldId="1013"/>
            <ac:picMk id="7" creationId="{BCAD6897-386A-5BD6-AABB-CE34F342BBB7}"/>
          </ac:picMkLst>
        </pc:picChg>
        <pc:picChg chg="del">
          <ac:chgData name="Andreas Koksrud" userId="9d9beba6-c052-407a-8599-c781a677a996" providerId="ADAL" clId="{8658473B-F8B0-412E-ABD9-785EC206476C}" dt="2024-08-16T04:47:49.437" v="703" actId="478"/>
          <ac:picMkLst>
            <pc:docMk/>
            <pc:sldMk cId="2231583209" sldId="1013"/>
            <ac:picMk id="10" creationId="{58879FEC-2172-0E32-F467-93CE73CE793A}"/>
          </ac:picMkLst>
        </pc:picChg>
        <pc:cxnChg chg="add mod">
          <ac:chgData name="Andreas Koksrud" userId="9d9beba6-c052-407a-8599-c781a677a996" providerId="ADAL" clId="{8658473B-F8B0-412E-ABD9-785EC206476C}" dt="2024-08-16T04:55:33.521" v="723" actId="14100"/>
          <ac:cxnSpMkLst>
            <pc:docMk/>
            <pc:sldMk cId="2231583209" sldId="1013"/>
            <ac:cxnSpMk id="3" creationId="{79B15E13-5064-5BA4-CDA3-29C9B37AEB62}"/>
          </ac:cxnSpMkLst>
        </pc:cxnChg>
        <pc:cxnChg chg="del">
          <ac:chgData name="Andreas Koksrud" userId="9d9beba6-c052-407a-8599-c781a677a996" providerId="ADAL" clId="{8658473B-F8B0-412E-ABD9-785EC206476C}" dt="2024-08-16T04:47:53.775" v="706" actId="478"/>
          <ac:cxnSpMkLst>
            <pc:docMk/>
            <pc:sldMk cId="2231583209" sldId="1013"/>
            <ac:cxnSpMk id="11" creationId="{1289D01B-409D-60E0-C319-E29D9069E7DD}"/>
          </ac:cxnSpMkLst>
        </pc:cxnChg>
      </pc:sldChg>
      <pc:sldChg chg="addSp delSp modSp add mod ord">
        <pc:chgData name="Andreas Koksrud" userId="9d9beba6-c052-407a-8599-c781a677a996" providerId="ADAL" clId="{8658473B-F8B0-412E-ABD9-785EC206476C}" dt="2024-08-23T07:48:16.145" v="11480" actId="6549"/>
        <pc:sldMkLst>
          <pc:docMk/>
          <pc:sldMk cId="3248664015" sldId="1014"/>
        </pc:sldMkLst>
        <pc:spChg chg="mod">
          <ac:chgData name="Andreas Koksrud" userId="9d9beba6-c052-407a-8599-c781a677a996" providerId="ADAL" clId="{8658473B-F8B0-412E-ABD9-785EC206476C}" dt="2024-08-17T18:29:51.600" v="1257" actId="14100"/>
          <ac:spMkLst>
            <pc:docMk/>
            <pc:sldMk cId="3248664015" sldId="1014"/>
            <ac:spMk id="2" creationId="{0C578A6C-5215-9DFE-51D6-8AA7A3E4A34A}"/>
          </ac:spMkLst>
        </pc:spChg>
        <pc:spChg chg="mod">
          <ac:chgData name="Andreas Koksrud" userId="9d9beba6-c052-407a-8599-c781a677a996" providerId="ADAL" clId="{8658473B-F8B0-412E-ABD9-785EC206476C}" dt="2024-08-23T05:41:16.879" v="6570"/>
          <ac:spMkLst>
            <pc:docMk/>
            <pc:sldMk cId="3248664015" sldId="1014"/>
            <ac:spMk id="8" creationId="{2DEEE9B2-D543-DD70-2451-4C6596D07989}"/>
          </ac:spMkLst>
        </pc:spChg>
        <pc:spChg chg="mod">
          <ac:chgData name="Andreas Koksrud" userId="9d9beba6-c052-407a-8599-c781a677a996" providerId="ADAL" clId="{8658473B-F8B0-412E-ABD9-785EC206476C}" dt="2024-08-17T18:38:15.044" v="1675" actId="20577"/>
          <ac:spMkLst>
            <pc:docMk/>
            <pc:sldMk cId="3248664015" sldId="1014"/>
            <ac:spMk id="12" creationId="{D483F744-8316-839B-7992-7B1DD50E29E1}"/>
          </ac:spMkLst>
        </pc:spChg>
        <pc:spChg chg="mod">
          <ac:chgData name="Andreas Koksrud" userId="9d9beba6-c052-407a-8599-c781a677a996" providerId="ADAL" clId="{8658473B-F8B0-412E-ABD9-785EC206476C}" dt="2024-08-17T18:39:23.408" v="1716" actId="20577"/>
          <ac:spMkLst>
            <pc:docMk/>
            <pc:sldMk cId="3248664015" sldId="1014"/>
            <ac:spMk id="19" creationId="{EEE8D708-7E98-C7AD-73CF-9576FD140224}"/>
          </ac:spMkLst>
        </pc:spChg>
        <pc:spChg chg="add mod">
          <ac:chgData name="Andreas Koksrud" userId="9d9beba6-c052-407a-8599-c781a677a996" providerId="ADAL" clId="{8658473B-F8B0-412E-ABD9-785EC206476C}" dt="2024-08-23T07:48:16.145" v="11480" actId="6549"/>
          <ac:spMkLst>
            <pc:docMk/>
            <pc:sldMk cId="3248664015" sldId="1014"/>
            <ac:spMk id="20" creationId="{42C93B38-42EE-9A6B-976C-5A9D0D4E4CE0}"/>
          </ac:spMkLst>
        </pc:spChg>
        <pc:spChg chg="mod">
          <ac:chgData name="Andreas Koksrud" userId="9d9beba6-c052-407a-8599-c781a677a996" providerId="ADAL" clId="{8658473B-F8B0-412E-ABD9-785EC206476C}" dt="2024-08-17T18:29:36.123" v="1199" actId="20577"/>
          <ac:spMkLst>
            <pc:docMk/>
            <pc:sldMk cId="3248664015" sldId="1014"/>
            <ac:spMk id="180" creationId="{00000000-0000-0000-0000-000000000000}"/>
          </ac:spMkLst>
        </pc:spChg>
        <pc:picChg chg="del">
          <ac:chgData name="Andreas Koksrud" userId="9d9beba6-c052-407a-8599-c781a677a996" providerId="ADAL" clId="{8658473B-F8B0-412E-ABD9-785EC206476C}" dt="2024-08-17T18:29:53.004" v="1258" actId="478"/>
          <ac:picMkLst>
            <pc:docMk/>
            <pc:sldMk cId="3248664015" sldId="1014"/>
            <ac:picMk id="6" creationId="{60B7BE4B-C380-F509-39B9-63F66FEDB884}"/>
          </ac:picMkLst>
        </pc:picChg>
        <pc:picChg chg="add mod">
          <ac:chgData name="Andreas Koksrud" userId="9d9beba6-c052-407a-8599-c781a677a996" providerId="ADAL" clId="{8658473B-F8B0-412E-ABD9-785EC206476C}" dt="2024-08-17T18:30:20.939" v="1260" actId="1076"/>
          <ac:picMkLst>
            <pc:docMk/>
            <pc:sldMk cId="3248664015" sldId="1014"/>
            <ac:picMk id="7" creationId="{839FD400-5F8D-ECE1-7808-FB20B5E036DE}"/>
          </ac:picMkLst>
        </pc:picChg>
        <pc:picChg chg="add mod">
          <ac:chgData name="Andreas Koksrud" userId="9d9beba6-c052-407a-8599-c781a677a996" providerId="ADAL" clId="{8658473B-F8B0-412E-ABD9-785EC206476C}" dt="2024-08-17T18:38:20.385" v="1680" actId="1036"/>
          <ac:picMkLst>
            <pc:docMk/>
            <pc:sldMk cId="3248664015" sldId="1014"/>
            <ac:picMk id="18" creationId="{56220A7B-F81E-032C-080D-A045B1F74D79}"/>
          </ac:picMkLst>
        </pc:picChg>
        <pc:picChg chg="add mod">
          <ac:chgData name="Andreas Koksrud" userId="9d9beba6-c052-407a-8599-c781a677a996" providerId="ADAL" clId="{8658473B-F8B0-412E-ABD9-785EC206476C}" dt="2024-08-17T18:34:58.069" v="1418" actId="1076"/>
          <ac:picMkLst>
            <pc:docMk/>
            <pc:sldMk cId="3248664015" sldId="1014"/>
            <ac:picMk id="22" creationId="{9C22695E-E0FE-6D2C-F848-8B5AABC54C92}"/>
          </ac:picMkLst>
        </pc:picChg>
        <pc:picChg chg="add mod">
          <ac:chgData name="Andreas Koksrud" userId="9d9beba6-c052-407a-8599-c781a677a996" providerId="ADAL" clId="{8658473B-F8B0-412E-ABD9-785EC206476C}" dt="2024-08-17T18:39:01.524" v="1687" actId="14100"/>
          <ac:picMkLst>
            <pc:docMk/>
            <pc:sldMk cId="3248664015" sldId="1014"/>
            <ac:picMk id="26" creationId="{456259E3-89B2-DCCD-7381-0B6EC14EBBAF}"/>
          </ac:picMkLst>
        </pc:picChg>
        <pc:cxnChg chg="del">
          <ac:chgData name="Andreas Koksrud" userId="9d9beba6-c052-407a-8599-c781a677a996" providerId="ADAL" clId="{8658473B-F8B0-412E-ABD9-785EC206476C}" dt="2024-08-17T18:30:28.310" v="1262" actId="478"/>
          <ac:cxnSpMkLst>
            <pc:docMk/>
            <pc:sldMk cId="3248664015" sldId="1014"/>
            <ac:cxnSpMk id="3" creationId="{79B15E13-5064-5BA4-CDA3-29C9B37AEB62}"/>
          </ac:cxnSpMkLst>
        </pc:cxnChg>
        <pc:cxnChg chg="add mod">
          <ac:chgData name="Andreas Koksrud" userId="9d9beba6-c052-407a-8599-c781a677a996" providerId="ADAL" clId="{8658473B-F8B0-412E-ABD9-785EC206476C}" dt="2024-08-17T18:35:01.762" v="1419" actId="14100"/>
          <ac:cxnSpMkLst>
            <pc:docMk/>
            <pc:sldMk cId="3248664015" sldId="1014"/>
            <ac:cxnSpMk id="10" creationId="{567EFB32-2430-2DAA-FE9C-89EAA68C3BC3}"/>
          </ac:cxnSpMkLst>
        </pc:cxnChg>
        <pc:cxnChg chg="add mod">
          <ac:chgData name="Andreas Koksrud" userId="9d9beba6-c052-407a-8599-c781a677a996" providerId="ADAL" clId="{8658473B-F8B0-412E-ABD9-785EC206476C}" dt="2024-08-17T18:38:26.820" v="1681" actId="14100"/>
          <ac:cxnSpMkLst>
            <pc:docMk/>
            <pc:sldMk cId="3248664015" sldId="1014"/>
            <ac:cxnSpMk id="11" creationId="{7B8BEB5C-0990-3A50-F47B-8EA0B404FB16}"/>
          </ac:cxnSpMkLst>
        </pc:cxnChg>
      </pc:sldChg>
      <pc:sldChg chg="addSp delSp modSp add mod ord">
        <pc:chgData name="Andreas Koksrud" userId="9d9beba6-c052-407a-8599-c781a677a996" providerId="ADAL" clId="{8658473B-F8B0-412E-ABD9-785EC206476C}" dt="2024-08-25T19:17:30.931" v="13798"/>
        <pc:sldMkLst>
          <pc:docMk/>
          <pc:sldMk cId="2085981708" sldId="1015"/>
        </pc:sldMkLst>
        <pc:spChg chg="add mod">
          <ac:chgData name="Andreas Koksrud" userId="9d9beba6-c052-407a-8599-c781a677a996" providerId="ADAL" clId="{8658473B-F8B0-412E-ABD9-785EC206476C}" dt="2024-08-25T19:17:30.931" v="13798"/>
          <ac:spMkLst>
            <pc:docMk/>
            <pc:sldMk cId="2085981708" sldId="1015"/>
            <ac:spMk id="2" creationId="{7B30180C-1AF7-3423-09FF-F63A1E2874D5}"/>
          </ac:spMkLst>
        </pc:spChg>
        <pc:spChg chg="mod">
          <ac:chgData name="Andreas Koksrud" userId="9d9beba6-c052-407a-8599-c781a677a996" providerId="ADAL" clId="{8658473B-F8B0-412E-ABD9-785EC206476C}" dt="2024-08-23T05:41:49.370" v="6571"/>
          <ac:spMkLst>
            <pc:docMk/>
            <pc:sldMk cId="2085981708" sldId="1015"/>
            <ac:spMk id="4" creationId="{BDF04420-95D5-A2F1-5C85-4410F0AD48ED}"/>
          </ac:spMkLst>
        </pc:spChg>
        <pc:spChg chg="mod">
          <ac:chgData name="Andreas Koksrud" userId="9d9beba6-c052-407a-8599-c781a677a996" providerId="ADAL" clId="{8658473B-F8B0-412E-ABD9-785EC206476C}" dt="2024-08-18T15:35:23.001" v="2726" actId="20577"/>
          <ac:spMkLst>
            <pc:docMk/>
            <pc:sldMk cId="2085981708" sldId="1015"/>
            <ac:spMk id="180" creationId="{00000000-0000-0000-0000-000000000000}"/>
          </ac:spMkLst>
        </pc:spChg>
        <pc:picChg chg="del">
          <ac:chgData name="Andreas Koksrud" userId="9d9beba6-c052-407a-8599-c781a677a996" providerId="ADAL" clId="{8658473B-F8B0-412E-ABD9-785EC206476C}" dt="2024-08-25T19:09:07.853" v="13428" actId="478"/>
          <ac:picMkLst>
            <pc:docMk/>
            <pc:sldMk cId="2085981708" sldId="1015"/>
            <ac:picMk id="5" creationId="{E199C1B2-6F03-1E48-D30D-B207A0BD0D27}"/>
          </ac:picMkLst>
        </pc:picChg>
      </pc:sldChg>
      <pc:sldChg chg="addSp delSp modSp add mod ord">
        <pc:chgData name="Andreas Koksrud" userId="9d9beba6-c052-407a-8599-c781a677a996" providerId="ADAL" clId="{8658473B-F8B0-412E-ABD9-785EC206476C}" dt="2024-08-25T19:13:56.087" v="13651" actId="1076"/>
        <pc:sldMkLst>
          <pc:docMk/>
          <pc:sldMk cId="2368825724" sldId="1016"/>
        </pc:sldMkLst>
        <pc:spChg chg="mod">
          <ac:chgData name="Andreas Koksrud" userId="9d9beba6-c052-407a-8599-c781a677a996" providerId="ADAL" clId="{8658473B-F8B0-412E-ABD9-785EC206476C}" dt="2024-08-23T05:41:49.370" v="6571"/>
          <ac:spMkLst>
            <pc:docMk/>
            <pc:sldMk cId="2368825724" sldId="1016"/>
            <ac:spMk id="4" creationId="{BDF04420-95D5-A2F1-5C85-4410F0AD48ED}"/>
          </ac:spMkLst>
        </pc:spChg>
        <pc:spChg chg="mod">
          <ac:chgData name="Andreas Koksrud" userId="9d9beba6-c052-407a-8599-c781a677a996" providerId="ADAL" clId="{8658473B-F8B0-412E-ABD9-785EC206476C}" dt="2024-08-18T15:56:23.199" v="3487" actId="20577"/>
          <ac:spMkLst>
            <pc:docMk/>
            <pc:sldMk cId="2368825724" sldId="1016"/>
            <ac:spMk id="180" creationId="{00000000-0000-0000-0000-000000000000}"/>
          </ac:spMkLst>
        </pc:spChg>
        <pc:spChg chg="mod">
          <ac:chgData name="Andreas Koksrud" userId="9d9beba6-c052-407a-8599-c781a677a996" providerId="ADAL" clId="{8658473B-F8B0-412E-ABD9-785EC206476C}" dt="2024-08-23T07:50:22.971" v="11601" actId="20577"/>
          <ac:spMkLst>
            <pc:docMk/>
            <pc:sldMk cId="2368825724" sldId="1016"/>
            <ac:spMk id="181" creationId="{00000000-0000-0000-0000-000000000000}"/>
          </ac:spMkLst>
        </pc:spChg>
        <pc:picChg chg="add del mod">
          <ac:chgData name="Andreas Koksrud" userId="9d9beba6-c052-407a-8599-c781a677a996" providerId="ADAL" clId="{8658473B-F8B0-412E-ABD9-785EC206476C}" dt="2024-08-25T19:13:51.432" v="13649" actId="478"/>
          <ac:picMkLst>
            <pc:docMk/>
            <pc:sldMk cId="2368825724" sldId="1016"/>
            <ac:picMk id="5" creationId="{F907A79C-79FB-E68B-9CC6-2612E2571DE4}"/>
          </ac:picMkLst>
        </pc:picChg>
        <pc:picChg chg="add mod">
          <ac:chgData name="Andreas Koksrud" userId="9d9beba6-c052-407a-8599-c781a677a996" providerId="ADAL" clId="{8658473B-F8B0-412E-ABD9-785EC206476C}" dt="2024-08-25T19:13:56.087" v="13651" actId="1076"/>
          <ac:picMkLst>
            <pc:docMk/>
            <pc:sldMk cId="2368825724" sldId="1016"/>
            <ac:picMk id="6" creationId="{2A7F917D-57A6-35B3-37E0-87C864FB9827}"/>
          </ac:picMkLst>
        </pc:picChg>
      </pc:sldChg>
      <pc:sldChg chg="addSp delSp modSp add mod ord">
        <pc:chgData name="Andreas Koksrud" userId="9d9beba6-c052-407a-8599-c781a677a996" providerId="ADAL" clId="{8658473B-F8B0-412E-ABD9-785EC206476C}" dt="2024-08-25T19:22:29.112" v="13980" actId="478"/>
        <pc:sldMkLst>
          <pc:docMk/>
          <pc:sldMk cId="4267861102" sldId="1017"/>
        </pc:sldMkLst>
        <pc:spChg chg="mod">
          <ac:chgData name="Andreas Koksrud" userId="9d9beba6-c052-407a-8599-c781a677a996" providerId="ADAL" clId="{8658473B-F8B0-412E-ABD9-785EC206476C}" dt="2024-08-23T05:41:49.370" v="6571"/>
          <ac:spMkLst>
            <pc:docMk/>
            <pc:sldMk cId="4267861102" sldId="1017"/>
            <ac:spMk id="4" creationId="{BDF04420-95D5-A2F1-5C85-4410F0AD48ED}"/>
          </ac:spMkLst>
        </pc:spChg>
        <pc:spChg chg="add mod">
          <ac:chgData name="Andreas Koksrud" userId="9d9beba6-c052-407a-8599-c781a677a996" providerId="ADAL" clId="{8658473B-F8B0-412E-ABD9-785EC206476C}" dt="2024-08-25T19:21:48.795" v="13966"/>
          <ac:spMkLst>
            <pc:docMk/>
            <pc:sldMk cId="4267861102" sldId="1017"/>
            <ac:spMk id="8" creationId="{4D3D1687-1D2E-1A8A-3ED6-9302F8EB7F70}"/>
          </ac:spMkLst>
        </pc:spChg>
        <pc:spChg chg="mod">
          <ac:chgData name="Andreas Koksrud" userId="9d9beba6-c052-407a-8599-c781a677a996" providerId="ADAL" clId="{8658473B-F8B0-412E-ABD9-785EC206476C}" dt="2024-08-18T16:24:42.688" v="4991" actId="20577"/>
          <ac:spMkLst>
            <pc:docMk/>
            <pc:sldMk cId="4267861102" sldId="1017"/>
            <ac:spMk id="180" creationId="{00000000-0000-0000-0000-000000000000}"/>
          </ac:spMkLst>
        </pc:spChg>
        <pc:spChg chg="mod">
          <ac:chgData name="Andreas Koksrud" userId="9d9beba6-c052-407a-8599-c781a677a996" providerId="ADAL" clId="{8658473B-F8B0-412E-ABD9-785EC206476C}" dt="2024-08-25T19:22:16.744" v="13978" actId="27636"/>
          <ac:spMkLst>
            <pc:docMk/>
            <pc:sldMk cId="4267861102" sldId="1017"/>
            <ac:spMk id="181" creationId="{00000000-0000-0000-0000-000000000000}"/>
          </ac:spMkLst>
        </pc:spChg>
        <pc:picChg chg="add del mod">
          <ac:chgData name="Andreas Koksrud" userId="9d9beba6-c052-407a-8599-c781a677a996" providerId="ADAL" clId="{8658473B-F8B0-412E-ABD9-785EC206476C}" dt="2024-08-25T19:22:29.112" v="13980" actId="478"/>
          <ac:picMkLst>
            <pc:docMk/>
            <pc:sldMk cId="4267861102" sldId="1017"/>
            <ac:picMk id="5" creationId="{34376AE9-5A5B-BCD9-FBF8-832CC3179311}"/>
          </ac:picMkLst>
        </pc:picChg>
        <pc:picChg chg="add del">
          <ac:chgData name="Andreas Koksrud" userId="9d9beba6-c052-407a-8599-c781a677a996" providerId="ADAL" clId="{8658473B-F8B0-412E-ABD9-785EC206476C}" dt="2024-08-25T19:16:26.496" v="13757" actId="22"/>
          <ac:picMkLst>
            <pc:docMk/>
            <pc:sldMk cId="4267861102" sldId="1017"/>
            <ac:picMk id="6" creationId="{A66ABDAD-1D40-2CE5-3054-B359A13B0867}"/>
          </ac:picMkLst>
        </pc:picChg>
        <pc:picChg chg="add mod modCrop">
          <ac:chgData name="Andreas Koksrud" userId="9d9beba6-c052-407a-8599-c781a677a996" providerId="ADAL" clId="{8658473B-F8B0-412E-ABD9-785EC206476C}" dt="2024-08-25T19:22:22.007" v="13979" actId="1076"/>
          <ac:picMkLst>
            <pc:docMk/>
            <pc:sldMk cId="4267861102" sldId="1017"/>
            <ac:picMk id="7" creationId="{7035C18F-E370-41B6-CAD9-1C5CC6A41000}"/>
          </ac:picMkLst>
        </pc:picChg>
      </pc:sldChg>
      <pc:sldChg chg="addSp delSp modSp add mod ord">
        <pc:chgData name="Andreas Koksrud" userId="9d9beba6-c052-407a-8599-c781a677a996" providerId="ADAL" clId="{8658473B-F8B0-412E-ABD9-785EC206476C}" dt="2024-08-25T19:15:35.878" v="13755" actId="27636"/>
        <pc:sldMkLst>
          <pc:docMk/>
          <pc:sldMk cId="2805957301" sldId="1018"/>
        </pc:sldMkLst>
        <pc:spChg chg="mod">
          <ac:chgData name="Andreas Koksrud" userId="9d9beba6-c052-407a-8599-c781a677a996" providerId="ADAL" clId="{8658473B-F8B0-412E-ABD9-785EC206476C}" dt="2024-08-23T05:41:49.370" v="6571"/>
          <ac:spMkLst>
            <pc:docMk/>
            <pc:sldMk cId="2805957301" sldId="1018"/>
            <ac:spMk id="4" creationId="{BDF04420-95D5-A2F1-5C85-4410F0AD48ED}"/>
          </ac:spMkLst>
        </pc:spChg>
        <pc:spChg chg="mod">
          <ac:chgData name="Andreas Koksrud" userId="9d9beba6-c052-407a-8599-c781a677a996" providerId="ADAL" clId="{8658473B-F8B0-412E-ABD9-785EC206476C}" dt="2024-08-18T15:56:33.601" v="3514" actId="20577"/>
          <ac:spMkLst>
            <pc:docMk/>
            <pc:sldMk cId="2805957301" sldId="1018"/>
            <ac:spMk id="180" creationId="{00000000-0000-0000-0000-000000000000}"/>
          </ac:spMkLst>
        </pc:spChg>
        <pc:spChg chg="mod">
          <ac:chgData name="Andreas Koksrud" userId="9d9beba6-c052-407a-8599-c781a677a996" providerId="ADAL" clId="{8658473B-F8B0-412E-ABD9-785EC206476C}" dt="2024-08-25T19:15:35.878" v="13755" actId="27636"/>
          <ac:spMkLst>
            <pc:docMk/>
            <pc:sldMk cId="2805957301" sldId="1018"/>
            <ac:spMk id="181" creationId="{00000000-0000-0000-0000-000000000000}"/>
          </ac:spMkLst>
        </pc:spChg>
        <pc:picChg chg="add mod modCrop">
          <ac:chgData name="Andreas Koksrud" userId="9d9beba6-c052-407a-8599-c781a677a996" providerId="ADAL" clId="{8658473B-F8B0-412E-ABD9-785EC206476C}" dt="2024-08-18T16:23:01.431" v="4926" actId="1035"/>
          <ac:picMkLst>
            <pc:docMk/>
            <pc:sldMk cId="2805957301" sldId="1018"/>
            <ac:picMk id="5" creationId="{205BFC6E-EBCC-D7E6-CD7C-B259A3759048}"/>
          </ac:picMkLst>
        </pc:picChg>
        <pc:picChg chg="add del mod">
          <ac:chgData name="Andreas Koksrud" userId="9d9beba6-c052-407a-8599-c781a677a996" providerId="ADAL" clId="{8658473B-F8B0-412E-ABD9-785EC206476C}" dt="2024-08-18T16:13:48.145" v="4344" actId="478"/>
          <ac:picMkLst>
            <pc:docMk/>
            <pc:sldMk cId="2805957301" sldId="1018"/>
            <ac:picMk id="7" creationId="{6210FECA-D79E-24DB-EB48-A2A634AF051A}"/>
          </ac:picMkLst>
        </pc:picChg>
        <pc:picChg chg="add mod">
          <ac:chgData name="Andreas Koksrud" userId="9d9beba6-c052-407a-8599-c781a677a996" providerId="ADAL" clId="{8658473B-F8B0-412E-ABD9-785EC206476C}" dt="2024-08-18T16:13:50.801" v="4346" actId="1076"/>
          <ac:picMkLst>
            <pc:docMk/>
            <pc:sldMk cId="2805957301" sldId="1018"/>
            <ac:picMk id="9" creationId="{3E49B3E7-828B-2B11-A347-F5CEF8245CBC}"/>
          </ac:picMkLst>
        </pc:picChg>
      </pc:sldChg>
      <pc:sldChg chg="addSp delSp modSp add mod ord">
        <pc:chgData name="Andreas Koksrud" userId="9d9beba6-c052-407a-8599-c781a677a996" providerId="ADAL" clId="{8658473B-F8B0-412E-ABD9-785EC206476C}" dt="2024-08-25T19:42:59.948" v="14501" actId="6549"/>
        <pc:sldMkLst>
          <pc:docMk/>
          <pc:sldMk cId="3106651703" sldId="1019"/>
        </pc:sldMkLst>
        <pc:spChg chg="mod">
          <ac:chgData name="Andreas Koksrud" userId="9d9beba6-c052-407a-8599-c781a677a996" providerId="ADAL" clId="{8658473B-F8B0-412E-ABD9-785EC206476C}" dt="2024-08-23T05:41:49.370" v="6571"/>
          <ac:spMkLst>
            <pc:docMk/>
            <pc:sldMk cId="3106651703" sldId="1019"/>
            <ac:spMk id="4" creationId="{BDF04420-95D5-A2F1-5C85-4410F0AD48ED}"/>
          </ac:spMkLst>
        </pc:spChg>
        <pc:spChg chg="add mod">
          <ac:chgData name="Andreas Koksrud" userId="9d9beba6-c052-407a-8599-c781a677a996" providerId="ADAL" clId="{8658473B-F8B0-412E-ABD9-785EC206476C}" dt="2024-08-25T19:39:55.627" v="14430"/>
          <ac:spMkLst>
            <pc:docMk/>
            <pc:sldMk cId="3106651703" sldId="1019"/>
            <ac:spMk id="6" creationId="{C95E52CE-E2A4-FEC3-8010-12CDBA72D593}"/>
          </ac:spMkLst>
        </pc:spChg>
        <pc:spChg chg="add mod">
          <ac:chgData name="Andreas Koksrud" userId="9d9beba6-c052-407a-8599-c781a677a996" providerId="ADAL" clId="{8658473B-F8B0-412E-ABD9-785EC206476C}" dt="2024-08-18T16:31:57.018" v="5416"/>
          <ac:spMkLst>
            <pc:docMk/>
            <pc:sldMk cId="3106651703" sldId="1019"/>
            <ac:spMk id="7" creationId="{B0F2563A-0C76-32AF-73C7-BD6C258EB81A}"/>
          </ac:spMkLst>
        </pc:spChg>
        <pc:spChg chg="mod">
          <ac:chgData name="Andreas Koksrud" userId="9d9beba6-c052-407a-8599-c781a677a996" providerId="ADAL" clId="{8658473B-F8B0-412E-ABD9-785EC206476C}" dt="2024-08-25T19:42:59.948" v="14501" actId="6549"/>
          <ac:spMkLst>
            <pc:docMk/>
            <pc:sldMk cId="3106651703" sldId="1019"/>
            <ac:spMk id="181" creationId="{00000000-0000-0000-0000-000000000000}"/>
          </ac:spMkLst>
        </pc:spChg>
        <pc:picChg chg="add mod ord">
          <ac:chgData name="Andreas Koksrud" userId="9d9beba6-c052-407a-8599-c781a677a996" providerId="ADAL" clId="{8658473B-F8B0-412E-ABD9-785EC206476C}" dt="2024-08-25T19:41:00.107" v="14435" actId="14100"/>
          <ac:picMkLst>
            <pc:docMk/>
            <pc:sldMk cId="3106651703" sldId="1019"/>
            <ac:picMk id="5" creationId="{1E68A490-F38D-C297-CAB1-BDF1B8ACCF68}"/>
          </ac:picMkLst>
        </pc:picChg>
        <pc:picChg chg="add del mod modCrop">
          <ac:chgData name="Andreas Koksrud" userId="9d9beba6-c052-407a-8599-c781a677a996" providerId="ADAL" clId="{8658473B-F8B0-412E-ABD9-785EC206476C}" dt="2024-08-18T17:22:26.054" v="6088" actId="478"/>
          <ac:picMkLst>
            <pc:docMk/>
            <pc:sldMk cId="3106651703" sldId="1019"/>
            <ac:picMk id="5" creationId="{ADAFB924-F092-49CA-E688-B8012698D071}"/>
          </ac:picMkLst>
        </pc:picChg>
        <pc:picChg chg="add del mod">
          <ac:chgData name="Andreas Koksrud" userId="9d9beba6-c052-407a-8599-c781a677a996" providerId="ADAL" clId="{8658473B-F8B0-412E-ABD9-785EC206476C}" dt="2024-08-25T19:40:36.185" v="14431" actId="478"/>
          <ac:picMkLst>
            <pc:docMk/>
            <pc:sldMk cId="3106651703" sldId="1019"/>
            <ac:picMk id="9" creationId="{12290643-5ED7-1681-8AE2-24B0C4FC8AD6}"/>
          </ac:picMkLst>
        </pc:picChg>
        <pc:cxnChg chg="add mod">
          <ac:chgData name="Andreas Koksrud" userId="9d9beba6-c052-407a-8599-c781a677a996" providerId="ADAL" clId="{8658473B-F8B0-412E-ABD9-785EC206476C}" dt="2024-08-25T19:41:04.339" v="14436" actId="14100"/>
          <ac:cxnSpMkLst>
            <pc:docMk/>
            <pc:sldMk cId="3106651703" sldId="1019"/>
            <ac:cxnSpMk id="10" creationId="{FE0795CE-6154-9890-7708-33AA2A3C4C2D}"/>
          </ac:cxnSpMkLst>
        </pc:cxnChg>
        <pc:cxnChg chg="add mod">
          <ac:chgData name="Andreas Koksrud" userId="9d9beba6-c052-407a-8599-c781a677a996" providerId="ADAL" clId="{8658473B-F8B0-412E-ABD9-785EC206476C}" dt="2024-08-25T19:41:27.360" v="14438" actId="14100"/>
          <ac:cxnSpMkLst>
            <pc:docMk/>
            <pc:sldMk cId="3106651703" sldId="1019"/>
            <ac:cxnSpMk id="12" creationId="{534A1936-949B-108B-8E63-694AB9AE8DC4}"/>
          </ac:cxnSpMkLst>
        </pc:cxnChg>
        <pc:cxnChg chg="add mod">
          <ac:chgData name="Andreas Koksrud" userId="9d9beba6-c052-407a-8599-c781a677a996" providerId="ADAL" clId="{8658473B-F8B0-412E-ABD9-785EC206476C}" dt="2024-08-25T19:41:15.010" v="14437" actId="14100"/>
          <ac:cxnSpMkLst>
            <pc:docMk/>
            <pc:sldMk cId="3106651703" sldId="1019"/>
            <ac:cxnSpMk id="18" creationId="{849A8458-B69F-EAF5-24B3-DFC98F22678F}"/>
          </ac:cxnSpMkLst>
        </pc:cxnChg>
        <pc:cxnChg chg="add mod">
          <ac:chgData name="Andreas Koksrud" userId="9d9beba6-c052-407a-8599-c781a677a996" providerId="ADAL" clId="{8658473B-F8B0-412E-ABD9-785EC206476C}" dt="2024-08-25T19:42:40.110" v="14482" actId="14100"/>
          <ac:cxnSpMkLst>
            <pc:docMk/>
            <pc:sldMk cId="3106651703" sldId="1019"/>
            <ac:cxnSpMk id="20" creationId="{3D7F95DB-5769-9C53-5FF0-5C8BB0929CFA}"/>
          </ac:cxnSpMkLst>
        </pc:cxnChg>
        <pc:cxnChg chg="add mod">
          <ac:chgData name="Andreas Koksrud" userId="9d9beba6-c052-407a-8599-c781a677a996" providerId="ADAL" clId="{8658473B-F8B0-412E-ABD9-785EC206476C}" dt="2024-08-25T19:42:49.858" v="14484" actId="14100"/>
          <ac:cxnSpMkLst>
            <pc:docMk/>
            <pc:sldMk cId="3106651703" sldId="1019"/>
            <ac:cxnSpMk id="21" creationId="{0DB47818-955A-7048-6ACA-13CE4C543A63}"/>
          </ac:cxnSpMkLst>
        </pc:cxnChg>
        <pc:cxnChg chg="add mod">
          <ac:chgData name="Andreas Koksrud" userId="9d9beba6-c052-407a-8599-c781a677a996" providerId="ADAL" clId="{8658473B-F8B0-412E-ABD9-785EC206476C}" dt="2024-08-25T19:42:53.874" v="14485" actId="14100"/>
          <ac:cxnSpMkLst>
            <pc:docMk/>
            <pc:sldMk cId="3106651703" sldId="1019"/>
            <ac:cxnSpMk id="22" creationId="{EE41E959-724B-11B5-4A96-1DBC1110DF79}"/>
          </ac:cxnSpMkLst>
        </pc:cxnChg>
        <pc:cxnChg chg="add mod">
          <ac:chgData name="Andreas Koksrud" userId="9d9beba6-c052-407a-8599-c781a677a996" providerId="ADAL" clId="{8658473B-F8B0-412E-ABD9-785EC206476C}" dt="2024-08-25T19:41:56.830" v="14441" actId="14100"/>
          <ac:cxnSpMkLst>
            <pc:docMk/>
            <pc:sldMk cId="3106651703" sldId="1019"/>
            <ac:cxnSpMk id="28" creationId="{D27E1FC6-C9AE-64C6-B9FD-88AC2B665422}"/>
          </ac:cxnSpMkLst>
        </pc:cxnChg>
      </pc:sldChg>
      <pc:sldChg chg="modSp add del">
        <pc:chgData name="Andreas Koksrud" userId="9d9beba6-c052-407a-8599-c781a677a996" providerId="ADAL" clId="{8658473B-F8B0-412E-ABD9-785EC206476C}" dt="2024-08-31T13:40:47.811" v="15997" actId="47"/>
        <pc:sldMkLst>
          <pc:docMk/>
          <pc:sldMk cId="3706008456" sldId="1020"/>
        </pc:sldMkLst>
        <pc:spChg chg="mod">
          <ac:chgData name="Andreas Koksrud" userId="9d9beba6-c052-407a-8599-c781a677a996" providerId="ADAL" clId="{8658473B-F8B0-412E-ABD9-785EC206476C}" dt="2024-08-23T05:45:12.779" v="6580"/>
          <ac:spMkLst>
            <pc:docMk/>
            <pc:sldMk cId="3706008456" sldId="1020"/>
            <ac:spMk id="4" creationId="{C9FF8FE2-F07B-41C2-BAF8-C948892DF32C}"/>
          </ac:spMkLst>
        </pc:spChg>
      </pc:sldChg>
      <pc:sldChg chg="modSp add del">
        <pc:chgData name="Andreas Koksrud" userId="9d9beba6-c052-407a-8599-c781a677a996" providerId="ADAL" clId="{8658473B-F8B0-412E-ABD9-785EC206476C}" dt="2024-08-31T13:40:47.811" v="15997" actId="47"/>
        <pc:sldMkLst>
          <pc:docMk/>
          <pc:sldMk cId="716394503" sldId="1021"/>
        </pc:sldMkLst>
        <pc:spChg chg="mod">
          <ac:chgData name="Andreas Koksrud" userId="9d9beba6-c052-407a-8599-c781a677a996" providerId="ADAL" clId="{8658473B-F8B0-412E-ABD9-785EC206476C}" dt="2024-08-23T05:45:12.779" v="6580"/>
          <ac:spMkLst>
            <pc:docMk/>
            <pc:sldMk cId="716394503" sldId="1021"/>
            <ac:spMk id="4" creationId="{C9FF8FE2-F07B-41C2-BAF8-C948892DF32C}"/>
          </ac:spMkLst>
        </pc:spChg>
        <pc:spChg chg="mod">
          <ac:chgData name="Andreas Koksrud" userId="9d9beba6-c052-407a-8599-c781a677a996" providerId="ADAL" clId="{8658473B-F8B0-412E-ABD9-785EC206476C}" dt="2024-08-23T07:36:43.759" v="11070"/>
          <ac:spMkLst>
            <pc:docMk/>
            <pc:sldMk cId="716394503" sldId="1021"/>
            <ac:spMk id="12" creationId="{BE1BF42B-D122-4E94-E68F-A0BA834156FC}"/>
          </ac:spMkLst>
        </pc:spChg>
      </pc:sldChg>
      <pc:sldChg chg="modSp add del">
        <pc:chgData name="Andreas Koksrud" userId="9d9beba6-c052-407a-8599-c781a677a996" providerId="ADAL" clId="{8658473B-F8B0-412E-ABD9-785EC206476C}" dt="2024-08-31T13:41:02.903" v="15998"/>
        <pc:sldMkLst>
          <pc:docMk/>
          <pc:sldMk cId="3288778496" sldId="1022"/>
        </pc:sldMkLst>
        <pc:spChg chg="mod">
          <ac:chgData name="Andreas Koksrud" userId="9d9beba6-c052-407a-8599-c781a677a996" providerId="ADAL" clId="{8658473B-F8B0-412E-ABD9-785EC206476C}" dt="2024-08-23T05:45:12.779" v="6580"/>
          <ac:spMkLst>
            <pc:docMk/>
            <pc:sldMk cId="3288778496" sldId="1022"/>
            <ac:spMk id="4" creationId="{C9FF8FE2-F07B-41C2-BAF8-C948892DF32C}"/>
          </ac:spMkLst>
        </pc:spChg>
      </pc:sldChg>
      <pc:sldChg chg="addSp delSp modSp add mod ord">
        <pc:chgData name="Andreas Koksrud" userId="9d9beba6-c052-407a-8599-c781a677a996" providerId="ADAL" clId="{8658473B-F8B0-412E-ABD9-785EC206476C}" dt="2024-08-25T19:50:01.575" v="14936" actId="1036"/>
        <pc:sldMkLst>
          <pc:docMk/>
          <pc:sldMk cId="3670871975" sldId="1023"/>
        </pc:sldMkLst>
        <pc:spChg chg="add mod">
          <ac:chgData name="Andreas Koksrud" userId="9d9beba6-c052-407a-8599-c781a677a996" providerId="ADAL" clId="{8658473B-F8B0-412E-ABD9-785EC206476C}" dt="2024-08-25T19:44:01.261" v="14525" actId="6549"/>
          <ac:spMkLst>
            <pc:docMk/>
            <pc:sldMk cId="3670871975" sldId="1023"/>
            <ac:spMk id="2" creationId="{A83FBEA2-5CFE-C286-AFB4-50F60E58E24E}"/>
          </ac:spMkLst>
        </pc:spChg>
        <pc:spChg chg="mod">
          <ac:chgData name="Andreas Koksrud" userId="9d9beba6-c052-407a-8599-c781a677a996" providerId="ADAL" clId="{8658473B-F8B0-412E-ABD9-785EC206476C}" dt="2024-08-23T05:41:49.370" v="6571"/>
          <ac:spMkLst>
            <pc:docMk/>
            <pc:sldMk cId="3670871975" sldId="1023"/>
            <ac:spMk id="4" creationId="{BDF04420-95D5-A2F1-5C85-4410F0AD48ED}"/>
          </ac:spMkLst>
        </pc:spChg>
        <pc:spChg chg="add mod">
          <ac:chgData name="Andreas Koksrud" userId="9d9beba6-c052-407a-8599-c781a677a996" providerId="ADAL" clId="{8658473B-F8B0-412E-ABD9-785EC206476C}" dt="2024-08-25T19:50:01.575" v="14936" actId="1036"/>
          <ac:spMkLst>
            <pc:docMk/>
            <pc:sldMk cId="3670871975" sldId="1023"/>
            <ac:spMk id="5" creationId="{0CC9931A-1529-BF05-C981-83B571EE03B8}"/>
          </ac:spMkLst>
        </pc:spChg>
        <pc:spChg chg="add mod">
          <ac:chgData name="Andreas Koksrud" userId="9d9beba6-c052-407a-8599-c781a677a996" providerId="ADAL" clId="{8658473B-F8B0-412E-ABD9-785EC206476C}" dt="2024-08-25T19:50:01.575" v="14936" actId="1036"/>
          <ac:spMkLst>
            <pc:docMk/>
            <pc:sldMk cId="3670871975" sldId="1023"/>
            <ac:spMk id="6" creationId="{3A788FFC-FE05-2555-C3C0-B9DD0BABC6C8}"/>
          </ac:spMkLst>
        </pc:spChg>
        <pc:spChg chg="del">
          <ac:chgData name="Andreas Koksrud" userId="9d9beba6-c052-407a-8599-c781a677a996" providerId="ADAL" clId="{8658473B-F8B0-412E-ABD9-785EC206476C}" dt="2024-08-23T05:33:55.789" v="6488" actId="478"/>
          <ac:spMkLst>
            <pc:docMk/>
            <pc:sldMk cId="3670871975" sldId="1023"/>
            <ac:spMk id="6" creationId="{C95E52CE-E2A4-FEC3-8010-12CDBA72D593}"/>
          </ac:spMkLst>
        </pc:spChg>
        <pc:spChg chg="del">
          <ac:chgData name="Andreas Koksrud" userId="9d9beba6-c052-407a-8599-c781a677a996" providerId="ADAL" clId="{8658473B-F8B0-412E-ABD9-785EC206476C}" dt="2024-08-23T05:33:57.292" v="6489" actId="478"/>
          <ac:spMkLst>
            <pc:docMk/>
            <pc:sldMk cId="3670871975" sldId="1023"/>
            <ac:spMk id="7" creationId="{B0F2563A-0C76-32AF-73C7-BD6C258EB81A}"/>
          </ac:spMkLst>
        </pc:spChg>
        <pc:spChg chg="add mod">
          <ac:chgData name="Andreas Koksrud" userId="9d9beba6-c052-407a-8599-c781a677a996" providerId="ADAL" clId="{8658473B-F8B0-412E-ABD9-785EC206476C}" dt="2024-08-25T19:49:52.648" v="14923" actId="1036"/>
          <ac:spMkLst>
            <pc:docMk/>
            <pc:sldMk cId="3670871975" sldId="1023"/>
            <ac:spMk id="9" creationId="{ABDF8505-172A-9F85-368C-1092A8216DE7}"/>
          </ac:spMkLst>
        </pc:spChg>
        <pc:spChg chg="add mod">
          <ac:chgData name="Andreas Koksrud" userId="9d9beba6-c052-407a-8599-c781a677a996" providerId="ADAL" clId="{8658473B-F8B0-412E-ABD9-785EC206476C}" dt="2024-08-25T19:49:52.648" v="14923" actId="1036"/>
          <ac:spMkLst>
            <pc:docMk/>
            <pc:sldMk cId="3670871975" sldId="1023"/>
            <ac:spMk id="11" creationId="{09C476B3-6297-C4B7-4E56-CAAE4C864CDB}"/>
          </ac:spMkLst>
        </pc:spChg>
        <pc:spChg chg="add mod">
          <ac:chgData name="Andreas Koksrud" userId="9d9beba6-c052-407a-8599-c781a677a996" providerId="ADAL" clId="{8658473B-F8B0-412E-ABD9-785EC206476C}" dt="2024-08-25T19:49:47.226" v="14907" actId="1036"/>
          <ac:spMkLst>
            <pc:docMk/>
            <pc:sldMk cId="3670871975" sldId="1023"/>
            <ac:spMk id="12" creationId="{D3D1F0DD-A4A6-2665-F113-B87D34E44079}"/>
          </ac:spMkLst>
        </pc:spChg>
        <pc:spChg chg="add mod">
          <ac:chgData name="Andreas Koksrud" userId="9d9beba6-c052-407a-8599-c781a677a996" providerId="ADAL" clId="{8658473B-F8B0-412E-ABD9-785EC206476C}" dt="2024-08-25T19:49:47.226" v="14907" actId="1036"/>
          <ac:spMkLst>
            <pc:docMk/>
            <pc:sldMk cId="3670871975" sldId="1023"/>
            <ac:spMk id="13" creationId="{4AC70EBF-331E-FBFE-894A-3E1D9A28E971}"/>
          </ac:spMkLst>
        </pc:spChg>
        <pc:spChg chg="mod">
          <ac:chgData name="Andreas Koksrud" userId="9d9beba6-c052-407a-8599-c781a677a996" providerId="ADAL" clId="{8658473B-F8B0-412E-ABD9-785EC206476C}" dt="2024-08-25T19:26:52.442" v="14208" actId="20577"/>
          <ac:spMkLst>
            <pc:docMk/>
            <pc:sldMk cId="3670871975" sldId="1023"/>
            <ac:spMk id="180" creationId="{00000000-0000-0000-0000-000000000000}"/>
          </ac:spMkLst>
        </pc:spChg>
        <pc:spChg chg="mod">
          <ac:chgData name="Andreas Koksrud" userId="9d9beba6-c052-407a-8599-c781a677a996" providerId="ADAL" clId="{8658473B-F8B0-412E-ABD9-785EC206476C}" dt="2024-08-25T19:44:10.930" v="14529" actId="14100"/>
          <ac:spMkLst>
            <pc:docMk/>
            <pc:sldMk cId="3670871975" sldId="1023"/>
            <ac:spMk id="181" creationId="{00000000-0000-0000-0000-000000000000}"/>
          </ac:spMkLst>
        </pc:spChg>
        <pc:picChg chg="add del">
          <ac:chgData name="Andreas Koksrud" userId="9d9beba6-c052-407a-8599-c781a677a996" providerId="ADAL" clId="{8658473B-F8B0-412E-ABD9-785EC206476C}" dt="2024-08-25T19:46:15.689" v="14766" actId="22"/>
          <ac:picMkLst>
            <pc:docMk/>
            <pc:sldMk cId="3670871975" sldId="1023"/>
            <ac:picMk id="8" creationId="{5B0E980C-2B27-CA9F-5756-3B1ACE601BCB}"/>
          </ac:picMkLst>
        </pc:picChg>
        <pc:picChg chg="del">
          <ac:chgData name="Andreas Koksrud" userId="9d9beba6-c052-407a-8599-c781a677a996" providerId="ADAL" clId="{8658473B-F8B0-412E-ABD9-785EC206476C}" dt="2024-08-23T05:33:54.482" v="6487" actId="478"/>
          <ac:picMkLst>
            <pc:docMk/>
            <pc:sldMk cId="3670871975" sldId="1023"/>
            <ac:picMk id="9" creationId="{12290643-5ED7-1681-8AE2-24B0C4FC8AD6}"/>
          </ac:picMkLst>
        </pc:picChg>
        <pc:cxnChg chg="del mod">
          <ac:chgData name="Andreas Koksrud" userId="9d9beba6-c052-407a-8599-c781a677a996" providerId="ADAL" clId="{8658473B-F8B0-412E-ABD9-785EC206476C}" dt="2024-08-25T19:27:34.314" v="14325" actId="478"/>
          <ac:cxnSpMkLst>
            <pc:docMk/>
            <pc:sldMk cId="3670871975" sldId="1023"/>
            <ac:cxnSpMk id="10" creationId="{FE0795CE-6154-9890-7708-33AA2A3C4C2D}"/>
          </ac:cxnSpMkLst>
        </pc:cxnChg>
        <pc:cxnChg chg="del">
          <ac:chgData name="Andreas Koksrud" userId="9d9beba6-c052-407a-8599-c781a677a996" providerId="ADAL" clId="{8658473B-F8B0-412E-ABD9-785EC206476C}" dt="2024-08-23T05:34:00.984" v="6490" actId="478"/>
          <ac:cxnSpMkLst>
            <pc:docMk/>
            <pc:sldMk cId="3670871975" sldId="1023"/>
            <ac:cxnSpMk id="12" creationId="{534A1936-949B-108B-8E63-694AB9AE8DC4}"/>
          </ac:cxnSpMkLst>
        </pc:cxnChg>
        <pc:cxnChg chg="del">
          <ac:chgData name="Andreas Koksrud" userId="9d9beba6-c052-407a-8599-c781a677a996" providerId="ADAL" clId="{8658473B-F8B0-412E-ABD9-785EC206476C}" dt="2024-08-23T05:34:00.984" v="6490" actId="478"/>
          <ac:cxnSpMkLst>
            <pc:docMk/>
            <pc:sldMk cId="3670871975" sldId="1023"/>
            <ac:cxnSpMk id="18" creationId="{849A8458-B69F-EAF5-24B3-DFC98F22678F}"/>
          </ac:cxnSpMkLst>
        </pc:cxnChg>
        <pc:cxnChg chg="del">
          <ac:chgData name="Andreas Koksrud" userId="9d9beba6-c052-407a-8599-c781a677a996" providerId="ADAL" clId="{8658473B-F8B0-412E-ABD9-785EC206476C}" dt="2024-08-23T05:34:00.984" v="6490" actId="478"/>
          <ac:cxnSpMkLst>
            <pc:docMk/>
            <pc:sldMk cId="3670871975" sldId="1023"/>
            <ac:cxnSpMk id="20" creationId="{3D7F95DB-5769-9C53-5FF0-5C8BB0929CFA}"/>
          </ac:cxnSpMkLst>
        </pc:cxnChg>
        <pc:cxnChg chg="del">
          <ac:chgData name="Andreas Koksrud" userId="9d9beba6-c052-407a-8599-c781a677a996" providerId="ADAL" clId="{8658473B-F8B0-412E-ABD9-785EC206476C}" dt="2024-08-23T05:34:00.984" v="6490" actId="478"/>
          <ac:cxnSpMkLst>
            <pc:docMk/>
            <pc:sldMk cId="3670871975" sldId="1023"/>
            <ac:cxnSpMk id="22" creationId="{EE41E959-724B-11B5-4A96-1DBC1110DF79}"/>
          </ac:cxnSpMkLst>
        </pc:cxnChg>
        <pc:cxnChg chg="del">
          <ac:chgData name="Andreas Koksrud" userId="9d9beba6-c052-407a-8599-c781a677a996" providerId="ADAL" clId="{8658473B-F8B0-412E-ABD9-785EC206476C}" dt="2024-08-23T05:34:00.984" v="6490" actId="478"/>
          <ac:cxnSpMkLst>
            <pc:docMk/>
            <pc:sldMk cId="3670871975" sldId="1023"/>
            <ac:cxnSpMk id="28" creationId="{D27E1FC6-C9AE-64C6-B9FD-88AC2B665422}"/>
          </ac:cxnSpMkLst>
        </pc:cxnChg>
      </pc:sldChg>
      <pc:sldChg chg="addSp delSp modSp add mod">
        <pc:chgData name="Andreas Koksrud" userId="9d9beba6-c052-407a-8599-c781a677a996" providerId="ADAL" clId="{8658473B-F8B0-412E-ABD9-785EC206476C}" dt="2024-08-23T07:14:49.599" v="9410" actId="1076"/>
        <pc:sldMkLst>
          <pc:docMk/>
          <pc:sldMk cId="3597784797" sldId="1024"/>
        </pc:sldMkLst>
        <pc:spChg chg="add mod">
          <ac:chgData name="Andreas Koksrud" userId="9d9beba6-c052-407a-8599-c781a677a996" providerId="ADAL" clId="{8658473B-F8B0-412E-ABD9-785EC206476C}" dt="2024-08-23T07:14:17.656" v="9402" actId="14100"/>
          <ac:spMkLst>
            <pc:docMk/>
            <pc:sldMk cId="3597784797" sldId="1024"/>
            <ac:spMk id="5" creationId="{2A23A44E-76D4-4B17-19C7-6AB277A13A1C}"/>
          </ac:spMkLst>
        </pc:spChg>
        <pc:spChg chg="del">
          <ac:chgData name="Andreas Koksrud" userId="9d9beba6-c052-407a-8599-c781a677a996" providerId="ADAL" clId="{8658473B-F8B0-412E-ABD9-785EC206476C}" dt="2024-08-23T07:09:52.542" v="8812" actId="478"/>
          <ac:spMkLst>
            <pc:docMk/>
            <pc:sldMk cId="3597784797" sldId="1024"/>
            <ac:spMk id="9" creationId="{CA0B8F57-C785-7ED7-75A2-B61F4152EC1C}"/>
          </ac:spMkLst>
        </pc:spChg>
        <pc:spChg chg="del">
          <ac:chgData name="Andreas Koksrud" userId="9d9beba6-c052-407a-8599-c781a677a996" providerId="ADAL" clId="{8658473B-F8B0-412E-ABD9-785EC206476C}" dt="2024-08-23T07:09:52.542" v="8812" actId="478"/>
          <ac:spMkLst>
            <pc:docMk/>
            <pc:sldMk cId="3597784797" sldId="1024"/>
            <ac:spMk id="10" creationId="{F997FC19-E381-D98F-81A5-EB4D94CF74AB}"/>
          </ac:spMkLst>
        </pc:spChg>
        <pc:spChg chg="del">
          <ac:chgData name="Andreas Koksrud" userId="9d9beba6-c052-407a-8599-c781a677a996" providerId="ADAL" clId="{8658473B-F8B0-412E-ABD9-785EC206476C}" dt="2024-08-23T07:10:00.727" v="8817" actId="478"/>
          <ac:spMkLst>
            <pc:docMk/>
            <pc:sldMk cId="3597784797" sldId="1024"/>
            <ac:spMk id="18" creationId="{590BE1AA-95AF-43A9-954A-A3E79A728521}"/>
          </ac:spMkLst>
        </pc:spChg>
        <pc:spChg chg="del">
          <ac:chgData name="Andreas Koksrud" userId="9d9beba6-c052-407a-8599-c781a677a996" providerId="ADAL" clId="{8658473B-F8B0-412E-ABD9-785EC206476C}" dt="2024-08-23T07:09:59.337" v="8816" actId="478"/>
          <ac:spMkLst>
            <pc:docMk/>
            <pc:sldMk cId="3597784797" sldId="1024"/>
            <ac:spMk id="27" creationId="{E23DE15B-3418-D2F5-F10C-CF3DA7AA664D}"/>
          </ac:spMkLst>
        </pc:spChg>
        <pc:spChg chg="del">
          <ac:chgData name="Andreas Koksrud" userId="9d9beba6-c052-407a-8599-c781a677a996" providerId="ADAL" clId="{8658473B-F8B0-412E-ABD9-785EC206476C}" dt="2024-08-23T07:09:59.337" v="8816" actId="478"/>
          <ac:spMkLst>
            <pc:docMk/>
            <pc:sldMk cId="3597784797" sldId="1024"/>
            <ac:spMk id="30" creationId="{B7F5CD23-D055-33E3-2089-A3EA205C4EA2}"/>
          </ac:spMkLst>
        </pc:spChg>
        <pc:spChg chg="mod">
          <ac:chgData name="Andreas Koksrud" userId="9d9beba6-c052-407a-8599-c781a677a996" providerId="ADAL" clId="{8658473B-F8B0-412E-ABD9-785EC206476C}" dt="2024-08-23T07:09:22.848" v="8807" actId="20577"/>
          <ac:spMkLst>
            <pc:docMk/>
            <pc:sldMk cId="3597784797" sldId="1024"/>
            <ac:spMk id="180" creationId="{00000000-0000-0000-0000-000000000000}"/>
          </ac:spMkLst>
        </pc:spChg>
        <pc:picChg chg="del">
          <ac:chgData name="Andreas Koksrud" userId="9d9beba6-c052-407a-8599-c781a677a996" providerId="ADAL" clId="{8658473B-F8B0-412E-ABD9-785EC206476C}" dt="2024-08-23T07:09:47.287" v="8811" actId="478"/>
          <ac:picMkLst>
            <pc:docMk/>
            <pc:sldMk cId="3597784797" sldId="1024"/>
            <ac:picMk id="7" creationId="{D270A669-DD81-7E28-5FED-586D5E20D301}"/>
          </ac:picMkLst>
        </pc:picChg>
        <pc:picChg chg="add mod ord">
          <ac:chgData name="Andreas Koksrud" userId="9d9beba6-c052-407a-8599-c781a677a996" providerId="ADAL" clId="{8658473B-F8B0-412E-ABD9-785EC206476C}" dt="2024-08-23T07:14:31.673" v="9407" actId="167"/>
          <ac:picMkLst>
            <pc:docMk/>
            <pc:sldMk cId="3597784797" sldId="1024"/>
            <ac:picMk id="11" creationId="{57E3B446-8F26-F86E-3D88-6C0B51B47B09}"/>
          </ac:picMkLst>
        </pc:picChg>
        <pc:picChg chg="del">
          <ac:chgData name="Andreas Koksrud" userId="9d9beba6-c052-407a-8599-c781a677a996" providerId="ADAL" clId="{8658473B-F8B0-412E-ABD9-785EC206476C}" dt="2024-08-23T07:09:55.904" v="8814" actId="478"/>
          <ac:picMkLst>
            <pc:docMk/>
            <pc:sldMk cId="3597784797" sldId="1024"/>
            <ac:picMk id="13" creationId="{C1E9FDD8-2702-0576-73BE-828D8198DCFB}"/>
          </ac:picMkLst>
        </pc:picChg>
        <pc:picChg chg="del">
          <ac:chgData name="Andreas Koksrud" userId="9d9beba6-c052-407a-8599-c781a677a996" providerId="ADAL" clId="{8658473B-F8B0-412E-ABD9-785EC206476C}" dt="2024-08-23T07:10:00.727" v="8817" actId="478"/>
          <ac:picMkLst>
            <pc:docMk/>
            <pc:sldMk cId="3597784797" sldId="1024"/>
            <ac:picMk id="17" creationId="{A5E4FFA0-B255-C8A8-4BB6-FF985E86FD5E}"/>
          </ac:picMkLst>
        </pc:picChg>
        <pc:picChg chg="add mod">
          <ac:chgData name="Andreas Koksrud" userId="9d9beba6-c052-407a-8599-c781a677a996" providerId="ADAL" clId="{8658473B-F8B0-412E-ABD9-785EC206476C}" dt="2024-08-23T07:14:49.599" v="9410" actId="1076"/>
          <ac:picMkLst>
            <pc:docMk/>
            <pc:sldMk cId="3597784797" sldId="1024"/>
            <ac:picMk id="19" creationId="{619274CC-3359-2D31-A0E4-75BFF9458757}"/>
          </ac:picMkLst>
        </pc:picChg>
        <pc:picChg chg="del">
          <ac:chgData name="Andreas Koksrud" userId="9d9beba6-c052-407a-8599-c781a677a996" providerId="ADAL" clId="{8658473B-F8B0-412E-ABD9-785EC206476C}" dt="2024-08-23T07:09:59.337" v="8816" actId="478"/>
          <ac:picMkLst>
            <pc:docMk/>
            <pc:sldMk cId="3597784797" sldId="1024"/>
            <ac:picMk id="20" creationId="{0A79E278-D5BD-742B-BF88-C0E91A8CEE9B}"/>
          </ac:picMkLst>
        </pc:picChg>
        <pc:cxnChg chg="mod">
          <ac:chgData name="Andreas Koksrud" userId="9d9beba6-c052-407a-8599-c781a677a996" providerId="ADAL" clId="{8658473B-F8B0-412E-ABD9-785EC206476C}" dt="2024-08-23T07:14:37.057" v="9408" actId="14100"/>
          <ac:cxnSpMkLst>
            <pc:docMk/>
            <pc:sldMk cId="3597784797" sldId="1024"/>
            <ac:cxnSpMk id="8" creationId="{E82D89F0-8631-AF82-B3B7-0F64B54EE1B5}"/>
          </ac:cxnSpMkLst>
        </pc:cxnChg>
        <pc:cxnChg chg="del">
          <ac:chgData name="Andreas Koksrud" userId="9d9beba6-c052-407a-8599-c781a677a996" providerId="ADAL" clId="{8658473B-F8B0-412E-ABD9-785EC206476C}" dt="2024-08-23T07:09:55.904" v="8814" actId="478"/>
          <ac:cxnSpMkLst>
            <pc:docMk/>
            <pc:sldMk cId="3597784797" sldId="1024"/>
            <ac:cxnSpMk id="14" creationId="{B2C9EDD1-F9A4-636D-A7D1-7E8A19E2AC32}"/>
          </ac:cxnSpMkLst>
        </pc:cxnChg>
        <pc:cxnChg chg="del">
          <ac:chgData name="Andreas Koksrud" userId="9d9beba6-c052-407a-8599-c781a677a996" providerId="ADAL" clId="{8658473B-F8B0-412E-ABD9-785EC206476C}" dt="2024-08-23T07:09:57.392" v="8815" actId="478"/>
          <ac:cxnSpMkLst>
            <pc:docMk/>
            <pc:sldMk cId="3597784797" sldId="1024"/>
            <ac:cxnSpMk id="21" creationId="{4545AB64-B20A-E863-7ABA-53198735F8F7}"/>
          </ac:cxnSpMkLst>
        </pc:cxnChg>
        <pc:cxnChg chg="del">
          <ac:chgData name="Andreas Koksrud" userId="9d9beba6-c052-407a-8599-c781a677a996" providerId="ADAL" clId="{8658473B-F8B0-412E-ABD9-785EC206476C}" dt="2024-08-23T07:09:59.337" v="8816" actId="478"/>
          <ac:cxnSpMkLst>
            <pc:docMk/>
            <pc:sldMk cId="3597784797" sldId="1024"/>
            <ac:cxnSpMk id="23" creationId="{175B051E-8FDE-350B-CB11-7D41DDF7FD6F}"/>
          </ac:cxnSpMkLst>
        </pc:cxnChg>
        <pc:cxnChg chg="del">
          <ac:chgData name="Andreas Koksrud" userId="9d9beba6-c052-407a-8599-c781a677a996" providerId="ADAL" clId="{8658473B-F8B0-412E-ABD9-785EC206476C}" dt="2024-08-23T07:09:59.337" v="8816" actId="478"/>
          <ac:cxnSpMkLst>
            <pc:docMk/>
            <pc:sldMk cId="3597784797" sldId="1024"/>
            <ac:cxnSpMk id="28" creationId="{6E564CBD-0B1D-0213-9520-8A09EB07F7F0}"/>
          </ac:cxnSpMkLst>
        </pc:cxnChg>
        <pc:cxnChg chg="del mod">
          <ac:chgData name="Andreas Koksrud" userId="9d9beba6-c052-407a-8599-c781a677a996" providerId="ADAL" clId="{8658473B-F8B0-412E-ABD9-785EC206476C}" dt="2024-08-23T07:10:02.345" v="8818" actId="478"/>
          <ac:cxnSpMkLst>
            <pc:docMk/>
            <pc:sldMk cId="3597784797" sldId="1024"/>
            <ac:cxnSpMk id="31" creationId="{BA182186-BAA6-D8BB-ACCB-DA54242A624B}"/>
          </ac:cxnSpMkLst>
        </pc:cxnChg>
      </pc:sldChg>
      <pc:sldChg chg="addSp delSp modSp add mod">
        <pc:chgData name="Andreas Koksrud" userId="9d9beba6-c052-407a-8599-c781a677a996" providerId="ADAL" clId="{8658473B-F8B0-412E-ABD9-785EC206476C}" dt="2024-08-26T05:27:19.437" v="15242" actId="14100"/>
        <pc:sldMkLst>
          <pc:docMk/>
          <pc:sldMk cId="367832648" sldId="1025"/>
        </pc:sldMkLst>
        <pc:spChg chg="del">
          <ac:chgData name="Andreas Koksrud" userId="9d9beba6-c052-407a-8599-c781a677a996" providerId="ADAL" clId="{8658473B-F8B0-412E-ABD9-785EC206476C}" dt="2024-08-25T19:52:41.750" v="15045" actId="478"/>
          <ac:spMkLst>
            <pc:docMk/>
            <pc:sldMk cId="367832648" sldId="1025"/>
            <ac:spMk id="2" creationId="{A83FBEA2-5CFE-C286-AFB4-50F60E58E24E}"/>
          </ac:spMkLst>
        </pc:spChg>
        <pc:spChg chg="del">
          <ac:chgData name="Andreas Koksrud" userId="9d9beba6-c052-407a-8599-c781a677a996" providerId="ADAL" clId="{8658473B-F8B0-412E-ABD9-785EC206476C}" dt="2024-08-25T19:52:45.814" v="15046" actId="478"/>
          <ac:spMkLst>
            <pc:docMk/>
            <pc:sldMk cId="367832648" sldId="1025"/>
            <ac:spMk id="5" creationId="{0CC9931A-1529-BF05-C981-83B571EE03B8}"/>
          </ac:spMkLst>
        </pc:spChg>
        <pc:spChg chg="del">
          <ac:chgData name="Andreas Koksrud" userId="9d9beba6-c052-407a-8599-c781a677a996" providerId="ADAL" clId="{8658473B-F8B0-412E-ABD9-785EC206476C}" dt="2024-08-25T19:52:46.848" v="15047" actId="478"/>
          <ac:spMkLst>
            <pc:docMk/>
            <pc:sldMk cId="367832648" sldId="1025"/>
            <ac:spMk id="6" creationId="{3A788FFC-FE05-2555-C3C0-B9DD0BABC6C8}"/>
          </ac:spMkLst>
        </pc:spChg>
        <pc:spChg chg="del mod">
          <ac:chgData name="Andreas Koksrud" userId="9d9beba6-c052-407a-8599-c781a677a996" providerId="ADAL" clId="{8658473B-F8B0-412E-ABD9-785EC206476C}" dt="2024-08-25T19:52:51.160" v="15050" actId="478"/>
          <ac:spMkLst>
            <pc:docMk/>
            <pc:sldMk cId="367832648" sldId="1025"/>
            <ac:spMk id="9" creationId="{ABDF8505-172A-9F85-368C-1092A8216DE7}"/>
          </ac:spMkLst>
        </pc:spChg>
        <pc:spChg chg="del">
          <ac:chgData name="Andreas Koksrud" userId="9d9beba6-c052-407a-8599-c781a677a996" providerId="ADAL" clId="{8658473B-F8B0-412E-ABD9-785EC206476C}" dt="2024-08-25T19:52:48.565" v="15048" actId="478"/>
          <ac:spMkLst>
            <pc:docMk/>
            <pc:sldMk cId="367832648" sldId="1025"/>
            <ac:spMk id="11" creationId="{09C476B3-6297-C4B7-4E56-CAAE4C864CDB}"/>
          </ac:spMkLst>
        </pc:spChg>
        <pc:spChg chg="del">
          <ac:chgData name="Andreas Koksrud" userId="9d9beba6-c052-407a-8599-c781a677a996" providerId="ADAL" clId="{8658473B-F8B0-412E-ABD9-785EC206476C}" dt="2024-08-25T19:52:52.987" v="15051" actId="478"/>
          <ac:spMkLst>
            <pc:docMk/>
            <pc:sldMk cId="367832648" sldId="1025"/>
            <ac:spMk id="12" creationId="{D3D1F0DD-A4A6-2665-F113-B87D34E44079}"/>
          </ac:spMkLst>
        </pc:spChg>
        <pc:spChg chg="del">
          <ac:chgData name="Andreas Koksrud" userId="9d9beba6-c052-407a-8599-c781a677a996" providerId="ADAL" clId="{8658473B-F8B0-412E-ABD9-785EC206476C}" dt="2024-08-25T19:52:55.230" v="15052" actId="478"/>
          <ac:spMkLst>
            <pc:docMk/>
            <pc:sldMk cId="367832648" sldId="1025"/>
            <ac:spMk id="13" creationId="{4AC70EBF-331E-FBFE-894A-3E1D9A28E971}"/>
          </ac:spMkLst>
        </pc:spChg>
        <pc:spChg chg="add mod">
          <ac:chgData name="Andreas Koksrud" userId="9d9beba6-c052-407a-8599-c781a677a996" providerId="ADAL" clId="{8658473B-F8B0-412E-ABD9-785EC206476C}" dt="2024-08-25T19:57:36.555" v="15227" actId="20577"/>
          <ac:spMkLst>
            <pc:docMk/>
            <pc:sldMk cId="367832648" sldId="1025"/>
            <ac:spMk id="15" creationId="{0AF21659-292B-D677-0005-89D78E171F43}"/>
          </ac:spMkLst>
        </pc:spChg>
        <pc:spChg chg="mod">
          <ac:chgData name="Andreas Koksrud" userId="9d9beba6-c052-407a-8599-c781a677a996" providerId="ADAL" clId="{8658473B-F8B0-412E-ABD9-785EC206476C}" dt="2024-08-25T19:50:17.658" v="14944" actId="20577"/>
          <ac:spMkLst>
            <pc:docMk/>
            <pc:sldMk cId="367832648" sldId="1025"/>
            <ac:spMk id="180" creationId="{00000000-0000-0000-0000-000000000000}"/>
          </ac:spMkLst>
        </pc:spChg>
        <pc:spChg chg="mod">
          <ac:chgData name="Andreas Koksrud" userId="9d9beba6-c052-407a-8599-c781a677a996" providerId="ADAL" clId="{8658473B-F8B0-412E-ABD9-785EC206476C}" dt="2024-08-26T05:26:47.032" v="15238" actId="13926"/>
          <ac:spMkLst>
            <pc:docMk/>
            <pc:sldMk cId="367832648" sldId="1025"/>
            <ac:spMk id="181" creationId="{00000000-0000-0000-0000-000000000000}"/>
          </ac:spMkLst>
        </pc:spChg>
        <pc:picChg chg="add mod modCrop">
          <ac:chgData name="Andreas Koksrud" userId="9d9beba6-c052-407a-8599-c781a677a996" providerId="ADAL" clId="{8658473B-F8B0-412E-ABD9-785EC206476C}" dt="2024-08-25T19:56:07.030" v="15061" actId="1076"/>
          <ac:picMkLst>
            <pc:docMk/>
            <pc:sldMk cId="367832648" sldId="1025"/>
            <ac:picMk id="8" creationId="{A060B767-6031-4954-722B-36B62801E432}"/>
          </ac:picMkLst>
        </pc:picChg>
        <pc:picChg chg="add mod">
          <ac:chgData name="Andreas Koksrud" userId="9d9beba6-c052-407a-8599-c781a677a996" providerId="ADAL" clId="{8658473B-F8B0-412E-ABD9-785EC206476C}" dt="2024-08-25T19:55:56.030" v="15059" actId="1076"/>
          <ac:picMkLst>
            <pc:docMk/>
            <pc:sldMk cId="367832648" sldId="1025"/>
            <ac:picMk id="14" creationId="{EBA70FCD-EABD-C5ED-9ECC-D88EA5FA9056}"/>
          </ac:picMkLst>
        </pc:picChg>
        <pc:picChg chg="add mod">
          <ac:chgData name="Andreas Koksrud" userId="9d9beba6-c052-407a-8599-c781a677a996" providerId="ADAL" clId="{8658473B-F8B0-412E-ABD9-785EC206476C}" dt="2024-08-25T19:57:41.133" v="15229" actId="1076"/>
          <ac:picMkLst>
            <pc:docMk/>
            <pc:sldMk cId="367832648" sldId="1025"/>
            <ac:picMk id="17" creationId="{BB87138B-0793-954F-B1BA-CD62C24FB598}"/>
          </ac:picMkLst>
        </pc:picChg>
        <pc:picChg chg="add mod modCrop">
          <ac:chgData name="Andreas Koksrud" userId="9d9beba6-c052-407a-8599-c781a677a996" providerId="ADAL" clId="{8658473B-F8B0-412E-ABD9-785EC206476C}" dt="2024-08-26T05:26:40.395" v="15236" actId="1076"/>
          <ac:picMkLst>
            <pc:docMk/>
            <pc:sldMk cId="367832648" sldId="1025"/>
            <ac:picMk id="19" creationId="{10F100AA-3043-A290-835D-79D03ECD1E57}"/>
          </ac:picMkLst>
        </pc:picChg>
        <pc:cxnChg chg="add mod">
          <ac:chgData name="Andreas Koksrud" userId="9d9beba6-c052-407a-8599-c781a677a996" providerId="ADAL" clId="{8658473B-F8B0-412E-ABD9-785EC206476C}" dt="2024-08-26T05:27:19.437" v="15242" actId="14100"/>
          <ac:cxnSpMkLst>
            <pc:docMk/>
            <pc:sldMk cId="367832648" sldId="1025"/>
            <ac:cxnSpMk id="20" creationId="{D59D0FC3-DBC7-DC4A-D7D5-5A82D91263E8}"/>
          </ac:cxnSpMkLst>
        </pc:cxnChg>
      </pc:sldChg>
      <pc:sldChg chg="modSp add del mod">
        <pc:chgData name="Andreas Koksrud" userId="9d9beba6-c052-407a-8599-c781a677a996" providerId="ADAL" clId="{8658473B-F8B0-412E-ABD9-785EC206476C}" dt="2024-08-31T13:35:38.847" v="15995" actId="47"/>
        <pc:sldMkLst>
          <pc:docMk/>
          <pc:sldMk cId="3711552670" sldId="1026"/>
        </pc:sldMkLst>
        <pc:spChg chg="mod">
          <ac:chgData name="Andreas Koksrud" userId="9d9beba6-c052-407a-8599-c781a677a996" providerId="ADAL" clId="{8658473B-F8B0-412E-ABD9-785EC206476C}" dt="2024-08-27T19:57:02.189" v="15281" actId="20577"/>
          <ac:spMkLst>
            <pc:docMk/>
            <pc:sldMk cId="3711552670" sldId="1026"/>
            <ac:spMk id="9" creationId="{D17A5E2E-F765-DF16-1A1D-79770F561C65}"/>
          </ac:spMkLst>
        </pc:spChg>
      </pc:sldChg>
      <pc:sldChg chg="add del">
        <pc:chgData name="Andreas Koksrud" userId="9d9beba6-c052-407a-8599-c781a677a996" providerId="ADAL" clId="{8658473B-F8B0-412E-ABD9-785EC206476C}" dt="2024-08-31T13:35:38.847" v="15995" actId="47"/>
        <pc:sldMkLst>
          <pc:docMk/>
          <pc:sldMk cId="2014202690" sldId="1027"/>
        </pc:sldMkLst>
      </pc:sldChg>
      <pc:sldChg chg="addSp delSp modSp add mod">
        <pc:chgData name="Andreas Koksrud" userId="9d9beba6-c052-407a-8599-c781a677a996" providerId="ADAL" clId="{8658473B-F8B0-412E-ABD9-785EC206476C}" dt="2024-08-31T13:34:42.372" v="15992" actId="1076"/>
        <pc:sldMkLst>
          <pc:docMk/>
          <pc:sldMk cId="87525851" sldId="1028"/>
        </pc:sldMkLst>
        <pc:spChg chg="add mod">
          <ac:chgData name="Andreas Koksrud" userId="9d9beba6-c052-407a-8599-c781a677a996" providerId="ADAL" clId="{8658473B-F8B0-412E-ABD9-785EC206476C}" dt="2024-08-31T13:33:27.819" v="15988" actId="1035"/>
          <ac:spMkLst>
            <pc:docMk/>
            <pc:sldMk cId="87525851" sldId="1028"/>
            <ac:spMk id="3" creationId="{F413C8AF-5ADF-796B-05EF-5C4BAC838722}"/>
          </ac:spMkLst>
        </pc:spChg>
        <pc:spChg chg="mod">
          <ac:chgData name="Andreas Koksrud" userId="9d9beba6-c052-407a-8599-c781a677a996" providerId="ADAL" clId="{8658473B-F8B0-412E-ABD9-785EC206476C}" dt="2024-08-31T13:33:27.819" v="15988" actId="1035"/>
          <ac:spMkLst>
            <pc:docMk/>
            <pc:sldMk cId="87525851" sldId="1028"/>
            <ac:spMk id="4" creationId="{7B2B45CA-95BD-2704-AA56-E8D306F64CB7}"/>
          </ac:spMkLst>
        </pc:spChg>
        <pc:spChg chg="del">
          <ac:chgData name="Andreas Koksrud" userId="9d9beba6-c052-407a-8599-c781a677a996" providerId="ADAL" clId="{8658473B-F8B0-412E-ABD9-785EC206476C}" dt="2024-08-31T13:32:07.125" v="15952" actId="21"/>
          <ac:spMkLst>
            <pc:docMk/>
            <pc:sldMk cId="87525851" sldId="1028"/>
            <ac:spMk id="10" creationId="{F413C8AF-5ADF-796B-05EF-5C4BAC838722}"/>
          </ac:spMkLst>
        </pc:spChg>
        <pc:spChg chg="mod">
          <ac:chgData name="Andreas Koksrud" userId="9d9beba6-c052-407a-8599-c781a677a996" providerId="ADAL" clId="{8658473B-F8B0-412E-ABD9-785EC206476C}" dt="2024-08-31T13:34:20.019" v="15990" actId="408"/>
          <ac:spMkLst>
            <pc:docMk/>
            <pc:sldMk cId="87525851" sldId="1028"/>
            <ac:spMk id="16" creationId="{39B5BA0D-BFAD-CCA9-43FF-F14FA2DE742A}"/>
          </ac:spMkLst>
        </pc:spChg>
        <pc:picChg chg="add mod">
          <ac:chgData name="Andreas Koksrud" userId="9d9beba6-c052-407a-8599-c781a677a996" providerId="ADAL" clId="{8658473B-F8B0-412E-ABD9-785EC206476C}" dt="2024-08-31T13:34:39.300" v="15991" actId="1076"/>
          <ac:picMkLst>
            <pc:docMk/>
            <pc:sldMk cId="87525851" sldId="1028"/>
            <ac:picMk id="2" creationId="{2887199D-8555-F2C0-F458-9DCD4D713108}"/>
          </ac:picMkLst>
        </pc:picChg>
        <pc:picChg chg="mod">
          <ac:chgData name="Andreas Koksrud" userId="9d9beba6-c052-407a-8599-c781a677a996" providerId="ADAL" clId="{8658473B-F8B0-412E-ABD9-785EC206476C}" dt="2024-08-31T13:34:42.372" v="15992" actId="1076"/>
          <ac:picMkLst>
            <pc:docMk/>
            <pc:sldMk cId="87525851" sldId="1028"/>
            <ac:picMk id="8" creationId="{B978A251-72A0-BC4D-8943-8BEC7FB15AFB}"/>
          </ac:picMkLst>
        </pc:picChg>
        <pc:picChg chg="del">
          <ac:chgData name="Andreas Koksrud" userId="9d9beba6-c052-407a-8599-c781a677a996" providerId="ADAL" clId="{8658473B-F8B0-412E-ABD9-785EC206476C}" dt="2024-08-31T13:32:07.125" v="15952" actId="21"/>
          <ac:picMkLst>
            <pc:docMk/>
            <pc:sldMk cId="87525851" sldId="1028"/>
            <ac:picMk id="1028" creationId="{2887199D-8555-F2C0-F458-9DCD4D713108}"/>
          </ac:picMkLst>
        </pc:picChg>
        <pc:picChg chg="mod">
          <ac:chgData name="Andreas Koksrud" userId="9d9beba6-c052-407a-8599-c781a677a996" providerId="ADAL" clId="{8658473B-F8B0-412E-ABD9-785EC206476C}" dt="2024-08-31T13:34:10.134" v="15989" actId="408"/>
          <ac:picMkLst>
            <pc:docMk/>
            <pc:sldMk cId="87525851" sldId="1028"/>
            <ac:picMk id="1030" creationId="{E2C413B2-55E0-CC98-9E28-723D344DE627}"/>
          </ac:picMkLst>
        </pc:picChg>
      </pc:sldChg>
      <pc:sldChg chg="add">
        <pc:chgData name="Andreas Koksrud" userId="9d9beba6-c052-407a-8599-c781a677a996" providerId="ADAL" clId="{8658473B-F8B0-412E-ABD9-785EC206476C}" dt="2024-08-31T13:35:50.509" v="15996"/>
        <pc:sldMkLst>
          <pc:docMk/>
          <pc:sldMk cId="3711552670" sldId="1029"/>
        </pc:sldMkLst>
      </pc:sldChg>
      <pc:sldChg chg="add">
        <pc:chgData name="Andreas Koksrud" userId="9d9beba6-c052-407a-8599-c781a677a996" providerId="ADAL" clId="{8658473B-F8B0-412E-ABD9-785EC206476C}" dt="2024-08-31T13:35:50.509" v="15996"/>
        <pc:sldMkLst>
          <pc:docMk/>
          <pc:sldMk cId="2014202690" sldId="1030"/>
        </pc:sldMkLst>
      </pc:sldChg>
      <pc:sldChg chg="add">
        <pc:chgData name="Andreas Koksrud" userId="9d9beba6-c052-407a-8599-c781a677a996" providerId="ADAL" clId="{8658473B-F8B0-412E-ABD9-785EC206476C}" dt="2024-08-31T13:35:50.509" v="15996"/>
        <pc:sldMkLst>
          <pc:docMk/>
          <pc:sldMk cId="2968854425" sldId="1031"/>
        </pc:sldMkLst>
      </pc:sldChg>
      <pc:sldChg chg="add">
        <pc:chgData name="Andreas Koksrud" userId="9d9beba6-c052-407a-8599-c781a677a996" providerId="ADAL" clId="{8658473B-F8B0-412E-ABD9-785EC206476C}" dt="2024-08-31T13:41:02.903" v="15998"/>
        <pc:sldMkLst>
          <pc:docMk/>
          <pc:sldMk cId="4047344701" sldId="1032"/>
        </pc:sldMkLst>
      </pc:sldChg>
      <pc:sldChg chg="add">
        <pc:chgData name="Andreas Koksrud" userId="9d9beba6-c052-407a-8599-c781a677a996" providerId="ADAL" clId="{8658473B-F8B0-412E-ABD9-785EC206476C}" dt="2024-08-31T13:41:02.903" v="15998"/>
        <pc:sldMkLst>
          <pc:docMk/>
          <pc:sldMk cId="1947472829" sldId="1033"/>
        </pc:sldMkLst>
      </pc:sldChg>
      <pc:sldChg chg="add">
        <pc:chgData name="Andreas Koksrud" userId="9d9beba6-c052-407a-8599-c781a677a996" providerId="ADAL" clId="{8658473B-F8B0-412E-ABD9-785EC206476C}" dt="2024-08-31T13:41:02.903" v="15998"/>
        <pc:sldMkLst>
          <pc:docMk/>
          <pc:sldMk cId="2174136788" sldId="1034"/>
        </pc:sldMkLst>
      </pc:sldChg>
      <pc:sldChg chg="add">
        <pc:chgData name="Andreas Koksrud" userId="9d9beba6-c052-407a-8599-c781a677a996" providerId="ADAL" clId="{8658473B-F8B0-412E-ABD9-785EC206476C}" dt="2024-08-31T13:41:02.903" v="15998"/>
        <pc:sldMkLst>
          <pc:docMk/>
          <pc:sldMk cId="3392110555" sldId="1036"/>
        </pc:sldMkLst>
      </pc:sldChg>
      <pc:sldChg chg="add">
        <pc:chgData name="Andreas Koksrud" userId="9d9beba6-c052-407a-8599-c781a677a996" providerId="ADAL" clId="{8658473B-F8B0-412E-ABD9-785EC206476C}" dt="2024-08-31T13:41:02.903" v="15998"/>
        <pc:sldMkLst>
          <pc:docMk/>
          <pc:sldMk cId="4211826044" sldId="1037"/>
        </pc:sldMkLst>
      </pc:sldChg>
      <pc:sldChg chg="add">
        <pc:chgData name="Andreas Koksrud" userId="9d9beba6-c052-407a-8599-c781a677a996" providerId="ADAL" clId="{8658473B-F8B0-412E-ABD9-785EC206476C}" dt="2024-08-31T13:41:02.903" v="15998"/>
        <pc:sldMkLst>
          <pc:docMk/>
          <pc:sldMk cId="835930409" sldId="1038"/>
        </pc:sldMkLst>
      </pc:sldChg>
      <pc:sldChg chg="add">
        <pc:chgData name="Andreas Koksrud" userId="9d9beba6-c052-407a-8599-c781a677a996" providerId="ADAL" clId="{8658473B-F8B0-412E-ABD9-785EC206476C}" dt="2024-08-31T13:41:02.903" v="15998"/>
        <pc:sldMkLst>
          <pc:docMk/>
          <pc:sldMk cId="2180325670" sldId="1039"/>
        </pc:sldMkLst>
      </pc:sldChg>
      <pc:sldChg chg="modSp add mod">
        <pc:chgData name="Andreas Koksrud" userId="9d9beba6-c052-407a-8599-c781a677a996" providerId="ADAL" clId="{8658473B-F8B0-412E-ABD9-785EC206476C}" dt="2024-08-31T13:41:58.021" v="16114" actId="20577"/>
        <pc:sldMkLst>
          <pc:docMk/>
          <pc:sldMk cId="3112639055" sldId="1040"/>
        </pc:sldMkLst>
        <pc:spChg chg="mod">
          <ac:chgData name="Andreas Koksrud" userId="9d9beba6-c052-407a-8599-c781a677a996" providerId="ADAL" clId="{8658473B-F8B0-412E-ABD9-785EC206476C}" dt="2024-08-31T13:41:58.021" v="16114" actId="20577"/>
          <ac:spMkLst>
            <pc:docMk/>
            <pc:sldMk cId="3112639055" sldId="1040"/>
            <ac:spMk id="180" creationId="{00000000-0000-0000-0000-000000000000}"/>
          </ac:spMkLst>
        </pc:spChg>
      </pc:sldChg>
      <pc:sldChg chg="add">
        <pc:chgData name="Andreas Koksrud" userId="9d9beba6-c052-407a-8599-c781a677a996" providerId="ADAL" clId="{8658473B-F8B0-412E-ABD9-785EC206476C}" dt="2024-08-31T13:35:50.509" v="15996"/>
        <pc:sldMkLst>
          <pc:docMk/>
          <pc:sldMk cId="400240892" sldId="1041"/>
        </pc:sldMkLst>
      </pc:sldChg>
      <pc:sldChg chg="add">
        <pc:chgData name="Andreas Koksrud" userId="9d9beba6-c052-407a-8599-c781a677a996" providerId="ADAL" clId="{8658473B-F8B0-412E-ABD9-785EC206476C}" dt="2024-08-31T13:35:50.509" v="15996"/>
        <pc:sldMkLst>
          <pc:docMk/>
          <pc:sldMk cId="3405457858" sldId="1042"/>
        </pc:sldMkLst>
      </pc:sldChg>
      <pc:sldChg chg="add">
        <pc:chgData name="Andreas Koksrud" userId="9d9beba6-c052-407a-8599-c781a677a996" providerId="ADAL" clId="{8658473B-F8B0-412E-ABD9-785EC206476C}" dt="2024-08-31T13:41:02.903" v="15998"/>
        <pc:sldMkLst>
          <pc:docMk/>
          <pc:sldMk cId="1650318171" sldId="1043"/>
        </pc:sldMkLst>
      </pc:sldChg>
      <pc:sldChg chg="add">
        <pc:chgData name="Andreas Koksrud" userId="9d9beba6-c052-407a-8599-c781a677a996" providerId="ADAL" clId="{8658473B-F8B0-412E-ABD9-785EC206476C}" dt="2024-08-31T13:41:02.903" v="15998"/>
        <pc:sldMkLst>
          <pc:docMk/>
          <pc:sldMk cId="3684540684" sldId="1044"/>
        </pc:sldMkLst>
      </pc:sldChg>
    </pc:docChg>
  </pc:docChgLst>
  <pc:docChgLst>
    <pc:chgData name="Andreas Koksrud" userId="9d9beba6-c052-407a-8599-c781a677a996" providerId="ADAL" clId="{D90E9FCB-AD04-4588-AEA5-A4859D811C8A}"/>
    <pc:docChg chg="undo custSel modSld">
      <pc:chgData name="Andreas Koksrud" userId="9d9beba6-c052-407a-8599-c781a677a996" providerId="ADAL" clId="{D90E9FCB-AD04-4588-AEA5-A4859D811C8A}" dt="2024-10-17T11:16:19.523" v="838" actId="20577"/>
      <pc:docMkLst>
        <pc:docMk/>
      </pc:docMkLst>
      <pc:sldChg chg="modSp mod">
        <pc:chgData name="Andreas Koksrud" userId="9d9beba6-c052-407a-8599-c781a677a996" providerId="ADAL" clId="{D90E9FCB-AD04-4588-AEA5-A4859D811C8A}" dt="2024-10-09T11:05:13.695" v="168" actId="20577"/>
        <pc:sldMkLst>
          <pc:docMk/>
          <pc:sldMk cId="590634226" sldId="798"/>
        </pc:sldMkLst>
        <pc:spChg chg="mod">
          <ac:chgData name="Andreas Koksrud" userId="9d9beba6-c052-407a-8599-c781a677a996" providerId="ADAL" clId="{D90E9FCB-AD04-4588-AEA5-A4859D811C8A}" dt="2024-10-09T11:05:13.695" v="168" actId="20577"/>
          <ac:spMkLst>
            <pc:docMk/>
            <pc:sldMk cId="590634226" sldId="798"/>
            <ac:spMk id="7" creationId="{9D948326-BCA3-067B-13C0-E4DE9721139E}"/>
          </ac:spMkLst>
        </pc:spChg>
        <pc:spChg chg="mod">
          <ac:chgData name="Andreas Koksrud" userId="9d9beba6-c052-407a-8599-c781a677a996" providerId="ADAL" clId="{D90E9FCB-AD04-4588-AEA5-A4859D811C8A}" dt="2024-10-04T14:00:29.368" v="152" actId="20577"/>
          <ac:spMkLst>
            <pc:docMk/>
            <pc:sldMk cId="590634226" sldId="798"/>
            <ac:spMk id="181" creationId="{00000000-0000-0000-0000-000000000000}"/>
          </ac:spMkLst>
        </pc:spChg>
        <pc:cxnChg chg="mod">
          <ac:chgData name="Andreas Koksrud" userId="9d9beba6-c052-407a-8599-c781a677a996" providerId="ADAL" clId="{D90E9FCB-AD04-4588-AEA5-A4859D811C8A}" dt="2024-10-04T14:00:47.932" v="155" actId="14100"/>
          <ac:cxnSpMkLst>
            <pc:docMk/>
            <pc:sldMk cId="590634226" sldId="798"/>
            <ac:cxnSpMk id="5" creationId="{EB0AFE33-3051-7CFA-D02E-35FB4C5133C6}"/>
          </ac:cxnSpMkLst>
        </pc:cxnChg>
      </pc:sldChg>
      <pc:sldChg chg="modSp mod">
        <pc:chgData name="Andreas Koksrud" userId="9d9beba6-c052-407a-8599-c781a677a996" providerId="ADAL" clId="{D90E9FCB-AD04-4588-AEA5-A4859D811C8A}" dt="2024-10-08T14:40:13.452" v="164" actId="20577"/>
        <pc:sldMkLst>
          <pc:docMk/>
          <pc:sldMk cId="3782901869" sldId="851"/>
        </pc:sldMkLst>
        <pc:spChg chg="mod">
          <ac:chgData name="Andreas Koksrud" userId="9d9beba6-c052-407a-8599-c781a677a996" providerId="ADAL" clId="{D90E9FCB-AD04-4588-AEA5-A4859D811C8A}" dt="2024-10-08T14:40:13.452" v="164" actId="20577"/>
          <ac:spMkLst>
            <pc:docMk/>
            <pc:sldMk cId="3782901869" sldId="851"/>
            <ac:spMk id="2" creationId="{6B539DEF-BEF0-2AA6-A90D-BC67AC4C73CD}"/>
          </ac:spMkLst>
        </pc:spChg>
      </pc:sldChg>
      <pc:sldChg chg="addSp delSp modSp mod">
        <pc:chgData name="Andreas Koksrud" userId="9d9beba6-c052-407a-8599-c781a677a996" providerId="ADAL" clId="{D90E9FCB-AD04-4588-AEA5-A4859D811C8A}" dt="2024-10-04T13:41:43.909" v="144" actId="1036"/>
        <pc:sldMkLst>
          <pc:docMk/>
          <pc:sldMk cId="2554802186" sldId="861"/>
        </pc:sldMkLst>
        <pc:spChg chg="ord">
          <ac:chgData name="Andreas Koksrud" userId="9d9beba6-c052-407a-8599-c781a677a996" providerId="ADAL" clId="{D90E9FCB-AD04-4588-AEA5-A4859D811C8A}" dt="2024-10-04T13:40:58.218" v="141" actId="167"/>
          <ac:spMkLst>
            <pc:docMk/>
            <pc:sldMk cId="2554802186" sldId="861"/>
            <ac:spMk id="2" creationId="{9796E8C1-5924-9DB3-B51B-75296717F89F}"/>
          </ac:spMkLst>
        </pc:spChg>
        <pc:spChg chg="add mod">
          <ac:chgData name="Andreas Koksrud" userId="9d9beba6-c052-407a-8599-c781a677a996" providerId="ADAL" clId="{D90E9FCB-AD04-4588-AEA5-A4859D811C8A}" dt="2024-10-04T13:40:16.013" v="136" actId="20577"/>
          <ac:spMkLst>
            <pc:docMk/>
            <pc:sldMk cId="2554802186" sldId="861"/>
            <ac:spMk id="4" creationId="{029ED1AA-DA0B-547F-1943-6B940D5DB07C}"/>
          </ac:spMkLst>
        </pc:spChg>
        <pc:picChg chg="add mod ord">
          <ac:chgData name="Andreas Koksrud" userId="9d9beba6-c052-407a-8599-c781a677a996" providerId="ADAL" clId="{D90E9FCB-AD04-4588-AEA5-A4859D811C8A}" dt="2024-10-04T13:41:43.909" v="144" actId="1036"/>
          <ac:picMkLst>
            <pc:docMk/>
            <pc:sldMk cId="2554802186" sldId="861"/>
            <ac:picMk id="6" creationId="{BC118955-017A-7218-BB6B-D0BB0299B8CD}"/>
          </ac:picMkLst>
        </pc:picChg>
        <pc:picChg chg="del">
          <ac:chgData name="Andreas Koksrud" userId="9d9beba6-c052-407a-8599-c781a677a996" providerId="ADAL" clId="{D90E9FCB-AD04-4588-AEA5-A4859D811C8A}" dt="2024-10-04T13:40:43.376" v="137" actId="478"/>
          <ac:picMkLst>
            <pc:docMk/>
            <pc:sldMk cId="2554802186" sldId="861"/>
            <ac:picMk id="23" creationId="{CA5F30C5-DF2C-3B95-27FE-FD055CD54F50}"/>
          </ac:picMkLst>
        </pc:picChg>
        <pc:cxnChg chg="mod">
          <ac:chgData name="Andreas Koksrud" userId="9d9beba6-c052-407a-8599-c781a677a996" providerId="ADAL" clId="{D90E9FCB-AD04-4588-AEA5-A4859D811C8A}" dt="2024-10-04T13:41:18.222" v="142" actId="208"/>
          <ac:cxnSpMkLst>
            <pc:docMk/>
            <pc:sldMk cId="2554802186" sldId="861"/>
            <ac:cxnSpMk id="10" creationId="{114731E6-C0B6-42E8-0546-511317D59522}"/>
          </ac:cxnSpMkLst>
        </pc:cxnChg>
      </pc:sldChg>
      <pc:sldChg chg="modSp mod">
        <pc:chgData name="Andreas Koksrud" userId="9d9beba6-c052-407a-8599-c781a677a996" providerId="ADAL" clId="{D90E9FCB-AD04-4588-AEA5-A4859D811C8A}" dt="2024-10-09T19:37:47.085" v="686" actId="15"/>
        <pc:sldMkLst>
          <pc:docMk/>
          <pc:sldMk cId="2439861555" sldId="905"/>
        </pc:sldMkLst>
        <pc:spChg chg="mod">
          <ac:chgData name="Andreas Koksrud" userId="9d9beba6-c052-407a-8599-c781a677a996" providerId="ADAL" clId="{D90E9FCB-AD04-4588-AEA5-A4859D811C8A}" dt="2024-10-09T19:37:47.085" v="686" actId="15"/>
          <ac:spMkLst>
            <pc:docMk/>
            <pc:sldMk cId="2439861555" sldId="905"/>
            <ac:spMk id="181" creationId="{00000000-0000-0000-0000-000000000000}"/>
          </ac:spMkLst>
        </pc:spChg>
      </pc:sldChg>
      <pc:sldChg chg="modSp mod">
        <pc:chgData name="Andreas Koksrud" userId="9d9beba6-c052-407a-8599-c781a677a996" providerId="ADAL" clId="{D90E9FCB-AD04-4588-AEA5-A4859D811C8A}" dt="2024-10-09T19:44:43.629" v="823" actId="20577"/>
        <pc:sldMkLst>
          <pc:docMk/>
          <pc:sldMk cId="100500619" sldId="934"/>
        </pc:sldMkLst>
        <pc:spChg chg="mod">
          <ac:chgData name="Andreas Koksrud" userId="9d9beba6-c052-407a-8599-c781a677a996" providerId="ADAL" clId="{D90E9FCB-AD04-4588-AEA5-A4859D811C8A}" dt="2024-10-09T19:44:43.629" v="823" actId="20577"/>
          <ac:spMkLst>
            <pc:docMk/>
            <pc:sldMk cId="100500619" sldId="934"/>
            <ac:spMk id="2" creationId="{6B539DEF-BEF0-2AA6-A90D-BC67AC4C73CD}"/>
          </ac:spMkLst>
        </pc:spChg>
      </pc:sldChg>
      <pc:sldChg chg="addSp delSp modSp mod">
        <pc:chgData name="Andreas Koksrud" userId="9d9beba6-c052-407a-8599-c781a677a996" providerId="ADAL" clId="{D90E9FCB-AD04-4588-AEA5-A4859D811C8A}" dt="2024-10-09T19:39:34.423" v="717" actId="478"/>
        <pc:sldMkLst>
          <pc:docMk/>
          <pc:sldMk cId="2919214617" sldId="972"/>
        </pc:sldMkLst>
        <pc:spChg chg="add del mod">
          <ac:chgData name="Andreas Koksrud" userId="9d9beba6-c052-407a-8599-c781a677a996" providerId="ADAL" clId="{D90E9FCB-AD04-4588-AEA5-A4859D811C8A}" dt="2024-10-09T19:39:34.423" v="717" actId="478"/>
          <ac:spMkLst>
            <pc:docMk/>
            <pc:sldMk cId="2919214617" sldId="972"/>
            <ac:spMk id="7" creationId="{5C2ADD88-67FF-D7C5-6ED3-17786FAAB5AB}"/>
          </ac:spMkLst>
        </pc:spChg>
        <pc:spChg chg="mod">
          <ac:chgData name="Andreas Koksrud" userId="9d9beba6-c052-407a-8599-c781a677a996" providerId="ADAL" clId="{D90E9FCB-AD04-4588-AEA5-A4859D811C8A}" dt="2024-10-09T19:39:29.380" v="716" actId="404"/>
          <ac:spMkLst>
            <pc:docMk/>
            <pc:sldMk cId="2919214617" sldId="972"/>
            <ac:spMk id="181" creationId="{00000000-0000-0000-0000-000000000000}"/>
          </ac:spMkLst>
        </pc:spChg>
      </pc:sldChg>
      <pc:sldChg chg="addSp modSp mod">
        <pc:chgData name="Andreas Koksrud" userId="9d9beba6-c052-407a-8599-c781a677a996" providerId="ADAL" clId="{D90E9FCB-AD04-4588-AEA5-A4859D811C8A}" dt="2024-10-04T13:29:56.246" v="86" actId="1076"/>
        <pc:sldMkLst>
          <pc:docMk/>
          <pc:sldMk cId="520098437" sldId="977"/>
        </pc:sldMkLst>
        <pc:spChg chg="mod">
          <ac:chgData name="Andreas Koksrud" userId="9d9beba6-c052-407a-8599-c781a677a996" providerId="ADAL" clId="{D90E9FCB-AD04-4588-AEA5-A4859D811C8A}" dt="2024-10-04T13:27:57.995" v="84" actId="20577"/>
          <ac:spMkLst>
            <pc:docMk/>
            <pc:sldMk cId="520098437" sldId="977"/>
            <ac:spMk id="2" creationId="{9796E8C1-5924-9DB3-B51B-75296717F89F}"/>
          </ac:spMkLst>
        </pc:spChg>
        <pc:picChg chg="add mod">
          <ac:chgData name="Andreas Koksrud" userId="9d9beba6-c052-407a-8599-c781a677a996" providerId="ADAL" clId="{D90E9FCB-AD04-4588-AEA5-A4859D811C8A}" dt="2024-10-04T13:26:40.050" v="4" actId="1076"/>
          <ac:picMkLst>
            <pc:docMk/>
            <pc:sldMk cId="520098437" sldId="977"/>
            <ac:picMk id="9" creationId="{11A2CC67-3623-7B51-8FA5-9D6E230874A9}"/>
          </ac:picMkLst>
        </pc:picChg>
        <pc:picChg chg="add mod">
          <ac:chgData name="Andreas Koksrud" userId="9d9beba6-c052-407a-8599-c781a677a996" providerId="ADAL" clId="{D90E9FCB-AD04-4588-AEA5-A4859D811C8A}" dt="2024-10-04T13:29:56.246" v="86" actId="1076"/>
          <ac:picMkLst>
            <pc:docMk/>
            <pc:sldMk cId="520098437" sldId="977"/>
            <ac:picMk id="15" creationId="{4AA94A67-2A3F-CBCB-438A-8C46F4CD21EE}"/>
          </ac:picMkLst>
        </pc:picChg>
        <pc:cxnChg chg="add mod">
          <ac:chgData name="Andreas Koksrud" userId="9d9beba6-c052-407a-8599-c781a677a996" providerId="ADAL" clId="{D90E9FCB-AD04-4588-AEA5-A4859D811C8A}" dt="2024-10-04T13:26:48.203" v="6" actId="14100"/>
          <ac:cxnSpMkLst>
            <pc:docMk/>
            <pc:sldMk cId="520098437" sldId="977"/>
            <ac:cxnSpMk id="12" creationId="{C8E0D512-A9F1-D641-BE05-073A2FD931B0}"/>
          </ac:cxnSpMkLst>
        </pc:cxnChg>
      </pc:sldChg>
      <pc:sldChg chg="modSp mod">
        <pc:chgData name="Andreas Koksrud" userId="9d9beba6-c052-407a-8599-c781a677a996" providerId="ADAL" clId="{D90E9FCB-AD04-4588-AEA5-A4859D811C8A}" dt="2024-10-04T13:45:41.644" v="150" actId="20577"/>
        <pc:sldMkLst>
          <pc:docMk/>
          <pc:sldMk cId="2373732333" sldId="985"/>
        </pc:sldMkLst>
        <pc:spChg chg="mod">
          <ac:chgData name="Andreas Koksrud" userId="9d9beba6-c052-407a-8599-c781a677a996" providerId="ADAL" clId="{D90E9FCB-AD04-4588-AEA5-A4859D811C8A}" dt="2024-10-04T13:45:41.644" v="150" actId="20577"/>
          <ac:spMkLst>
            <pc:docMk/>
            <pc:sldMk cId="2373732333" sldId="985"/>
            <ac:spMk id="2" creationId="{9796E8C1-5924-9DB3-B51B-75296717F89F}"/>
          </ac:spMkLst>
        </pc:spChg>
      </pc:sldChg>
      <pc:sldChg chg="modSp mod">
        <pc:chgData name="Andreas Koksrud" userId="9d9beba6-c052-407a-8599-c781a677a996" providerId="ADAL" clId="{D90E9FCB-AD04-4588-AEA5-A4859D811C8A}" dt="2024-10-17T11:14:59.824" v="826" actId="14826"/>
        <pc:sldMkLst>
          <pc:docMk/>
          <pc:sldMk cId="2368825724" sldId="1016"/>
        </pc:sldMkLst>
        <pc:spChg chg="mod">
          <ac:chgData name="Andreas Koksrud" userId="9d9beba6-c052-407a-8599-c781a677a996" providerId="ADAL" clId="{D90E9FCB-AD04-4588-AEA5-A4859D811C8A}" dt="2024-10-17T11:13:36.086" v="825" actId="20577"/>
          <ac:spMkLst>
            <pc:docMk/>
            <pc:sldMk cId="2368825724" sldId="1016"/>
            <ac:spMk id="181" creationId="{00000000-0000-0000-0000-000000000000}"/>
          </ac:spMkLst>
        </pc:spChg>
        <pc:picChg chg="mod">
          <ac:chgData name="Andreas Koksrud" userId="9d9beba6-c052-407a-8599-c781a677a996" providerId="ADAL" clId="{D90E9FCB-AD04-4588-AEA5-A4859D811C8A}" dt="2024-10-17T11:14:59.824" v="826" actId="14826"/>
          <ac:picMkLst>
            <pc:docMk/>
            <pc:sldMk cId="2368825724" sldId="1016"/>
            <ac:picMk id="6" creationId="{2A7F917D-57A6-35B3-37E0-87C864FB9827}"/>
          </ac:picMkLst>
        </pc:picChg>
      </pc:sldChg>
      <pc:sldChg chg="modSp mod">
        <pc:chgData name="Andreas Koksrud" userId="9d9beba6-c052-407a-8599-c781a677a996" providerId="ADAL" clId="{D90E9FCB-AD04-4588-AEA5-A4859D811C8A}" dt="2024-10-17T11:15:55.545" v="832" actId="20577"/>
        <pc:sldMkLst>
          <pc:docMk/>
          <pc:sldMk cId="4267861102" sldId="1017"/>
        </pc:sldMkLst>
        <pc:spChg chg="mod">
          <ac:chgData name="Andreas Koksrud" userId="9d9beba6-c052-407a-8599-c781a677a996" providerId="ADAL" clId="{D90E9FCB-AD04-4588-AEA5-A4859D811C8A}" dt="2024-10-17T11:15:55.545" v="832" actId="20577"/>
          <ac:spMkLst>
            <pc:docMk/>
            <pc:sldMk cId="4267861102" sldId="1017"/>
            <ac:spMk id="8" creationId="{4D3D1687-1D2E-1A8A-3ED6-9302F8EB7F70}"/>
          </ac:spMkLst>
        </pc:spChg>
      </pc:sldChg>
      <pc:sldChg chg="modSp mod">
        <pc:chgData name="Andreas Koksrud" userId="9d9beba6-c052-407a-8599-c781a677a996" providerId="ADAL" clId="{D90E9FCB-AD04-4588-AEA5-A4859D811C8A}" dt="2024-10-17T11:16:19.523" v="838" actId="20577"/>
        <pc:sldMkLst>
          <pc:docMk/>
          <pc:sldMk cId="3670871975" sldId="1023"/>
        </pc:sldMkLst>
        <pc:spChg chg="mod">
          <ac:chgData name="Andreas Koksrud" userId="9d9beba6-c052-407a-8599-c781a677a996" providerId="ADAL" clId="{D90E9FCB-AD04-4588-AEA5-A4859D811C8A}" dt="2024-10-17T11:16:19.523" v="838" actId="20577"/>
          <ac:spMkLst>
            <pc:docMk/>
            <pc:sldMk cId="3670871975" sldId="1023"/>
            <ac:spMk id="2" creationId="{A83FBEA2-5CFE-C286-AFB4-50F60E58E24E}"/>
          </ac:spMkLst>
        </pc:spChg>
      </pc:sldChg>
      <pc:sldChg chg="modSp mod">
        <pc:chgData name="Andreas Koksrud" userId="9d9beba6-c052-407a-8599-c781a677a996" providerId="ADAL" clId="{D90E9FCB-AD04-4588-AEA5-A4859D811C8A}" dt="2024-10-09T11:20:40.228" v="639" actId="6549"/>
        <pc:sldMkLst>
          <pc:docMk/>
          <pc:sldMk cId="3711552670" sldId="1029"/>
        </pc:sldMkLst>
        <pc:spChg chg="mod">
          <ac:chgData name="Andreas Koksrud" userId="9d9beba6-c052-407a-8599-c781a677a996" providerId="ADAL" clId="{D90E9FCB-AD04-4588-AEA5-A4859D811C8A}" dt="2024-10-09T11:20:40.228" v="639" actId="6549"/>
          <ac:spMkLst>
            <pc:docMk/>
            <pc:sldMk cId="3711552670" sldId="1029"/>
            <ac:spMk id="6" creationId="{5485B025-69EF-89C1-6489-284E2DAA1110}"/>
          </ac:spMkLst>
        </pc:spChg>
      </pc:sldChg>
      <pc:sldChg chg="modSp mod">
        <pc:chgData name="Andreas Koksrud" userId="9d9beba6-c052-407a-8599-c781a677a996" providerId="ADAL" clId="{D90E9FCB-AD04-4588-AEA5-A4859D811C8A}" dt="2024-10-09T19:43:16.735" v="822" actId="404"/>
        <pc:sldMkLst>
          <pc:docMk/>
          <pc:sldMk cId="3287255161" sldId="1060"/>
        </pc:sldMkLst>
        <pc:spChg chg="mod">
          <ac:chgData name="Andreas Koksrud" userId="9d9beba6-c052-407a-8599-c781a677a996" providerId="ADAL" clId="{D90E9FCB-AD04-4588-AEA5-A4859D811C8A}" dt="2024-10-09T19:43:16.735" v="822" actId="404"/>
          <ac:spMkLst>
            <pc:docMk/>
            <pc:sldMk cId="3287255161" sldId="1060"/>
            <ac:spMk id="9" creationId="{1332ADAB-347F-B30A-F36B-957ADACDE929}"/>
          </ac:spMkLst>
        </pc:spChg>
      </pc:sldChg>
      <pc:sldChg chg="modSp mod">
        <pc:chgData name="Andreas Koksrud" userId="9d9beba6-c052-407a-8599-c781a677a996" providerId="ADAL" clId="{D90E9FCB-AD04-4588-AEA5-A4859D811C8A}" dt="2024-10-09T19:40:49.339" v="808" actId="20577"/>
        <pc:sldMkLst>
          <pc:docMk/>
          <pc:sldMk cId="1613799897" sldId="1066"/>
        </pc:sldMkLst>
        <pc:spChg chg="mod">
          <ac:chgData name="Andreas Koksrud" userId="9d9beba6-c052-407a-8599-c781a677a996" providerId="ADAL" clId="{D90E9FCB-AD04-4588-AEA5-A4859D811C8A}" dt="2024-10-09T19:40:49.339" v="808" actId="20577"/>
          <ac:spMkLst>
            <pc:docMk/>
            <pc:sldMk cId="1613799897" sldId="1066"/>
            <ac:spMk id="181" creationId="{00000000-0000-0000-0000-000000000000}"/>
          </ac:spMkLst>
        </pc:spChg>
      </pc:sldChg>
      <pc:sldChg chg="modSp mod">
        <pc:chgData name="Andreas Koksrud" userId="9d9beba6-c052-407a-8599-c781a677a996" providerId="ADAL" clId="{D90E9FCB-AD04-4588-AEA5-A4859D811C8A}" dt="2024-10-09T19:41:18.608" v="813" actId="255"/>
        <pc:sldMkLst>
          <pc:docMk/>
          <pc:sldMk cId="2863027163" sldId="1067"/>
        </pc:sldMkLst>
        <pc:spChg chg="mod">
          <ac:chgData name="Andreas Koksrud" userId="9d9beba6-c052-407a-8599-c781a677a996" providerId="ADAL" clId="{D90E9FCB-AD04-4588-AEA5-A4859D811C8A}" dt="2024-10-09T19:41:18.608" v="813" actId="255"/>
          <ac:spMkLst>
            <pc:docMk/>
            <pc:sldMk cId="2863027163" sldId="1067"/>
            <ac:spMk id="181" creationId="{00000000-0000-0000-0000-000000000000}"/>
          </ac:spMkLst>
        </pc:spChg>
      </pc:sldChg>
      <pc:sldChg chg="modSp mod">
        <pc:chgData name="Andreas Koksrud" userId="9d9beba6-c052-407a-8599-c781a677a996" providerId="ADAL" clId="{D90E9FCB-AD04-4588-AEA5-A4859D811C8A}" dt="2024-10-09T19:41:49.773" v="821" actId="20577"/>
        <pc:sldMkLst>
          <pc:docMk/>
          <pc:sldMk cId="2643410201" sldId="1068"/>
        </pc:sldMkLst>
        <pc:spChg chg="mod">
          <ac:chgData name="Andreas Koksrud" userId="9d9beba6-c052-407a-8599-c781a677a996" providerId="ADAL" clId="{D90E9FCB-AD04-4588-AEA5-A4859D811C8A}" dt="2024-10-09T19:41:49.773" v="821" actId="20577"/>
          <ac:spMkLst>
            <pc:docMk/>
            <pc:sldMk cId="2643410201" sldId="1068"/>
            <ac:spMk id="181" creationId="{00000000-0000-0000-0000-000000000000}"/>
          </ac:spMkLst>
        </pc:spChg>
      </pc:sldChg>
    </pc:docChg>
  </pc:docChgLst>
  <pc:docChgLst>
    <pc:chgData name="Koksrud Andreas" userId="9d9beba6-c052-407a-8599-c781a677a996" providerId="ADAL" clId="{A12B80E5-82E9-4617-B0D5-DF0FC4BDED9A}"/>
    <pc:docChg chg="undo custSel addSld modSld">
      <pc:chgData name="Koksrud Andreas" userId="9d9beba6-c052-407a-8599-c781a677a996" providerId="ADAL" clId="{A12B80E5-82E9-4617-B0D5-DF0FC4BDED9A}" dt="2022-01-14T10:17:10.042" v="502" actId="1036"/>
      <pc:docMkLst>
        <pc:docMk/>
      </pc:docMkLst>
      <pc:sldChg chg="addSp modSp mod">
        <pc:chgData name="Koksrud Andreas" userId="9d9beba6-c052-407a-8599-c781a677a996" providerId="ADAL" clId="{A12B80E5-82E9-4617-B0D5-DF0FC4BDED9A}" dt="2022-01-14T09:54:35.855" v="55" actId="962"/>
        <pc:sldMkLst>
          <pc:docMk/>
          <pc:sldMk cId="662028914" sldId="756"/>
        </pc:sldMkLst>
        <pc:spChg chg="mod">
          <ac:chgData name="Koksrud Andreas" userId="9d9beba6-c052-407a-8599-c781a677a996" providerId="ADAL" clId="{A12B80E5-82E9-4617-B0D5-DF0FC4BDED9A}" dt="2022-01-14T09:53:17.586" v="52" actId="6549"/>
          <ac:spMkLst>
            <pc:docMk/>
            <pc:sldMk cId="662028914" sldId="756"/>
            <ac:spMk id="181" creationId="{00000000-0000-0000-0000-000000000000}"/>
          </ac:spMkLst>
        </pc:spChg>
        <pc:picChg chg="add mod">
          <ac:chgData name="Koksrud Andreas" userId="9d9beba6-c052-407a-8599-c781a677a996" providerId="ADAL" clId="{A12B80E5-82E9-4617-B0D5-DF0FC4BDED9A}" dt="2022-01-14T09:54:35.855" v="55" actId="962"/>
          <ac:picMkLst>
            <pc:docMk/>
            <pc:sldMk cId="662028914" sldId="756"/>
            <ac:picMk id="3" creationId="{CA340183-2C69-459C-B076-84B2B0C7CE08}"/>
          </ac:picMkLst>
        </pc:picChg>
      </pc:sldChg>
      <pc:sldChg chg="modSp mod">
        <pc:chgData name="Koksrud Andreas" userId="9d9beba6-c052-407a-8599-c781a677a996" providerId="ADAL" clId="{A12B80E5-82E9-4617-B0D5-DF0FC4BDED9A}" dt="2022-01-14T10:05:45.246" v="210" actId="20577"/>
        <pc:sldMkLst>
          <pc:docMk/>
          <pc:sldMk cId="2706780473" sldId="758"/>
        </pc:sldMkLst>
        <pc:spChg chg="mod">
          <ac:chgData name="Koksrud Andreas" userId="9d9beba6-c052-407a-8599-c781a677a996" providerId="ADAL" clId="{A12B80E5-82E9-4617-B0D5-DF0FC4BDED9A}" dt="2022-01-14T10:05:45.246" v="210" actId="20577"/>
          <ac:spMkLst>
            <pc:docMk/>
            <pc:sldMk cId="2706780473" sldId="758"/>
            <ac:spMk id="181" creationId="{00000000-0000-0000-0000-000000000000}"/>
          </ac:spMkLst>
        </pc:spChg>
      </pc:sldChg>
      <pc:sldChg chg="addSp modSp mod">
        <pc:chgData name="Koksrud Andreas" userId="9d9beba6-c052-407a-8599-c781a677a996" providerId="ADAL" clId="{A12B80E5-82E9-4617-B0D5-DF0FC4BDED9A}" dt="2022-01-14T10:07:58.673" v="308" actId="14100"/>
        <pc:sldMkLst>
          <pc:docMk/>
          <pc:sldMk cId="2616277657" sldId="759"/>
        </pc:sldMkLst>
        <pc:spChg chg="add mod">
          <ac:chgData name="Koksrud Andreas" userId="9d9beba6-c052-407a-8599-c781a677a996" providerId="ADAL" clId="{A12B80E5-82E9-4617-B0D5-DF0FC4BDED9A}" dt="2022-01-14T10:07:28.262" v="262" actId="1037"/>
          <ac:spMkLst>
            <pc:docMk/>
            <pc:sldMk cId="2616277657" sldId="759"/>
            <ac:spMk id="7" creationId="{057256A9-CE24-48F0-B224-87E513B25626}"/>
          </ac:spMkLst>
        </pc:spChg>
        <pc:spChg chg="add mod">
          <ac:chgData name="Koksrud Andreas" userId="9d9beba6-c052-407a-8599-c781a677a996" providerId="ADAL" clId="{A12B80E5-82E9-4617-B0D5-DF0FC4BDED9A}" dt="2022-01-14T10:07:58.673" v="308" actId="14100"/>
          <ac:spMkLst>
            <pc:docMk/>
            <pc:sldMk cId="2616277657" sldId="759"/>
            <ac:spMk id="11" creationId="{2B79CFAE-1AF3-4F63-B7DA-B503CC9BE65E}"/>
          </ac:spMkLst>
        </pc:spChg>
        <pc:cxnChg chg="add">
          <ac:chgData name="Koksrud Andreas" userId="9d9beba6-c052-407a-8599-c781a677a996" providerId="ADAL" clId="{A12B80E5-82E9-4617-B0D5-DF0FC4BDED9A}" dt="2022-01-14T10:07:32.823" v="263" actId="11529"/>
          <ac:cxnSpMkLst>
            <pc:docMk/>
            <pc:sldMk cId="2616277657" sldId="759"/>
            <ac:cxnSpMk id="3" creationId="{9B8BD417-2D1A-48D1-B774-052B723D5C3A}"/>
          </ac:cxnSpMkLst>
        </pc:cxnChg>
      </pc:sldChg>
      <pc:sldChg chg="addSp modSp mod">
        <pc:chgData name="Koksrud Andreas" userId="9d9beba6-c052-407a-8599-c781a677a996" providerId="ADAL" clId="{A12B80E5-82E9-4617-B0D5-DF0FC4BDED9A}" dt="2022-01-14T10:15:05.999" v="446" actId="6549"/>
        <pc:sldMkLst>
          <pc:docMk/>
          <pc:sldMk cId="2033200031" sldId="766"/>
        </pc:sldMkLst>
        <pc:spChg chg="add mod">
          <ac:chgData name="Koksrud Andreas" userId="9d9beba6-c052-407a-8599-c781a677a996" providerId="ADAL" clId="{A12B80E5-82E9-4617-B0D5-DF0FC4BDED9A}" dt="2022-01-14T10:14:46.657" v="378" actId="20577"/>
          <ac:spMkLst>
            <pc:docMk/>
            <pc:sldMk cId="2033200031" sldId="766"/>
            <ac:spMk id="10" creationId="{BCB9F054-B12F-4A4C-9B7C-930E06BD0252}"/>
          </ac:spMkLst>
        </pc:spChg>
        <pc:spChg chg="add mod">
          <ac:chgData name="Koksrud Andreas" userId="9d9beba6-c052-407a-8599-c781a677a996" providerId="ADAL" clId="{A12B80E5-82E9-4617-B0D5-DF0FC4BDED9A}" dt="2022-01-14T10:15:05.999" v="446" actId="6549"/>
          <ac:spMkLst>
            <pc:docMk/>
            <pc:sldMk cId="2033200031" sldId="766"/>
            <ac:spMk id="11" creationId="{1E896A30-11CF-47AD-8A97-3DCB9ECDFEFF}"/>
          </ac:spMkLst>
        </pc:spChg>
        <pc:picChg chg="mod modCrop">
          <ac:chgData name="Koksrud Andreas" userId="9d9beba6-c052-407a-8599-c781a677a996" providerId="ADAL" clId="{A12B80E5-82E9-4617-B0D5-DF0FC4BDED9A}" dt="2022-01-14T10:13:48.193" v="312" actId="732"/>
          <ac:picMkLst>
            <pc:docMk/>
            <pc:sldMk cId="2033200031" sldId="766"/>
            <ac:picMk id="5" creationId="{C120A39A-9846-4024-B787-3853C5C0B5A8}"/>
          </ac:picMkLst>
        </pc:picChg>
        <pc:picChg chg="mod modCrop">
          <ac:chgData name="Koksrud Andreas" userId="9d9beba6-c052-407a-8599-c781a677a996" providerId="ADAL" clId="{A12B80E5-82E9-4617-B0D5-DF0FC4BDED9A}" dt="2022-01-14T10:13:42.641" v="311" actId="732"/>
          <ac:picMkLst>
            <pc:docMk/>
            <pc:sldMk cId="2033200031" sldId="766"/>
            <ac:picMk id="9" creationId="{DD0B6692-207D-4B02-B2CA-CC747FA17DA7}"/>
          </ac:picMkLst>
        </pc:picChg>
      </pc:sldChg>
      <pc:sldChg chg="modSp mod">
        <pc:chgData name="Koksrud Andreas" userId="9d9beba6-c052-407a-8599-c781a677a996" providerId="ADAL" clId="{A12B80E5-82E9-4617-B0D5-DF0FC4BDED9A}" dt="2022-01-14T10:17:10.042" v="502" actId="1036"/>
        <pc:sldMkLst>
          <pc:docMk/>
          <pc:sldMk cId="1447749266" sldId="777"/>
        </pc:sldMkLst>
        <pc:spChg chg="mod">
          <ac:chgData name="Koksrud Andreas" userId="9d9beba6-c052-407a-8599-c781a677a996" providerId="ADAL" clId="{A12B80E5-82E9-4617-B0D5-DF0FC4BDED9A}" dt="2022-01-14T10:17:03.468" v="470" actId="1037"/>
          <ac:spMkLst>
            <pc:docMk/>
            <pc:sldMk cId="1447749266" sldId="777"/>
            <ac:spMk id="8" creationId="{7E7FA496-1702-4376-A6B2-72E053A5EE4B}"/>
          </ac:spMkLst>
        </pc:spChg>
        <pc:spChg chg="mod">
          <ac:chgData name="Koksrud Andreas" userId="9d9beba6-c052-407a-8599-c781a677a996" providerId="ADAL" clId="{A12B80E5-82E9-4617-B0D5-DF0FC4BDED9A}" dt="2022-01-14T10:17:10.042" v="502" actId="1036"/>
          <ac:spMkLst>
            <pc:docMk/>
            <pc:sldMk cId="1447749266" sldId="777"/>
            <ac:spMk id="9" creationId="{CABFDFC9-A0FF-4792-AAAD-D7E9A29CFAA8}"/>
          </ac:spMkLst>
        </pc:spChg>
        <pc:spChg chg="mod">
          <ac:chgData name="Koksrud Andreas" userId="9d9beba6-c052-407a-8599-c781a677a996" providerId="ADAL" clId="{A12B80E5-82E9-4617-B0D5-DF0FC4BDED9A}" dt="2022-01-14T10:16:59.257" v="463" actId="14100"/>
          <ac:spMkLst>
            <pc:docMk/>
            <pc:sldMk cId="1447749266" sldId="777"/>
            <ac:spMk id="10" creationId="{6191245A-69F8-4C43-8AE6-53AD07302FBD}"/>
          </ac:spMkLst>
        </pc:spChg>
        <pc:cxnChg chg="mod">
          <ac:chgData name="Koksrud Andreas" userId="9d9beba6-c052-407a-8599-c781a677a996" providerId="ADAL" clId="{A12B80E5-82E9-4617-B0D5-DF0FC4BDED9A}" dt="2022-01-14T10:17:03.468" v="470" actId="1037"/>
          <ac:cxnSpMkLst>
            <pc:docMk/>
            <pc:sldMk cId="1447749266" sldId="777"/>
            <ac:cxnSpMk id="5" creationId="{595E27D7-7678-4C96-B013-A18348C68427}"/>
          </ac:cxnSpMkLst>
        </pc:cxnChg>
        <pc:cxnChg chg="mod">
          <ac:chgData name="Koksrud Andreas" userId="9d9beba6-c052-407a-8599-c781a677a996" providerId="ADAL" clId="{A12B80E5-82E9-4617-B0D5-DF0FC4BDED9A}" dt="2022-01-14T10:17:10.042" v="502" actId="1036"/>
          <ac:cxnSpMkLst>
            <pc:docMk/>
            <pc:sldMk cId="1447749266" sldId="777"/>
            <ac:cxnSpMk id="13" creationId="{D44EB26A-9958-4DE7-B20E-8234BE7C7FFF}"/>
          </ac:cxnSpMkLst>
        </pc:cxnChg>
      </pc:sldChg>
      <pc:sldChg chg="modSp mod">
        <pc:chgData name="Koksrud Andreas" userId="9d9beba6-c052-407a-8599-c781a677a996" providerId="ADAL" clId="{A12B80E5-82E9-4617-B0D5-DF0FC4BDED9A}" dt="2022-01-14T10:06:45.306" v="254" actId="20577"/>
        <pc:sldMkLst>
          <pc:docMk/>
          <pc:sldMk cId="2324317775" sldId="781"/>
        </pc:sldMkLst>
        <pc:spChg chg="mod">
          <ac:chgData name="Koksrud Andreas" userId="9d9beba6-c052-407a-8599-c781a677a996" providerId="ADAL" clId="{A12B80E5-82E9-4617-B0D5-DF0FC4BDED9A}" dt="2022-01-14T10:06:45.306" v="254" actId="20577"/>
          <ac:spMkLst>
            <pc:docMk/>
            <pc:sldMk cId="2324317775" sldId="781"/>
            <ac:spMk id="181" creationId="{00000000-0000-0000-0000-000000000000}"/>
          </ac:spMkLst>
        </pc:spChg>
      </pc:sldChg>
      <pc:sldChg chg="modSp mod">
        <pc:chgData name="Koksrud Andreas" userId="9d9beba6-c052-407a-8599-c781a677a996" providerId="ADAL" clId="{A12B80E5-82E9-4617-B0D5-DF0FC4BDED9A}" dt="2022-01-14T10:05:13.063" v="148" actId="21"/>
        <pc:sldMkLst>
          <pc:docMk/>
          <pc:sldMk cId="2272527178" sldId="783"/>
        </pc:sldMkLst>
        <pc:spChg chg="mod">
          <ac:chgData name="Koksrud Andreas" userId="9d9beba6-c052-407a-8599-c781a677a996" providerId="ADAL" clId="{A12B80E5-82E9-4617-B0D5-DF0FC4BDED9A}" dt="2022-01-14T10:05:13.063" v="148" actId="21"/>
          <ac:spMkLst>
            <pc:docMk/>
            <pc:sldMk cId="2272527178" sldId="783"/>
            <ac:spMk id="181" creationId="{00000000-0000-0000-0000-000000000000}"/>
          </ac:spMkLst>
        </pc:spChg>
      </pc:sldChg>
      <pc:sldChg chg="addSp delSp modSp add mod">
        <pc:chgData name="Koksrud Andreas" userId="9d9beba6-c052-407a-8599-c781a677a996" providerId="ADAL" clId="{A12B80E5-82E9-4617-B0D5-DF0FC4BDED9A}" dt="2022-01-14T10:02:43.043" v="70" actId="1076"/>
        <pc:sldMkLst>
          <pc:docMk/>
          <pc:sldMk cId="178375220" sldId="794"/>
        </pc:sldMkLst>
        <pc:picChg chg="add del mod">
          <ac:chgData name="Koksrud Andreas" userId="9d9beba6-c052-407a-8599-c781a677a996" providerId="ADAL" clId="{A12B80E5-82E9-4617-B0D5-DF0FC4BDED9A}" dt="2022-01-14T09:57:13.164" v="62" actId="478"/>
          <ac:picMkLst>
            <pc:docMk/>
            <pc:sldMk cId="178375220" sldId="794"/>
            <ac:picMk id="3" creationId="{6665FD54-BB39-46B9-B77D-A9F2036C8748}"/>
          </ac:picMkLst>
        </pc:picChg>
        <pc:picChg chg="add mod">
          <ac:chgData name="Koksrud Andreas" userId="9d9beba6-c052-407a-8599-c781a677a996" providerId="ADAL" clId="{A12B80E5-82E9-4617-B0D5-DF0FC4BDED9A}" dt="2022-01-14T10:02:43.043" v="70" actId="1076"/>
          <ac:picMkLst>
            <pc:docMk/>
            <pc:sldMk cId="178375220" sldId="794"/>
            <ac:picMk id="1026" creationId="{FD279545-D83C-4684-B5FC-7C6FD76C2327}"/>
          </ac:picMkLst>
        </pc:picChg>
      </pc:sldChg>
    </pc:docChg>
  </pc:docChgLst>
  <pc:docChgLst>
    <pc:chgData name="Koksrud Andreas" userId="9d9beba6-c052-407a-8599-c781a677a996" providerId="ADAL" clId="{2BDAD6B4-EC88-4247-A67F-2D4A93DD6E01}"/>
    <pc:docChg chg="undo custSel addSld delSld modSld sldOrd modSection">
      <pc:chgData name="Koksrud Andreas" userId="9d9beba6-c052-407a-8599-c781a677a996" providerId="ADAL" clId="{2BDAD6B4-EC88-4247-A67F-2D4A93DD6E01}" dt="2023-11-02T11:35:28.652" v="8268" actId="20577"/>
      <pc:docMkLst>
        <pc:docMk/>
      </pc:docMkLst>
      <pc:sldChg chg="modSp mod">
        <pc:chgData name="Koksrud Andreas" userId="9d9beba6-c052-407a-8599-c781a677a996" providerId="ADAL" clId="{2BDAD6B4-EC88-4247-A67F-2D4A93DD6E01}" dt="2023-10-26T20:09:59.760" v="306" actId="313"/>
        <pc:sldMkLst>
          <pc:docMk/>
          <pc:sldMk cId="2087783305" sldId="730"/>
        </pc:sldMkLst>
        <pc:spChg chg="mod">
          <ac:chgData name="Koksrud Andreas" userId="9d9beba6-c052-407a-8599-c781a677a996" providerId="ADAL" clId="{2BDAD6B4-EC88-4247-A67F-2D4A93DD6E01}" dt="2023-10-26T20:09:59.760" v="306" actId="313"/>
          <ac:spMkLst>
            <pc:docMk/>
            <pc:sldMk cId="2087783305" sldId="730"/>
            <ac:spMk id="2" creationId="{E83F8947-299D-4698-B80E-56B8E23125F0}"/>
          </ac:spMkLst>
        </pc:spChg>
      </pc:sldChg>
      <pc:sldChg chg="delSp modSp mod ord">
        <pc:chgData name="Koksrud Andreas" userId="9d9beba6-c052-407a-8599-c781a677a996" providerId="ADAL" clId="{2BDAD6B4-EC88-4247-A67F-2D4A93DD6E01}" dt="2023-10-27T14:40:41.011" v="5735" actId="20577"/>
        <pc:sldMkLst>
          <pc:docMk/>
          <pc:sldMk cId="662028914" sldId="756"/>
        </pc:sldMkLst>
        <pc:spChg chg="mod">
          <ac:chgData name="Koksrud Andreas" userId="9d9beba6-c052-407a-8599-c781a677a996" providerId="ADAL" clId="{2BDAD6B4-EC88-4247-A67F-2D4A93DD6E01}" dt="2023-10-26T20:18:32.681" v="455" actId="20577"/>
          <ac:spMkLst>
            <pc:docMk/>
            <pc:sldMk cId="662028914" sldId="756"/>
            <ac:spMk id="180" creationId="{00000000-0000-0000-0000-000000000000}"/>
          </ac:spMkLst>
        </pc:spChg>
        <pc:spChg chg="mod">
          <ac:chgData name="Koksrud Andreas" userId="9d9beba6-c052-407a-8599-c781a677a996" providerId="ADAL" clId="{2BDAD6B4-EC88-4247-A67F-2D4A93DD6E01}" dt="2023-10-27T14:40:41.011" v="5735" actId="20577"/>
          <ac:spMkLst>
            <pc:docMk/>
            <pc:sldMk cId="662028914" sldId="756"/>
            <ac:spMk id="181" creationId="{00000000-0000-0000-0000-000000000000}"/>
          </ac:spMkLst>
        </pc:spChg>
        <pc:picChg chg="del">
          <ac:chgData name="Koksrud Andreas" userId="9d9beba6-c052-407a-8599-c781a677a996" providerId="ADAL" clId="{2BDAD6B4-EC88-4247-A67F-2D4A93DD6E01}" dt="2023-10-26T20:17:27.708" v="325" actId="478"/>
          <ac:picMkLst>
            <pc:docMk/>
            <pc:sldMk cId="662028914" sldId="756"/>
            <ac:picMk id="3" creationId="{CA340183-2C69-459C-B076-84B2B0C7CE08}"/>
          </ac:picMkLst>
        </pc:picChg>
      </pc:sldChg>
      <pc:sldChg chg="del">
        <pc:chgData name="Koksrud Andreas" userId="9d9beba6-c052-407a-8599-c781a677a996" providerId="ADAL" clId="{2BDAD6B4-EC88-4247-A67F-2D4A93DD6E01}" dt="2023-10-26T20:17:07.687" v="309" actId="47"/>
        <pc:sldMkLst>
          <pc:docMk/>
          <pc:sldMk cId="396736890" sldId="757"/>
        </pc:sldMkLst>
      </pc:sldChg>
      <pc:sldChg chg="addSp delSp modSp add mod">
        <pc:chgData name="Koksrud Andreas" userId="9d9beba6-c052-407a-8599-c781a677a996" providerId="ADAL" clId="{2BDAD6B4-EC88-4247-A67F-2D4A93DD6E01}" dt="2023-10-27T14:42:25.445" v="5742" actId="20577"/>
        <pc:sldMkLst>
          <pc:docMk/>
          <pc:sldMk cId="1459679819" sldId="757"/>
        </pc:sldMkLst>
        <pc:spChg chg="mod">
          <ac:chgData name="Koksrud Andreas" userId="9d9beba6-c052-407a-8599-c781a677a996" providerId="ADAL" clId="{2BDAD6B4-EC88-4247-A67F-2D4A93DD6E01}" dt="2023-10-26T20:19:25.407" v="608" actId="20577"/>
          <ac:spMkLst>
            <pc:docMk/>
            <pc:sldMk cId="1459679819" sldId="757"/>
            <ac:spMk id="180" creationId="{00000000-0000-0000-0000-000000000000}"/>
          </ac:spMkLst>
        </pc:spChg>
        <pc:spChg chg="mod">
          <ac:chgData name="Koksrud Andreas" userId="9d9beba6-c052-407a-8599-c781a677a996" providerId="ADAL" clId="{2BDAD6B4-EC88-4247-A67F-2D4A93DD6E01}" dt="2023-10-27T14:42:25.445" v="5742" actId="20577"/>
          <ac:spMkLst>
            <pc:docMk/>
            <pc:sldMk cId="1459679819" sldId="757"/>
            <ac:spMk id="181" creationId="{00000000-0000-0000-0000-000000000000}"/>
          </ac:spMkLst>
        </pc:spChg>
        <pc:picChg chg="add mod">
          <ac:chgData name="Koksrud Andreas" userId="9d9beba6-c052-407a-8599-c781a677a996" providerId="ADAL" clId="{2BDAD6B4-EC88-4247-A67F-2D4A93DD6E01}" dt="2023-10-27T14:42:12.821" v="5739" actId="1076"/>
          <ac:picMkLst>
            <pc:docMk/>
            <pc:sldMk cId="1459679819" sldId="757"/>
            <ac:picMk id="3" creationId="{1898F475-5227-FBA5-3BE7-4F105062441A}"/>
          </ac:picMkLst>
        </pc:picChg>
        <pc:picChg chg="add del">
          <ac:chgData name="Koksrud Andreas" userId="9d9beba6-c052-407a-8599-c781a677a996" providerId="ADAL" clId="{2BDAD6B4-EC88-4247-A67F-2D4A93DD6E01}" dt="2023-10-27T14:41:53.783" v="5737" actId="478"/>
          <ac:picMkLst>
            <pc:docMk/>
            <pc:sldMk cId="1459679819" sldId="757"/>
            <ac:picMk id="2050" creationId="{DCF13C48-05DE-03C6-AF49-EFEA24F96AFE}"/>
          </ac:picMkLst>
        </pc:picChg>
      </pc:sldChg>
      <pc:sldChg chg="modSp add mod">
        <pc:chgData name="Koksrud Andreas" userId="9d9beba6-c052-407a-8599-c781a677a996" providerId="ADAL" clId="{2BDAD6B4-EC88-4247-A67F-2D4A93DD6E01}" dt="2023-10-27T14:43:16.053" v="5746" actId="20577"/>
        <pc:sldMkLst>
          <pc:docMk/>
          <pc:sldMk cId="3262562090" sldId="758"/>
        </pc:sldMkLst>
        <pc:spChg chg="mod">
          <ac:chgData name="Koksrud Andreas" userId="9d9beba6-c052-407a-8599-c781a677a996" providerId="ADAL" clId="{2BDAD6B4-EC88-4247-A67F-2D4A93DD6E01}" dt="2023-10-26T20:20:16.961" v="691" actId="20577"/>
          <ac:spMkLst>
            <pc:docMk/>
            <pc:sldMk cId="3262562090" sldId="758"/>
            <ac:spMk id="180" creationId="{00000000-0000-0000-0000-000000000000}"/>
          </ac:spMkLst>
        </pc:spChg>
        <pc:spChg chg="mod">
          <ac:chgData name="Koksrud Andreas" userId="9d9beba6-c052-407a-8599-c781a677a996" providerId="ADAL" clId="{2BDAD6B4-EC88-4247-A67F-2D4A93DD6E01}" dt="2023-10-27T14:43:16.053" v="5746" actId="20577"/>
          <ac:spMkLst>
            <pc:docMk/>
            <pc:sldMk cId="3262562090" sldId="758"/>
            <ac:spMk id="181" creationId="{00000000-0000-0000-0000-000000000000}"/>
          </ac:spMkLst>
        </pc:spChg>
      </pc:sldChg>
      <pc:sldChg chg="modSp add mod">
        <pc:chgData name="Koksrud Andreas" userId="9d9beba6-c052-407a-8599-c781a677a996" providerId="ADAL" clId="{2BDAD6B4-EC88-4247-A67F-2D4A93DD6E01}" dt="2023-10-27T20:08:56.120" v="5934" actId="20577"/>
        <pc:sldMkLst>
          <pc:docMk/>
          <pc:sldMk cId="461679863" sldId="759"/>
        </pc:sldMkLst>
        <pc:spChg chg="mod">
          <ac:chgData name="Koksrud Andreas" userId="9d9beba6-c052-407a-8599-c781a677a996" providerId="ADAL" clId="{2BDAD6B4-EC88-4247-A67F-2D4A93DD6E01}" dt="2023-10-26T20:20:53.399" v="742" actId="20577"/>
          <ac:spMkLst>
            <pc:docMk/>
            <pc:sldMk cId="461679863" sldId="759"/>
            <ac:spMk id="180" creationId="{00000000-0000-0000-0000-000000000000}"/>
          </ac:spMkLst>
        </pc:spChg>
        <pc:spChg chg="mod">
          <ac:chgData name="Koksrud Andreas" userId="9d9beba6-c052-407a-8599-c781a677a996" providerId="ADAL" clId="{2BDAD6B4-EC88-4247-A67F-2D4A93DD6E01}" dt="2023-10-27T20:08:56.120" v="5934" actId="20577"/>
          <ac:spMkLst>
            <pc:docMk/>
            <pc:sldMk cId="461679863" sldId="759"/>
            <ac:spMk id="181" creationId="{00000000-0000-0000-0000-000000000000}"/>
          </ac:spMkLst>
        </pc:spChg>
      </pc:sldChg>
      <pc:sldChg chg="modSp add del mod ord">
        <pc:chgData name="Koksrud Andreas" userId="9d9beba6-c052-407a-8599-c781a677a996" providerId="ADAL" clId="{2BDAD6B4-EC88-4247-A67F-2D4A93DD6E01}" dt="2023-10-27T20:10:50.398" v="5997" actId="47"/>
        <pc:sldMkLst>
          <pc:docMk/>
          <pc:sldMk cId="1267367396" sldId="760"/>
        </pc:sldMkLst>
        <pc:spChg chg="mod">
          <ac:chgData name="Koksrud Andreas" userId="9d9beba6-c052-407a-8599-c781a677a996" providerId="ADAL" clId="{2BDAD6B4-EC88-4247-A67F-2D4A93DD6E01}" dt="2023-10-26T20:22:28.256" v="987" actId="20577"/>
          <ac:spMkLst>
            <pc:docMk/>
            <pc:sldMk cId="1267367396" sldId="760"/>
            <ac:spMk id="180" creationId="{00000000-0000-0000-0000-000000000000}"/>
          </ac:spMkLst>
        </pc:spChg>
        <pc:spChg chg="mod">
          <ac:chgData name="Koksrud Andreas" userId="9d9beba6-c052-407a-8599-c781a677a996" providerId="ADAL" clId="{2BDAD6B4-EC88-4247-A67F-2D4A93DD6E01}" dt="2023-10-27T20:10:33.431" v="5996" actId="20577"/>
          <ac:spMkLst>
            <pc:docMk/>
            <pc:sldMk cId="1267367396" sldId="760"/>
            <ac:spMk id="181" creationId="{00000000-0000-0000-0000-000000000000}"/>
          </ac:spMkLst>
        </pc:spChg>
      </pc:sldChg>
      <pc:sldChg chg="modSp add mod">
        <pc:chgData name="Koksrud Andreas" userId="9d9beba6-c052-407a-8599-c781a677a996" providerId="ADAL" clId="{2BDAD6B4-EC88-4247-A67F-2D4A93DD6E01}" dt="2023-10-27T20:25:31.970" v="6983" actId="20577"/>
        <pc:sldMkLst>
          <pc:docMk/>
          <pc:sldMk cId="1172803293" sldId="761"/>
        </pc:sldMkLst>
        <pc:spChg chg="mod">
          <ac:chgData name="Koksrud Andreas" userId="9d9beba6-c052-407a-8599-c781a677a996" providerId="ADAL" clId="{2BDAD6B4-EC88-4247-A67F-2D4A93DD6E01}" dt="2023-10-26T20:22:38.976" v="1004" actId="20577"/>
          <ac:spMkLst>
            <pc:docMk/>
            <pc:sldMk cId="1172803293" sldId="761"/>
            <ac:spMk id="180" creationId="{00000000-0000-0000-0000-000000000000}"/>
          </ac:spMkLst>
        </pc:spChg>
        <pc:spChg chg="mod">
          <ac:chgData name="Koksrud Andreas" userId="9d9beba6-c052-407a-8599-c781a677a996" providerId="ADAL" clId="{2BDAD6B4-EC88-4247-A67F-2D4A93DD6E01}" dt="2023-10-27T20:25:31.970" v="6983" actId="20577"/>
          <ac:spMkLst>
            <pc:docMk/>
            <pc:sldMk cId="1172803293" sldId="761"/>
            <ac:spMk id="181" creationId="{00000000-0000-0000-0000-000000000000}"/>
          </ac:spMkLst>
        </pc:spChg>
      </pc:sldChg>
      <pc:sldChg chg="del">
        <pc:chgData name="Koksrud Andreas" userId="9d9beba6-c052-407a-8599-c781a677a996" providerId="ADAL" clId="{2BDAD6B4-EC88-4247-A67F-2D4A93DD6E01}" dt="2023-10-26T20:17:18.820" v="323" actId="47"/>
        <pc:sldMkLst>
          <pc:docMk/>
          <pc:sldMk cId="3548956945" sldId="762"/>
        </pc:sldMkLst>
      </pc:sldChg>
      <pc:sldChg chg="modSp add mod ord">
        <pc:chgData name="Koksrud Andreas" userId="9d9beba6-c052-407a-8599-c781a677a996" providerId="ADAL" clId="{2BDAD6B4-EC88-4247-A67F-2D4A93DD6E01}" dt="2023-10-27T20:12:53.477" v="5999"/>
        <pc:sldMkLst>
          <pc:docMk/>
          <pc:sldMk cId="4159893121" sldId="762"/>
        </pc:sldMkLst>
        <pc:spChg chg="mod">
          <ac:chgData name="Koksrud Andreas" userId="9d9beba6-c052-407a-8599-c781a677a996" providerId="ADAL" clId="{2BDAD6B4-EC88-4247-A67F-2D4A93DD6E01}" dt="2023-10-26T20:27:07.093" v="1775" actId="20577"/>
          <ac:spMkLst>
            <pc:docMk/>
            <pc:sldMk cId="4159893121" sldId="762"/>
            <ac:spMk id="180" creationId="{00000000-0000-0000-0000-000000000000}"/>
          </ac:spMkLst>
        </pc:spChg>
        <pc:spChg chg="mod">
          <ac:chgData name="Koksrud Andreas" userId="9d9beba6-c052-407a-8599-c781a677a996" providerId="ADAL" clId="{2BDAD6B4-EC88-4247-A67F-2D4A93DD6E01}" dt="2023-10-26T20:28:07.433" v="1956" actId="20577"/>
          <ac:spMkLst>
            <pc:docMk/>
            <pc:sldMk cId="4159893121" sldId="762"/>
            <ac:spMk id="181" creationId="{00000000-0000-0000-0000-000000000000}"/>
          </ac:spMkLst>
        </pc:spChg>
      </pc:sldChg>
      <pc:sldChg chg="modSp add mod ord">
        <pc:chgData name="Koksrud Andreas" userId="9d9beba6-c052-407a-8599-c781a677a996" providerId="ADAL" clId="{2BDAD6B4-EC88-4247-A67F-2D4A93DD6E01}" dt="2023-10-27T20:13:13.771" v="6001"/>
        <pc:sldMkLst>
          <pc:docMk/>
          <pc:sldMk cId="2660123184" sldId="763"/>
        </pc:sldMkLst>
        <pc:spChg chg="mod">
          <ac:chgData name="Koksrud Andreas" userId="9d9beba6-c052-407a-8599-c781a677a996" providerId="ADAL" clId="{2BDAD6B4-EC88-4247-A67F-2D4A93DD6E01}" dt="2023-10-26T20:28:27.783" v="1975" actId="20577"/>
          <ac:spMkLst>
            <pc:docMk/>
            <pc:sldMk cId="2660123184" sldId="763"/>
            <ac:spMk id="180" creationId="{00000000-0000-0000-0000-000000000000}"/>
          </ac:spMkLst>
        </pc:spChg>
        <pc:spChg chg="mod">
          <ac:chgData name="Koksrud Andreas" userId="9d9beba6-c052-407a-8599-c781a677a996" providerId="ADAL" clId="{2BDAD6B4-EC88-4247-A67F-2D4A93DD6E01}" dt="2023-10-26T20:30:36.371" v="2576" actId="20577"/>
          <ac:spMkLst>
            <pc:docMk/>
            <pc:sldMk cId="2660123184" sldId="763"/>
            <ac:spMk id="181" creationId="{00000000-0000-0000-0000-000000000000}"/>
          </ac:spMkLst>
        </pc:spChg>
      </pc:sldChg>
      <pc:sldChg chg="modSp add mod ord">
        <pc:chgData name="Koksrud Andreas" userId="9d9beba6-c052-407a-8599-c781a677a996" providerId="ADAL" clId="{2BDAD6B4-EC88-4247-A67F-2D4A93DD6E01}" dt="2023-10-27T20:13:13.771" v="6001"/>
        <pc:sldMkLst>
          <pc:docMk/>
          <pc:sldMk cId="1888191167" sldId="764"/>
        </pc:sldMkLst>
        <pc:spChg chg="mod">
          <ac:chgData name="Koksrud Andreas" userId="9d9beba6-c052-407a-8599-c781a677a996" providerId="ADAL" clId="{2BDAD6B4-EC88-4247-A67F-2D4A93DD6E01}" dt="2023-10-26T20:30:56.798" v="2580" actId="20577"/>
          <ac:spMkLst>
            <pc:docMk/>
            <pc:sldMk cId="1888191167" sldId="764"/>
            <ac:spMk id="180" creationId="{00000000-0000-0000-0000-000000000000}"/>
          </ac:spMkLst>
        </pc:spChg>
        <pc:spChg chg="mod">
          <ac:chgData name="Koksrud Andreas" userId="9d9beba6-c052-407a-8599-c781a677a996" providerId="ADAL" clId="{2BDAD6B4-EC88-4247-A67F-2D4A93DD6E01}" dt="2023-10-26T20:32:19.404" v="2892" actId="20577"/>
          <ac:spMkLst>
            <pc:docMk/>
            <pc:sldMk cId="1888191167" sldId="764"/>
            <ac:spMk id="181" creationId="{00000000-0000-0000-0000-000000000000}"/>
          </ac:spMkLst>
        </pc:spChg>
      </pc:sldChg>
      <pc:sldChg chg="modSp add mod">
        <pc:chgData name="Koksrud Andreas" userId="9d9beba6-c052-407a-8599-c781a677a996" providerId="ADAL" clId="{2BDAD6B4-EC88-4247-A67F-2D4A93DD6E01}" dt="2023-10-27T20:52:44.665" v="7522" actId="6549"/>
        <pc:sldMkLst>
          <pc:docMk/>
          <pc:sldMk cId="1743956420" sldId="765"/>
        </pc:sldMkLst>
        <pc:spChg chg="mod">
          <ac:chgData name="Koksrud Andreas" userId="9d9beba6-c052-407a-8599-c781a677a996" providerId="ADAL" clId="{2BDAD6B4-EC88-4247-A67F-2D4A93DD6E01}" dt="2023-10-27T20:50:30.829" v="7469" actId="20577"/>
          <ac:spMkLst>
            <pc:docMk/>
            <pc:sldMk cId="1743956420" sldId="765"/>
            <ac:spMk id="180" creationId="{00000000-0000-0000-0000-000000000000}"/>
          </ac:spMkLst>
        </pc:spChg>
        <pc:spChg chg="mod">
          <ac:chgData name="Koksrud Andreas" userId="9d9beba6-c052-407a-8599-c781a677a996" providerId="ADAL" clId="{2BDAD6B4-EC88-4247-A67F-2D4A93DD6E01}" dt="2023-10-27T20:52:44.665" v="7522" actId="6549"/>
          <ac:spMkLst>
            <pc:docMk/>
            <pc:sldMk cId="1743956420" sldId="765"/>
            <ac:spMk id="181" creationId="{00000000-0000-0000-0000-000000000000}"/>
          </ac:spMkLst>
        </pc:spChg>
      </pc:sldChg>
      <pc:sldChg chg="modSp add mod">
        <pc:chgData name="Koksrud Andreas" userId="9d9beba6-c052-407a-8599-c781a677a996" providerId="ADAL" clId="{2BDAD6B4-EC88-4247-A67F-2D4A93DD6E01}" dt="2023-10-26T20:50:34.064" v="3573" actId="20577"/>
        <pc:sldMkLst>
          <pc:docMk/>
          <pc:sldMk cId="3156992607" sldId="766"/>
        </pc:sldMkLst>
        <pc:spChg chg="mod">
          <ac:chgData name="Koksrud Andreas" userId="9d9beba6-c052-407a-8599-c781a677a996" providerId="ADAL" clId="{2BDAD6B4-EC88-4247-A67F-2D4A93DD6E01}" dt="2023-10-26T20:50:27.771" v="3534" actId="20577"/>
          <ac:spMkLst>
            <pc:docMk/>
            <pc:sldMk cId="3156992607" sldId="766"/>
            <ac:spMk id="180" creationId="{00000000-0000-0000-0000-000000000000}"/>
          </ac:spMkLst>
        </pc:spChg>
        <pc:spChg chg="mod">
          <ac:chgData name="Koksrud Andreas" userId="9d9beba6-c052-407a-8599-c781a677a996" providerId="ADAL" clId="{2BDAD6B4-EC88-4247-A67F-2D4A93DD6E01}" dt="2023-10-26T20:50:34.064" v="3573" actId="20577"/>
          <ac:spMkLst>
            <pc:docMk/>
            <pc:sldMk cId="3156992607" sldId="766"/>
            <ac:spMk id="181" creationId="{00000000-0000-0000-0000-000000000000}"/>
          </ac:spMkLst>
        </pc:spChg>
      </pc:sldChg>
      <pc:sldChg chg="modSp add mod">
        <pc:chgData name="Koksrud Andreas" userId="9d9beba6-c052-407a-8599-c781a677a996" providerId="ADAL" clId="{2BDAD6B4-EC88-4247-A67F-2D4A93DD6E01}" dt="2023-10-26T20:50:55.711" v="3633" actId="20577"/>
        <pc:sldMkLst>
          <pc:docMk/>
          <pc:sldMk cId="3099146481" sldId="767"/>
        </pc:sldMkLst>
        <pc:spChg chg="mod">
          <ac:chgData name="Koksrud Andreas" userId="9d9beba6-c052-407a-8599-c781a677a996" providerId="ADAL" clId="{2BDAD6B4-EC88-4247-A67F-2D4A93DD6E01}" dt="2023-10-26T20:50:47.591" v="3585" actId="20577"/>
          <ac:spMkLst>
            <pc:docMk/>
            <pc:sldMk cId="3099146481" sldId="767"/>
            <ac:spMk id="180" creationId="{00000000-0000-0000-0000-000000000000}"/>
          </ac:spMkLst>
        </pc:spChg>
        <pc:spChg chg="mod">
          <ac:chgData name="Koksrud Andreas" userId="9d9beba6-c052-407a-8599-c781a677a996" providerId="ADAL" clId="{2BDAD6B4-EC88-4247-A67F-2D4A93DD6E01}" dt="2023-10-26T20:50:55.711" v="3633" actId="20577"/>
          <ac:spMkLst>
            <pc:docMk/>
            <pc:sldMk cId="3099146481" sldId="767"/>
            <ac:spMk id="181" creationId="{00000000-0000-0000-0000-000000000000}"/>
          </ac:spMkLst>
        </pc:spChg>
      </pc:sldChg>
      <pc:sldChg chg="modSp add mod">
        <pc:chgData name="Koksrud Andreas" userId="9d9beba6-c052-407a-8599-c781a677a996" providerId="ADAL" clId="{2BDAD6B4-EC88-4247-A67F-2D4A93DD6E01}" dt="2023-10-26T20:52:33.650" v="3857" actId="20577"/>
        <pc:sldMkLst>
          <pc:docMk/>
          <pc:sldMk cId="4003498005" sldId="768"/>
        </pc:sldMkLst>
        <pc:spChg chg="mod">
          <ac:chgData name="Koksrud Andreas" userId="9d9beba6-c052-407a-8599-c781a677a996" providerId="ADAL" clId="{2BDAD6B4-EC88-4247-A67F-2D4A93DD6E01}" dt="2023-10-26T20:51:20.384" v="3663" actId="20577"/>
          <ac:spMkLst>
            <pc:docMk/>
            <pc:sldMk cId="4003498005" sldId="768"/>
            <ac:spMk id="180" creationId="{00000000-0000-0000-0000-000000000000}"/>
          </ac:spMkLst>
        </pc:spChg>
        <pc:spChg chg="mod">
          <ac:chgData name="Koksrud Andreas" userId="9d9beba6-c052-407a-8599-c781a677a996" providerId="ADAL" clId="{2BDAD6B4-EC88-4247-A67F-2D4A93DD6E01}" dt="2023-10-26T20:52:33.650" v="3857" actId="20577"/>
          <ac:spMkLst>
            <pc:docMk/>
            <pc:sldMk cId="4003498005" sldId="768"/>
            <ac:spMk id="181" creationId="{00000000-0000-0000-0000-000000000000}"/>
          </ac:spMkLst>
        </pc:spChg>
      </pc:sldChg>
      <pc:sldChg chg="modSp add mod">
        <pc:chgData name="Koksrud Andreas" userId="9d9beba6-c052-407a-8599-c781a677a996" providerId="ADAL" clId="{2BDAD6B4-EC88-4247-A67F-2D4A93DD6E01}" dt="2023-10-27T20:13:38.739" v="6038" actId="20577"/>
        <pc:sldMkLst>
          <pc:docMk/>
          <pc:sldMk cId="257484981" sldId="769"/>
        </pc:sldMkLst>
        <pc:spChg chg="mod">
          <ac:chgData name="Koksrud Andreas" userId="9d9beba6-c052-407a-8599-c781a677a996" providerId="ADAL" clId="{2BDAD6B4-EC88-4247-A67F-2D4A93DD6E01}" dt="2023-10-26T20:52:38.017" v="3861" actId="20577"/>
          <ac:spMkLst>
            <pc:docMk/>
            <pc:sldMk cId="257484981" sldId="769"/>
            <ac:spMk id="180" creationId="{00000000-0000-0000-0000-000000000000}"/>
          </ac:spMkLst>
        </pc:spChg>
        <pc:spChg chg="mod">
          <ac:chgData name="Koksrud Andreas" userId="9d9beba6-c052-407a-8599-c781a677a996" providerId="ADAL" clId="{2BDAD6B4-EC88-4247-A67F-2D4A93DD6E01}" dt="2023-10-27T20:13:38.739" v="6038" actId="20577"/>
          <ac:spMkLst>
            <pc:docMk/>
            <pc:sldMk cId="257484981" sldId="769"/>
            <ac:spMk id="181" creationId="{00000000-0000-0000-0000-000000000000}"/>
          </ac:spMkLst>
        </pc:spChg>
      </pc:sldChg>
      <pc:sldChg chg="add del">
        <pc:chgData name="Koksrud Andreas" userId="9d9beba6-c052-407a-8599-c781a677a996" providerId="ADAL" clId="{2BDAD6B4-EC88-4247-A67F-2D4A93DD6E01}" dt="2023-10-27T12:54:27.121" v="4046" actId="47"/>
        <pc:sldMkLst>
          <pc:docMk/>
          <pc:sldMk cId="2211337562" sldId="770"/>
        </pc:sldMkLst>
      </pc:sldChg>
      <pc:sldChg chg="add del">
        <pc:chgData name="Koksrud Andreas" userId="9d9beba6-c052-407a-8599-c781a677a996" providerId="ADAL" clId="{2BDAD6B4-EC88-4247-A67F-2D4A93DD6E01}" dt="2023-10-27T12:54:27.458" v="4047" actId="47"/>
        <pc:sldMkLst>
          <pc:docMk/>
          <pc:sldMk cId="3575855052" sldId="771"/>
        </pc:sldMkLst>
      </pc:sldChg>
      <pc:sldChg chg="add del">
        <pc:chgData name="Koksrud Andreas" userId="9d9beba6-c052-407a-8599-c781a677a996" providerId="ADAL" clId="{2BDAD6B4-EC88-4247-A67F-2D4A93DD6E01}" dt="2023-10-27T12:54:28.044" v="4048" actId="47"/>
        <pc:sldMkLst>
          <pc:docMk/>
          <pc:sldMk cId="3371885878" sldId="772"/>
        </pc:sldMkLst>
      </pc:sldChg>
      <pc:sldChg chg="add del">
        <pc:chgData name="Koksrud Andreas" userId="9d9beba6-c052-407a-8599-c781a677a996" providerId="ADAL" clId="{2BDAD6B4-EC88-4247-A67F-2D4A93DD6E01}" dt="2023-10-27T12:54:29.033" v="4049" actId="47"/>
        <pc:sldMkLst>
          <pc:docMk/>
          <pc:sldMk cId="1318066020" sldId="773"/>
        </pc:sldMkLst>
      </pc:sldChg>
      <pc:sldChg chg="addSp modSp add mod">
        <pc:chgData name="Koksrud Andreas" userId="9d9beba6-c052-407a-8599-c781a677a996" providerId="ADAL" clId="{2BDAD6B4-EC88-4247-A67F-2D4A93DD6E01}" dt="2023-10-27T13:15:25.359" v="4380" actId="20577"/>
        <pc:sldMkLst>
          <pc:docMk/>
          <pc:sldMk cId="3236957713" sldId="774"/>
        </pc:sldMkLst>
        <pc:spChg chg="mod">
          <ac:chgData name="Koksrud Andreas" userId="9d9beba6-c052-407a-8599-c781a677a996" providerId="ADAL" clId="{2BDAD6B4-EC88-4247-A67F-2D4A93DD6E01}" dt="2023-10-26T20:24:16.102" v="1200" actId="20577"/>
          <ac:spMkLst>
            <pc:docMk/>
            <pc:sldMk cId="3236957713" sldId="774"/>
            <ac:spMk id="180" creationId="{00000000-0000-0000-0000-000000000000}"/>
          </ac:spMkLst>
        </pc:spChg>
        <pc:spChg chg="mod">
          <ac:chgData name="Koksrud Andreas" userId="9d9beba6-c052-407a-8599-c781a677a996" providerId="ADAL" clId="{2BDAD6B4-EC88-4247-A67F-2D4A93DD6E01}" dt="2023-10-27T13:15:25.359" v="4380" actId="20577"/>
          <ac:spMkLst>
            <pc:docMk/>
            <pc:sldMk cId="3236957713" sldId="774"/>
            <ac:spMk id="181" creationId="{00000000-0000-0000-0000-000000000000}"/>
          </ac:spMkLst>
        </pc:spChg>
        <pc:picChg chg="add mod">
          <ac:chgData name="Koksrud Andreas" userId="9d9beba6-c052-407a-8599-c781a677a996" providerId="ADAL" clId="{2BDAD6B4-EC88-4247-A67F-2D4A93DD6E01}" dt="2023-10-27T13:15:05.815" v="4310" actId="1076"/>
          <ac:picMkLst>
            <pc:docMk/>
            <pc:sldMk cId="3236957713" sldId="774"/>
            <ac:picMk id="3" creationId="{7836E636-2614-B997-070A-14FF8F560467}"/>
          </ac:picMkLst>
        </pc:picChg>
      </pc:sldChg>
      <pc:sldChg chg="addSp modSp add mod ord">
        <pc:chgData name="Koksrud Andreas" userId="9d9beba6-c052-407a-8599-c781a677a996" providerId="ADAL" clId="{2BDAD6B4-EC88-4247-A67F-2D4A93DD6E01}" dt="2023-10-27T13:15:37.238" v="4382"/>
        <pc:sldMkLst>
          <pc:docMk/>
          <pc:sldMk cId="4184721091" sldId="775"/>
        </pc:sldMkLst>
        <pc:spChg chg="mod">
          <ac:chgData name="Koksrud Andreas" userId="9d9beba6-c052-407a-8599-c781a677a996" providerId="ADAL" clId="{2BDAD6B4-EC88-4247-A67F-2D4A93DD6E01}" dt="2023-10-27T13:04:22.971" v="4074" actId="20577"/>
          <ac:spMkLst>
            <pc:docMk/>
            <pc:sldMk cId="4184721091" sldId="775"/>
            <ac:spMk id="180" creationId="{00000000-0000-0000-0000-000000000000}"/>
          </ac:spMkLst>
        </pc:spChg>
        <pc:spChg chg="mod">
          <ac:chgData name="Koksrud Andreas" userId="9d9beba6-c052-407a-8599-c781a677a996" providerId="ADAL" clId="{2BDAD6B4-EC88-4247-A67F-2D4A93DD6E01}" dt="2023-10-27T13:13:25.824" v="4304" actId="6549"/>
          <ac:spMkLst>
            <pc:docMk/>
            <pc:sldMk cId="4184721091" sldId="775"/>
            <ac:spMk id="181" creationId="{00000000-0000-0000-0000-000000000000}"/>
          </ac:spMkLst>
        </pc:spChg>
        <pc:picChg chg="add mod">
          <ac:chgData name="Koksrud Andreas" userId="9d9beba6-c052-407a-8599-c781a677a996" providerId="ADAL" clId="{2BDAD6B4-EC88-4247-A67F-2D4A93DD6E01}" dt="2023-10-27T13:13:05.532" v="4249" actId="1076"/>
          <ac:picMkLst>
            <pc:docMk/>
            <pc:sldMk cId="4184721091" sldId="775"/>
            <ac:picMk id="3" creationId="{98CAB3EE-A208-4F00-EDC8-E5A810FC41EF}"/>
          </ac:picMkLst>
        </pc:picChg>
      </pc:sldChg>
      <pc:sldChg chg="del">
        <pc:chgData name="Koksrud Andreas" userId="9d9beba6-c052-407a-8599-c781a677a996" providerId="ADAL" clId="{2BDAD6B4-EC88-4247-A67F-2D4A93DD6E01}" dt="2023-10-26T20:17:16.118" v="316" actId="47"/>
        <pc:sldMkLst>
          <pc:docMk/>
          <pc:sldMk cId="2831047971" sldId="776"/>
        </pc:sldMkLst>
      </pc:sldChg>
      <pc:sldChg chg="addSp delSp modSp add mod">
        <pc:chgData name="Koksrud Andreas" userId="9d9beba6-c052-407a-8599-c781a677a996" providerId="ADAL" clId="{2BDAD6B4-EC88-4247-A67F-2D4A93DD6E01}" dt="2023-10-27T13:39:31.723" v="4631" actId="20577"/>
        <pc:sldMkLst>
          <pc:docMk/>
          <pc:sldMk cId="3102905591" sldId="776"/>
        </pc:sldMkLst>
        <pc:spChg chg="mod">
          <ac:chgData name="Koksrud Andreas" userId="9d9beba6-c052-407a-8599-c781a677a996" providerId="ADAL" clId="{2BDAD6B4-EC88-4247-A67F-2D4A93DD6E01}" dt="2023-10-27T13:16:15.232" v="4393" actId="20577"/>
          <ac:spMkLst>
            <pc:docMk/>
            <pc:sldMk cId="3102905591" sldId="776"/>
            <ac:spMk id="180" creationId="{00000000-0000-0000-0000-000000000000}"/>
          </ac:spMkLst>
        </pc:spChg>
        <pc:spChg chg="mod">
          <ac:chgData name="Koksrud Andreas" userId="9d9beba6-c052-407a-8599-c781a677a996" providerId="ADAL" clId="{2BDAD6B4-EC88-4247-A67F-2D4A93DD6E01}" dt="2023-10-27T13:39:31.723" v="4631" actId="20577"/>
          <ac:spMkLst>
            <pc:docMk/>
            <pc:sldMk cId="3102905591" sldId="776"/>
            <ac:spMk id="181" creationId="{00000000-0000-0000-0000-000000000000}"/>
          </ac:spMkLst>
        </pc:spChg>
        <pc:picChg chg="del">
          <ac:chgData name="Koksrud Andreas" userId="9d9beba6-c052-407a-8599-c781a677a996" providerId="ADAL" clId="{2BDAD6B4-EC88-4247-A67F-2D4A93DD6E01}" dt="2023-10-27T13:16:28.025" v="4432" actId="478"/>
          <ac:picMkLst>
            <pc:docMk/>
            <pc:sldMk cId="3102905591" sldId="776"/>
            <ac:picMk id="3" creationId="{7836E636-2614-B997-070A-14FF8F560467}"/>
          </ac:picMkLst>
        </pc:picChg>
        <pc:picChg chg="add mod">
          <ac:chgData name="Koksrud Andreas" userId="9d9beba6-c052-407a-8599-c781a677a996" providerId="ADAL" clId="{2BDAD6B4-EC88-4247-A67F-2D4A93DD6E01}" dt="2023-10-27T13:39:07.125" v="4584" actId="1076"/>
          <ac:picMkLst>
            <pc:docMk/>
            <pc:sldMk cId="3102905591" sldId="776"/>
            <ac:picMk id="4" creationId="{42DADEF3-89E6-5769-FB12-8C5C42781D51}"/>
          </ac:picMkLst>
        </pc:picChg>
      </pc:sldChg>
      <pc:sldChg chg="addSp delSp modSp add mod">
        <pc:chgData name="Koksrud Andreas" userId="9d9beba6-c052-407a-8599-c781a677a996" providerId="ADAL" clId="{2BDAD6B4-EC88-4247-A67F-2D4A93DD6E01}" dt="2023-10-27T13:59:13.812" v="5592" actId="13926"/>
        <pc:sldMkLst>
          <pc:docMk/>
          <pc:sldMk cId="298508261" sldId="777"/>
        </pc:sldMkLst>
        <pc:spChg chg="mod">
          <ac:chgData name="Koksrud Andreas" userId="9d9beba6-c052-407a-8599-c781a677a996" providerId="ADAL" clId="{2BDAD6B4-EC88-4247-A67F-2D4A93DD6E01}" dt="2023-10-27T13:56:10.203" v="5296" actId="20577"/>
          <ac:spMkLst>
            <pc:docMk/>
            <pc:sldMk cId="298508261" sldId="777"/>
            <ac:spMk id="180" creationId="{00000000-0000-0000-0000-000000000000}"/>
          </ac:spMkLst>
        </pc:spChg>
        <pc:spChg chg="mod">
          <ac:chgData name="Koksrud Andreas" userId="9d9beba6-c052-407a-8599-c781a677a996" providerId="ADAL" clId="{2BDAD6B4-EC88-4247-A67F-2D4A93DD6E01}" dt="2023-10-27T13:59:13.812" v="5592" actId="13926"/>
          <ac:spMkLst>
            <pc:docMk/>
            <pc:sldMk cId="298508261" sldId="777"/>
            <ac:spMk id="181" creationId="{00000000-0000-0000-0000-000000000000}"/>
          </ac:spMkLst>
        </pc:spChg>
        <pc:picChg chg="del">
          <ac:chgData name="Koksrud Andreas" userId="9d9beba6-c052-407a-8599-c781a677a996" providerId="ADAL" clId="{2BDAD6B4-EC88-4247-A67F-2D4A93DD6E01}" dt="2023-10-27T13:41:45.439" v="4650" actId="478"/>
          <ac:picMkLst>
            <pc:docMk/>
            <pc:sldMk cId="298508261" sldId="777"/>
            <ac:picMk id="3" creationId="{7836E636-2614-B997-070A-14FF8F560467}"/>
          </ac:picMkLst>
        </pc:picChg>
        <pc:picChg chg="add del mod">
          <ac:chgData name="Koksrud Andreas" userId="9d9beba6-c052-407a-8599-c781a677a996" providerId="ADAL" clId="{2BDAD6B4-EC88-4247-A67F-2D4A93DD6E01}" dt="2023-10-27T13:56:13.373" v="5297" actId="478"/>
          <ac:picMkLst>
            <pc:docMk/>
            <pc:sldMk cId="298508261" sldId="777"/>
            <ac:picMk id="4" creationId="{5B3F51A8-9353-979B-1EEE-DE1B381813EF}"/>
          </ac:picMkLst>
        </pc:picChg>
        <pc:picChg chg="add del mod">
          <ac:chgData name="Koksrud Andreas" userId="9d9beba6-c052-407a-8599-c781a677a996" providerId="ADAL" clId="{2BDAD6B4-EC88-4247-A67F-2D4A93DD6E01}" dt="2023-10-27T13:44:26.407" v="4743" actId="478"/>
          <ac:picMkLst>
            <pc:docMk/>
            <pc:sldMk cId="298508261" sldId="777"/>
            <ac:picMk id="1026" creationId="{2BA078FB-34A6-346C-16FE-9AC3202D1D92}"/>
          </ac:picMkLst>
        </pc:picChg>
      </pc:sldChg>
      <pc:sldChg chg="del">
        <pc:chgData name="Koksrud Andreas" userId="9d9beba6-c052-407a-8599-c781a677a996" providerId="ADAL" clId="{2BDAD6B4-EC88-4247-A67F-2D4A93DD6E01}" dt="2023-10-26T20:17:18.445" v="322" actId="47"/>
        <pc:sldMkLst>
          <pc:docMk/>
          <pc:sldMk cId="1447749266" sldId="777"/>
        </pc:sldMkLst>
      </pc:sldChg>
      <pc:sldChg chg="delSp modSp add mod">
        <pc:chgData name="Koksrud Andreas" userId="9d9beba6-c052-407a-8599-c781a677a996" providerId="ADAL" clId="{2BDAD6B4-EC88-4247-A67F-2D4A93DD6E01}" dt="2023-10-27T13:51:34.590" v="5286" actId="20577"/>
        <pc:sldMkLst>
          <pc:docMk/>
          <pc:sldMk cId="867521254" sldId="778"/>
        </pc:sldMkLst>
        <pc:spChg chg="mod">
          <ac:chgData name="Koksrud Andreas" userId="9d9beba6-c052-407a-8599-c781a677a996" providerId="ADAL" clId="{2BDAD6B4-EC88-4247-A67F-2D4A93DD6E01}" dt="2023-10-27T13:49:51.101" v="4891" actId="20577"/>
          <ac:spMkLst>
            <pc:docMk/>
            <pc:sldMk cId="867521254" sldId="778"/>
            <ac:spMk id="180" creationId="{00000000-0000-0000-0000-000000000000}"/>
          </ac:spMkLst>
        </pc:spChg>
        <pc:spChg chg="mod">
          <ac:chgData name="Koksrud Andreas" userId="9d9beba6-c052-407a-8599-c781a677a996" providerId="ADAL" clId="{2BDAD6B4-EC88-4247-A67F-2D4A93DD6E01}" dt="2023-10-27T13:51:34.590" v="5286" actId="20577"/>
          <ac:spMkLst>
            <pc:docMk/>
            <pc:sldMk cId="867521254" sldId="778"/>
            <ac:spMk id="181" creationId="{00000000-0000-0000-0000-000000000000}"/>
          </ac:spMkLst>
        </pc:spChg>
        <pc:picChg chg="del">
          <ac:chgData name="Koksrud Andreas" userId="9d9beba6-c052-407a-8599-c781a677a996" providerId="ADAL" clId="{2BDAD6B4-EC88-4247-A67F-2D4A93DD6E01}" dt="2023-10-27T13:49:56.406" v="4892" actId="478"/>
          <ac:picMkLst>
            <pc:docMk/>
            <pc:sldMk cId="867521254" sldId="778"/>
            <ac:picMk id="4" creationId="{5B3F51A8-9353-979B-1EEE-DE1B381813EF}"/>
          </ac:picMkLst>
        </pc:picChg>
      </pc:sldChg>
      <pc:sldChg chg="add">
        <pc:chgData name="Koksrud Andreas" userId="9d9beba6-c052-407a-8599-c781a677a996" providerId="ADAL" clId="{2BDAD6B4-EC88-4247-A67F-2D4A93DD6E01}" dt="2023-10-27T13:56:03.034" v="5287"/>
        <pc:sldMkLst>
          <pc:docMk/>
          <pc:sldMk cId="2800815207" sldId="779"/>
        </pc:sldMkLst>
      </pc:sldChg>
      <pc:sldChg chg="addSp delSp modSp add mod">
        <pc:chgData name="Koksrud Andreas" userId="9d9beba6-c052-407a-8599-c781a677a996" providerId="ADAL" clId="{2BDAD6B4-EC88-4247-A67F-2D4A93DD6E01}" dt="2023-10-27T19:44:28.797" v="5870" actId="20577"/>
        <pc:sldMkLst>
          <pc:docMk/>
          <pc:sldMk cId="5783671" sldId="780"/>
        </pc:sldMkLst>
        <pc:spChg chg="add mod">
          <ac:chgData name="Koksrud Andreas" userId="9d9beba6-c052-407a-8599-c781a677a996" providerId="ADAL" clId="{2BDAD6B4-EC88-4247-A67F-2D4A93DD6E01}" dt="2023-10-27T19:44:28.797" v="5870" actId="20577"/>
          <ac:spMkLst>
            <pc:docMk/>
            <pc:sldMk cId="5783671" sldId="780"/>
            <ac:spMk id="5" creationId="{B6B94A19-5BAA-1F57-3F80-2CEC619721D3}"/>
          </ac:spMkLst>
        </pc:spChg>
        <pc:spChg chg="add mod">
          <ac:chgData name="Koksrud Andreas" userId="9d9beba6-c052-407a-8599-c781a677a996" providerId="ADAL" clId="{2BDAD6B4-EC88-4247-A67F-2D4A93DD6E01}" dt="2023-10-27T19:43:40.594" v="5802" actId="1076"/>
          <ac:spMkLst>
            <pc:docMk/>
            <pc:sldMk cId="5783671" sldId="780"/>
            <ac:spMk id="7" creationId="{592DA35E-EAB2-3A9E-9460-F08FF672AC28}"/>
          </ac:spMkLst>
        </pc:spChg>
        <pc:spChg chg="del">
          <ac:chgData name="Koksrud Andreas" userId="9d9beba6-c052-407a-8599-c781a677a996" providerId="ADAL" clId="{2BDAD6B4-EC88-4247-A67F-2D4A93DD6E01}" dt="2023-10-27T14:56:24.741" v="5763" actId="478"/>
          <ac:spMkLst>
            <pc:docMk/>
            <pc:sldMk cId="5783671" sldId="780"/>
            <ac:spMk id="180" creationId="{00000000-0000-0000-0000-000000000000}"/>
          </ac:spMkLst>
        </pc:spChg>
        <pc:spChg chg="del mod">
          <ac:chgData name="Koksrud Andreas" userId="9d9beba6-c052-407a-8599-c781a677a996" providerId="ADAL" clId="{2BDAD6B4-EC88-4247-A67F-2D4A93DD6E01}" dt="2023-10-27T14:56:22.725" v="5762" actId="478"/>
          <ac:spMkLst>
            <pc:docMk/>
            <pc:sldMk cId="5783671" sldId="780"/>
            <ac:spMk id="181" creationId="{00000000-0000-0000-0000-000000000000}"/>
          </ac:spMkLst>
        </pc:spChg>
        <pc:picChg chg="add del mod modCrop">
          <ac:chgData name="Koksrud Andreas" userId="9d9beba6-c052-407a-8599-c781a677a996" providerId="ADAL" clId="{2BDAD6B4-EC88-4247-A67F-2D4A93DD6E01}" dt="2023-10-27T14:56:13.730" v="5761" actId="21"/>
          <ac:picMkLst>
            <pc:docMk/>
            <pc:sldMk cId="5783671" sldId="780"/>
            <ac:picMk id="3" creationId="{9A99796D-A6E9-DFBE-8990-467380BDA332}"/>
          </ac:picMkLst>
        </pc:picChg>
        <pc:picChg chg="add mod ord modCrop">
          <ac:chgData name="Koksrud Andreas" userId="9d9beba6-c052-407a-8599-c781a677a996" providerId="ADAL" clId="{2BDAD6B4-EC88-4247-A67F-2D4A93DD6E01}" dt="2023-10-27T19:43:13.650" v="5771" actId="167"/>
          <ac:picMkLst>
            <pc:docMk/>
            <pc:sldMk cId="5783671" sldId="780"/>
            <ac:picMk id="8" creationId="{466251A9-E069-CC25-8FE7-03C2D0DF17CD}"/>
          </ac:picMkLst>
        </pc:picChg>
        <pc:picChg chg="add del mod">
          <ac:chgData name="Koksrud Andreas" userId="9d9beba6-c052-407a-8599-c781a677a996" providerId="ADAL" clId="{2BDAD6B4-EC88-4247-A67F-2D4A93DD6E01}" dt="2023-10-27T14:54:46.906" v="5754" actId="478"/>
          <ac:picMkLst>
            <pc:docMk/>
            <pc:sldMk cId="5783671" sldId="780"/>
            <ac:picMk id="5122" creationId="{B96C7E78-D7EE-D198-F253-7E6D39B44A3F}"/>
          </ac:picMkLst>
        </pc:picChg>
      </pc:sldChg>
      <pc:sldChg chg="del">
        <pc:chgData name="Koksrud Andreas" userId="9d9beba6-c052-407a-8599-c781a677a996" providerId="ADAL" clId="{2BDAD6B4-EC88-4247-A67F-2D4A93DD6E01}" dt="2023-10-26T20:17:19.738" v="324" actId="47"/>
        <pc:sldMkLst>
          <pc:docMk/>
          <pc:sldMk cId="2127300312" sldId="780"/>
        </pc:sldMkLst>
      </pc:sldChg>
      <pc:sldChg chg="modSp add mod">
        <pc:chgData name="Koksrud Andreas" userId="9d9beba6-c052-407a-8599-c781a677a996" providerId="ADAL" clId="{2BDAD6B4-EC88-4247-A67F-2D4A93DD6E01}" dt="2023-10-27T20:15:07.698" v="6108" actId="20577"/>
        <pc:sldMkLst>
          <pc:docMk/>
          <pc:sldMk cId="135523954" sldId="781"/>
        </pc:sldMkLst>
        <pc:spChg chg="mod">
          <ac:chgData name="Koksrud Andreas" userId="9d9beba6-c052-407a-8599-c781a677a996" providerId="ADAL" clId="{2BDAD6B4-EC88-4247-A67F-2D4A93DD6E01}" dt="2023-10-27T20:14:40.018" v="6050" actId="20577"/>
          <ac:spMkLst>
            <pc:docMk/>
            <pc:sldMk cId="135523954" sldId="781"/>
            <ac:spMk id="180" creationId="{00000000-0000-0000-0000-000000000000}"/>
          </ac:spMkLst>
        </pc:spChg>
        <pc:spChg chg="mod">
          <ac:chgData name="Koksrud Andreas" userId="9d9beba6-c052-407a-8599-c781a677a996" providerId="ADAL" clId="{2BDAD6B4-EC88-4247-A67F-2D4A93DD6E01}" dt="2023-10-27T20:15:07.698" v="6108" actId="20577"/>
          <ac:spMkLst>
            <pc:docMk/>
            <pc:sldMk cId="135523954" sldId="781"/>
            <ac:spMk id="181" creationId="{00000000-0000-0000-0000-000000000000}"/>
          </ac:spMkLst>
        </pc:spChg>
      </pc:sldChg>
      <pc:sldChg chg="delSp modSp add del mod">
        <pc:chgData name="Koksrud Andreas" userId="9d9beba6-c052-407a-8599-c781a677a996" providerId="ADAL" clId="{2BDAD6B4-EC88-4247-A67F-2D4A93DD6E01}" dt="2023-10-27T19:44:40.009" v="5871" actId="47"/>
        <pc:sldMkLst>
          <pc:docMk/>
          <pc:sldMk cId="3742512147" sldId="781"/>
        </pc:sldMkLst>
        <pc:spChg chg="mod">
          <ac:chgData name="Koksrud Andreas" userId="9d9beba6-c052-407a-8599-c781a677a996" providerId="ADAL" clId="{2BDAD6B4-EC88-4247-A67F-2D4A93DD6E01}" dt="2023-10-27T14:57:09.887" v="5770" actId="20577"/>
          <ac:spMkLst>
            <pc:docMk/>
            <pc:sldMk cId="3742512147" sldId="781"/>
            <ac:spMk id="181" creationId="{00000000-0000-0000-0000-000000000000}"/>
          </ac:spMkLst>
        </pc:spChg>
        <pc:picChg chg="del">
          <ac:chgData name="Koksrud Andreas" userId="9d9beba6-c052-407a-8599-c781a677a996" providerId="ADAL" clId="{2BDAD6B4-EC88-4247-A67F-2D4A93DD6E01}" dt="2023-10-27T14:55:22.351" v="5760" actId="478"/>
          <ac:picMkLst>
            <pc:docMk/>
            <pc:sldMk cId="3742512147" sldId="781"/>
            <ac:picMk id="3" creationId="{9A99796D-A6E9-DFBE-8990-467380BDA332}"/>
          </ac:picMkLst>
        </pc:picChg>
      </pc:sldChg>
      <pc:sldChg chg="addSp modSp add mod">
        <pc:chgData name="Koksrud Andreas" userId="9d9beba6-c052-407a-8599-c781a677a996" providerId="ADAL" clId="{2BDAD6B4-EC88-4247-A67F-2D4A93DD6E01}" dt="2023-10-27T20:38:02.877" v="7188" actId="20577"/>
        <pc:sldMkLst>
          <pc:docMk/>
          <pc:sldMk cId="2431776702" sldId="782"/>
        </pc:sldMkLst>
        <pc:spChg chg="mod">
          <ac:chgData name="Koksrud Andreas" userId="9d9beba6-c052-407a-8599-c781a677a996" providerId="ADAL" clId="{2BDAD6B4-EC88-4247-A67F-2D4A93DD6E01}" dt="2023-10-27T20:22:35.584" v="6700" actId="20577"/>
          <ac:spMkLst>
            <pc:docMk/>
            <pc:sldMk cId="2431776702" sldId="782"/>
            <ac:spMk id="180" creationId="{00000000-0000-0000-0000-000000000000}"/>
          </ac:spMkLst>
        </pc:spChg>
        <pc:spChg chg="mod">
          <ac:chgData name="Koksrud Andreas" userId="9d9beba6-c052-407a-8599-c781a677a996" providerId="ADAL" clId="{2BDAD6B4-EC88-4247-A67F-2D4A93DD6E01}" dt="2023-10-27T20:38:02.877" v="7188" actId="20577"/>
          <ac:spMkLst>
            <pc:docMk/>
            <pc:sldMk cId="2431776702" sldId="782"/>
            <ac:spMk id="181" creationId="{00000000-0000-0000-0000-000000000000}"/>
          </ac:spMkLst>
        </pc:spChg>
        <pc:picChg chg="add mod modCrop">
          <ac:chgData name="Koksrud Andreas" userId="9d9beba6-c052-407a-8599-c781a677a996" providerId="ADAL" clId="{2BDAD6B4-EC88-4247-A67F-2D4A93DD6E01}" dt="2023-10-27T20:27:15.198" v="6987" actId="1076"/>
          <ac:picMkLst>
            <pc:docMk/>
            <pc:sldMk cId="2431776702" sldId="782"/>
            <ac:picMk id="3" creationId="{042E7B5A-76AD-6CC7-1F56-6A2FDCAEB32D}"/>
          </ac:picMkLst>
        </pc:picChg>
      </pc:sldChg>
      <pc:sldChg chg="addSp delSp modSp add mod">
        <pc:chgData name="Koksrud Andreas" userId="9d9beba6-c052-407a-8599-c781a677a996" providerId="ADAL" clId="{2BDAD6B4-EC88-4247-A67F-2D4A93DD6E01}" dt="2023-10-27T20:49:36.248" v="7403" actId="1076"/>
        <pc:sldMkLst>
          <pc:docMk/>
          <pc:sldMk cId="4084346027" sldId="783"/>
        </pc:sldMkLst>
        <pc:spChg chg="mod">
          <ac:chgData name="Koksrud Andreas" userId="9d9beba6-c052-407a-8599-c781a677a996" providerId="ADAL" clId="{2BDAD6B4-EC88-4247-A67F-2D4A93DD6E01}" dt="2023-10-27T20:27:42.034" v="6998" actId="20577"/>
          <ac:spMkLst>
            <pc:docMk/>
            <pc:sldMk cId="4084346027" sldId="783"/>
            <ac:spMk id="180" creationId="{00000000-0000-0000-0000-000000000000}"/>
          </ac:spMkLst>
        </pc:spChg>
        <pc:spChg chg="mod">
          <ac:chgData name="Koksrud Andreas" userId="9d9beba6-c052-407a-8599-c781a677a996" providerId="ADAL" clId="{2BDAD6B4-EC88-4247-A67F-2D4A93DD6E01}" dt="2023-10-27T20:49:27.249" v="7401" actId="20577"/>
          <ac:spMkLst>
            <pc:docMk/>
            <pc:sldMk cId="4084346027" sldId="783"/>
            <ac:spMk id="181" creationId="{00000000-0000-0000-0000-000000000000}"/>
          </ac:spMkLst>
        </pc:spChg>
        <pc:picChg chg="del">
          <ac:chgData name="Koksrud Andreas" userId="9d9beba6-c052-407a-8599-c781a677a996" providerId="ADAL" clId="{2BDAD6B4-EC88-4247-A67F-2D4A93DD6E01}" dt="2023-10-27T20:27:50.125" v="6999" actId="478"/>
          <ac:picMkLst>
            <pc:docMk/>
            <pc:sldMk cId="4084346027" sldId="783"/>
            <ac:picMk id="3" creationId="{042E7B5A-76AD-6CC7-1F56-6A2FDCAEB32D}"/>
          </ac:picMkLst>
        </pc:picChg>
        <pc:picChg chg="add mod">
          <ac:chgData name="Koksrud Andreas" userId="9d9beba6-c052-407a-8599-c781a677a996" providerId="ADAL" clId="{2BDAD6B4-EC88-4247-A67F-2D4A93DD6E01}" dt="2023-10-27T20:49:36.248" v="7403" actId="1076"/>
          <ac:picMkLst>
            <pc:docMk/>
            <pc:sldMk cId="4084346027" sldId="783"/>
            <ac:picMk id="4" creationId="{5894BF46-B166-EA61-DE0D-6458FA4BC1B1}"/>
          </ac:picMkLst>
        </pc:picChg>
      </pc:sldChg>
      <pc:sldChg chg="modSp add mod">
        <pc:chgData name="Koksrud Andreas" userId="9d9beba6-c052-407a-8599-c781a677a996" providerId="ADAL" clId="{2BDAD6B4-EC88-4247-A67F-2D4A93DD6E01}" dt="2023-11-02T11:35:28.652" v="8268" actId="20577"/>
        <pc:sldMkLst>
          <pc:docMk/>
          <pc:sldMk cId="2842146877" sldId="784"/>
        </pc:sldMkLst>
        <pc:spChg chg="mod">
          <ac:chgData name="Koksrud Andreas" userId="9d9beba6-c052-407a-8599-c781a677a996" providerId="ADAL" clId="{2BDAD6B4-EC88-4247-A67F-2D4A93DD6E01}" dt="2023-11-02T11:32:01.301" v="7568" actId="20577"/>
          <ac:spMkLst>
            <pc:docMk/>
            <pc:sldMk cId="2842146877" sldId="784"/>
            <ac:spMk id="180" creationId="{00000000-0000-0000-0000-000000000000}"/>
          </ac:spMkLst>
        </pc:spChg>
        <pc:spChg chg="mod">
          <ac:chgData name="Koksrud Andreas" userId="9d9beba6-c052-407a-8599-c781a677a996" providerId="ADAL" clId="{2BDAD6B4-EC88-4247-A67F-2D4A93DD6E01}" dt="2023-11-02T11:35:28.652" v="8268" actId="20577"/>
          <ac:spMkLst>
            <pc:docMk/>
            <pc:sldMk cId="2842146877" sldId="784"/>
            <ac:spMk id="181" creationId="{00000000-0000-0000-0000-000000000000}"/>
          </ac:spMkLst>
        </pc:spChg>
      </pc:sldChg>
      <pc:sldChg chg="del">
        <pc:chgData name="Koksrud Andreas" userId="9d9beba6-c052-407a-8599-c781a677a996" providerId="ADAL" clId="{2BDAD6B4-EC88-4247-A67F-2D4A93DD6E01}" dt="2023-10-26T20:17:07.002" v="308" actId="47"/>
        <pc:sldMkLst>
          <pc:docMk/>
          <pc:sldMk cId="178375220" sldId="794"/>
        </pc:sldMkLst>
      </pc:sldChg>
      <pc:sldChg chg="del">
        <pc:chgData name="Koksrud Andreas" userId="9d9beba6-c052-407a-8599-c781a677a996" providerId="ADAL" clId="{2BDAD6B4-EC88-4247-A67F-2D4A93DD6E01}" dt="2023-10-26T20:16:58.598" v="307" actId="47"/>
        <pc:sldMkLst>
          <pc:docMk/>
          <pc:sldMk cId="3764478461" sldId="795"/>
        </pc:sldMkLst>
      </pc:sldChg>
      <pc:sldChg chg="del">
        <pc:chgData name="Koksrud Andreas" userId="9d9beba6-c052-407a-8599-c781a677a996" providerId="ADAL" clId="{2BDAD6B4-EC88-4247-A67F-2D4A93DD6E01}" dt="2023-10-26T20:17:08.811" v="311" actId="47"/>
        <pc:sldMkLst>
          <pc:docMk/>
          <pc:sldMk cId="1907635855" sldId="796"/>
        </pc:sldMkLst>
      </pc:sldChg>
      <pc:sldChg chg="del">
        <pc:chgData name="Koksrud Andreas" userId="9d9beba6-c052-407a-8599-c781a677a996" providerId="ADAL" clId="{2BDAD6B4-EC88-4247-A67F-2D4A93DD6E01}" dt="2023-10-26T20:17:09.250" v="312" actId="47"/>
        <pc:sldMkLst>
          <pc:docMk/>
          <pc:sldMk cId="1982064828" sldId="797"/>
        </pc:sldMkLst>
      </pc:sldChg>
      <pc:sldChg chg="del">
        <pc:chgData name="Koksrud Andreas" userId="9d9beba6-c052-407a-8599-c781a677a996" providerId="ADAL" clId="{2BDAD6B4-EC88-4247-A67F-2D4A93DD6E01}" dt="2023-10-26T20:17:15.180" v="314" actId="47"/>
        <pc:sldMkLst>
          <pc:docMk/>
          <pc:sldMk cId="3022261891" sldId="798"/>
        </pc:sldMkLst>
      </pc:sldChg>
      <pc:sldChg chg="del">
        <pc:chgData name="Koksrud Andreas" userId="9d9beba6-c052-407a-8599-c781a677a996" providerId="ADAL" clId="{2BDAD6B4-EC88-4247-A67F-2D4A93DD6E01}" dt="2023-10-26T20:17:16.538" v="317" actId="47"/>
        <pc:sldMkLst>
          <pc:docMk/>
          <pc:sldMk cId="3047001927" sldId="799"/>
        </pc:sldMkLst>
      </pc:sldChg>
      <pc:sldChg chg="del">
        <pc:chgData name="Koksrud Andreas" userId="9d9beba6-c052-407a-8599-c781a677a996" providerId="ADAL" clId="{2BDAD6B4-EC88-4247-A67F-2D4A93DD6E01}" dt="2023-10-26T20:17:16.936" v="318" actId="47"/>
        <pc:sldMkLst>
          <pc:docMk/>
          <pc:sldMk cId="370428494" sldId="800"/>
        </pc:sldMkLst>
      </pc:sldChg>
      <pc:sldChg chg="del">
        <pc:chgData name="Koksrud Andreas" userId="9d9beba6-c052-407a-8599-c781a677a996" providerId="ADAL" clId="{2BDAD6B4-EC88-4247-A67F-2D4A93DD6E01}" dt="2023-10-26T20:17:17.719" v="320" actId="47"/>
        <pc:sldMkLst>
          <pc:docMk/>
          <pc:sldMk cId="490059796" sldId="801"/>
        </pc:sldMkLst>
      </pc:sldChg>
      <pc:sldChg chg="del">
        <pc:chgData name="Koksrud Andreas" userId="9d9beba6-c052-407a-8599-c781a677a996" providerId="ADAL" clId="{2BDAD6B4-EC88-4247-A67F-2D4A93DD6E01}" dt="2023-10-26T20:17:18.027" v="321" actId="47"/>
        <pc:sldMkLst>
          <pc:docMk/>
          <pc:sldMk cId="4103761933" sldId="802"/>
        </pc:sldMkLst>
      </pc:sldChg>
      <pc:sldChg chg="del">
        <pc:chgData name="Koksrud Andreas" userId="9d9beba6-c052-407a-8599-c781a677a996" providerId="ADAL" clId="{2BDAD6B4-EC88-4247-A67F-2D4A93DD6E01}" dt="2023-10-26T20:17:17.336" v="319" actId="47"/>
        <pc:sldMkLst>
          <pc:docMk/>
          <pc:sldMk cId="2082423837" sldId="803"/>
        </pc:sldMkLst>
      </pc:sldChg>
      <pc:sldChg chg="del">
        <pc:chgData name="Koksrud Andreas" userId="9d9beba6-c052-407a-8599-c781a677a996" providerId="ADAL" clId="{2BDAD6B4-EC88-4247-A67F-2D4A93DD6E01}" dt="2023-10-26T20:17:08.313" v="310" actId="47"/>
        <pc:sldMkLst>
          <pc:docMk/>
          <pc:sldMk cId="652182716" sldId="804"/>
        </pc:sldMkLst>
      </pc:sldChg>
      <pc:sldChg chg="del">
        <pc:chgData name="Koksrud Andreas" userId="9d9beba6-c052-407a-8599-c781a677a996" providerId="ADAL" clId="{2BDAD6B4-EC88-4247-A67F-2D4A93DD6E01}" dt="2023-10-26T20:17:09.638" v="313" actId="47"/>
        <pc:sldMkLst>
          <pc:docMk/>
          <pc:sldMk cId="2465847695" sldId="805"/>
        </pc:sldMkLst>
      </pc:sldChg>
      <pc:sldChg chg="del">
        <pc:chgData name="Koksrud Andreas" userId="9d9beba6-c052-407a-8599-c781a677a996" providerId="ADAL" clId="{2BDAD6B4-EC88-4247-A67F-2D4A93DD6E01}" dt="2023-10-26T20:17:15.552" v="315" actId="47"/>
        <pc:sldMkLst>
          <pc:docMk/>
          <pc:sldMk cId="2061140835" sldId="806"/>
        </pc:sldMkLst>
      </pc:sldChg>
    </pc:docChg>
  </pc:docChgLst>
  <pc:docChgLst>
    <pc:chgData name="Andreas Koksrud" userId="9d9beba6-c052-407a-8599-c781a677a996" providerId="ADAL" clId="{267904F6-164A-446F-8964-DA69B112867B}"/>
    <pc:docChg chg="undo redo custSel addSld delSld modSld sldOrd modSection">
      <pc:chgData name="Andreas Koksrud" userId="9d9beba6-c052-407a-8599-c781a677a996" providerId="ADAL" clId="{267904F6-164A-446F-8964-DA69B112867B}" dt="2024-09-30T20:38:01.374" v="17957" actId="27636"/>
      <pc:docMkLst>
        <pc:docMk/>
      </pc:docMkLst>
      <pc:sldChg chg="addSp modSp">
        <pc:chgData name="Andreas Koksrud" userId="9d9beba6-c052-407a-8599-c781a677a996" providerId="ADAL" clId="{267904F6-164A-446F-8964-DA69B112867B}" dt="2024-09-29T18:19:11.017" v="16409"/>
        <pc:sldMkLst>
          <pc:docMk/>
          <pc:sldMk cId="1205429650" sldId="740"/>
        </pc:sldMkLst>
        <pc:picChg chg="add mod">
          <ac:chgData name="Andreas Koksrud" userId="9d9beba6-c052-407a-8599-c781a677a996" providerId="ADAL" clId="{267904F6-164A-446F-8964-DA69B112867B}" dt="2024-09-29T18:19:11.017" v="16409"/>
          <ac:picMkLst>
            <pc:docMk/>
            <pc:sldMk cId="1205429650" sldId="740"/>
            <ac:picMk id="11" creationId="{D7FCCE69-7E02-DE4E-0C24-5E64674987D1}"/>
          </ac:picMkLst>
        </pc:picChg>
      </pc:sldChg>
      <pc:sldChg chg="addSp delSp modSp add del mod ord">
        <pc:chgData name="Andreas Koksrud" userId="9d9beba6-c052-407a-8599-c781a677a996" providerId="ADAL" clId="{267904F6-164A-446F-8964-DA69B112867B}" dt="2024-09-29T18:03:57.633" v="15124"/>
        <pc:sldMkLst>
          <pc:docMk/>
          <pc:sldMk cId="590634226" sldId="798"/>
        </pc:sldMkLst>
        <pc:spChg chg="add mod">
          <ac:chgData name="Andreas Koksrud" userId="9d9beba6-c052-407a-8599-c781a677a996" providerId="ADAL" clId="{267904F6-164A-446F-8964-DA69B112867B}" dt="2024-09-21T14:12:53.725" v="12651" actId="14100"/>
          <ac:spMkLst>
            <pc:docMk/>
            <pc:sldMk cId="590634226" sldId="798"/>
            <ac:spMk id="2" creationId="{675B51D2-3EE0-9C56-9C48-5B0A8B8AED10}"/>
          </ac:spMkLst>
        </pc:spChg>
        <pc:spChg chg="del">
          <ac:chgData name="Andreas Koksrud" userId="9d9beba6-c052-407a-8599-c781a677a996" providerId="ADAL" clId="{267904F6-164A-446F-8964-DA69B112867B}" dt="2024-08-31T13:54:56.907" v="209" actId="478"/>
          <ac:spMkLst>
            <pc:docMk/>
            <pc:sldMk cId="590634226" sldId="798"/>
            <ac:spMk id="2" creationId="{E5D5B057-1D39-AC88-396C-0D888288A2E9}"/>
          </ac:spMkLst>
        </pc:spChg>
        <pc:spChg chg="add mod">
          <ac:chgData name="Andreas Koksrud" userId="9d9beba6-c052-407a-8599-c781a677a996" providerId="ADAL" clId="{267904F6-164A-446F-8964-DA69B112867B}" dt="2024-08-31T13:51:58.858" v="17"/>
          <ac:spMkLst>
            <pc:docMk/>
            <pc:sldMk cId="590634226" sldId="798"/>
            <ac:spMk id="5" creationId="{D3B8884A-C5CD-6BF3-90A0-78C72AFF7CE8}"/>
          </ac:spMkLst>
        </pc:spChg>
        <pc:spChg chg="mod">
          <ac:chgData name="Andreas Koksrud" userId="9d9beba6-c052-407a-8599-c781a677a996" providerId="ADAL" clId="{267904F6-164A-446F-8964-DA69B112867B}" dt="2024-09-29T18:03:57.633" v="15124"/>
          <ac:spMkLst>
            <pc:docMk/>
            <pc:sldMk cId="590634226" sldId="798"/>
            <ac:spMk id="6" creationId="{679A8908-ECF9-1656-E1DA-33446131C695}"/>
          </ac:spMkLst>
        </pc:spChg>
        <pc:spChg chg="add mod ord">
          <ac:chgData name="Andreas Koksrud" userId="9d9beba6-c052-407a-8599-c781a677a996" providerId="ADAL" clId="{267904F6-164A-446F-8964-DA69B112867B}" dt="2024-09-29T17:56:00.105" v="15041" actId="20577"/>
          <ac:spMkLst>
            <pc:docMk/>
            <pc:sldMk cId="590634226" sldId="798"/>
            <ac:spMk id="7" creationId="{9D948326-BCA3-067B-13C0-E4DE9721139E}"/>
          </ac:spMkLst>
        </pc:spChg>
        <pc:spChg chg="add del mod">
          <ac:chgData name="Andreas Koksrud" userId="9d9beba6-c052-407a-8599-c781a677a996" providerId="ADAL" clId="{267904F6-164A-446F-8964-DA69B112867B}" dt="2024-08-31T13:55:22.499" v="215" actId="478"/>
          <ac:spMkLst>
            <pc:docMk/>
            <pc:sldMk cId="590634226" sldId="798"/>
            <ac:spMk id="8" creationId="{0FE532B0-B1D5-33CD-3AB1-1CBB64721FA9}"/>
          </ac:spMkLst>
        </pc:spChg>
        <pc:spChg chg="add mod">
          <ac:chgData name="Andreas Koksrud" userId="9d9beba6-c052-407a-8599-c781a677a996" providerId="ADAL" clId="{267904F6-164A-446F-8964-DA69B112867B}" dt="2024-09-29T17:51:26.635" v="14630" actId="13926"/>
          <ac:spMkLst>
            <pc:docMk/>
            <pc:sldMk cId="590634226" sldId="798"/>
            <ac:spMk id="9" creationId="{88FCFEAA-9424-0FFC-1171-19BF6615F7FF}"/>
          </ac:spMkLst>
        </pc:spChg>
        <pc:spChg chg="mod">
          <ac:chgData name="Andreas Koksrud" userId="9d9beba6-c052-407a-8599-c781a677a996" providerId="ADAL" clId="{267904F6-164A-446F-8964-DA69B112867B}" dt="2024-09-29T17:49:56.329" v="14551" actId="1076"/>
          <ac:spMkLst>
            <pc:docMk/>
            <pc:sldMk cId="590634226" sldId="798"/>
            <ac:spMk id="16" creationId="{34B664FD-6231-9C7B-1639-573AC93609FA}"/>
          </ac:spMkLst>
        </pc:spChg>
        <pc:spChg chg="ord">
          <ac:chgData name="Andreas Koksrud" userId="9d9beba6-c052-407a-8599-c781a677a996" providerId="ADAL" clId="{267904F6-164A-446F-8964-DA69B112867B}" dt="2024-08-31T13:57:20.429" v="465" actId="167"/>
          <ac:spMkLst>
            <pc:docMk/>
            <pc:sldMk cId="590634226" sldId="798"/>
            <ac:spMk id="181" creationId="{00000000-0000-0000-0000-000000000000}"/>
          </ac:spMkLst>
        </pc:spChg>
        <pc:picChg chg="del mod">
          <ac:chgData name="Andreas Koksrud" userId="9d9beba6-c052-407a-8599-c781a677a996" providerId="ADAL" clId="{267904F6-164A-446F-8964-DA69B112867B}" dt="2024-08-31T13:58:56.758" v="717" actId="478"/>
          <ac:picMkLst>
            <pc:docMk/>
            <pc:sldMk cId="590634226" sldId="798"/>
            <ac:picMk id="10" creationId="{32062C49-EE1A-B42F-C945-526DDE8B3BB7}"/>
          </ac:picMkLst>
        </pc:picChg>
        <pc:picChg chg="del mod">
          <ac:chgData name="Andreas Koksrud" userId="9d9beba6-c052-407a-8599-c781a677a996" providerId="ADAL" clId="{267904F6-164A-446F-8964-DA69B112867B}" dt="2024-08-31T13:58:51.964" v="715" actId="478"/>
          <ac:picMkLst>
            <pc:docMk/>
            <pc:sldMk cId="590634226" sldId="798"/>
            <ac:picMk id="12" creationId="{58E439F5-9799-5244-4021-072A0EB3A078}"/>
          </ac:picMkLst>
        </pc:picChg>
        <pc:picChg chg="del mod">
          <ac:chgData name="Andreas Koksrud" userId="9d9beba6-c052-407a-8599-c781a677a996" providerId="ADAL" clId="{267904F6-164A-446F-8964-DA69B112867B}" dt="2024-08-31T13:58:52.947" v="716" actId="478"/>
          <ac:picMkLst>
            <pc:docMk/>
            <pc:sldMk cId="590634226" sldId="798"/>
            <ac:picMk id="14" creationId="{36ACF21A-7A5D-44E6-B3C7-1E008C1217E1}"/>
          </ac:picMkLst>
        </pc:picChg>
        <pc:cxnChg chg="mod">
          <ac:chgData name="Andreas Koksrud" userId="9d9beba6-c052-407a-8599-c781a677a996" providerId="ADAL" clId="{267904F6-164A-446F-8964-DA69B112867B}" dt="2024-08-31T13:59:24.441" v="721" actId="14100"/>
          <ac:cxnSpMkLst>
            <pc:docMk/>
            <pc:sldMk cId="590634226" sldId="798"/>
            <ac:cxnSpMk id="4" creationId="{A55F4123-0AA8-BC57-BF34-C80BE8A35D17}"/>
          </ac:cxnSpMkLst>
        </pc:cxnChg>
        <pc:cxnChg chg="add mod">
          <ac:chgData name="Andreas Koksrud" userId="9d9beba6-c052-407a-8599-c781a677a996" providerId="ADAL" clId="{267904F6-164A-446F-8964-DA69B112867B}" dt="2024-09-21T14:13:17.865" v="12715" actId="14100"/>
          <ac:cxnSpMkLst>
            <pc:docMk/>
            <pc:sldMk cId="590634226" sldId="798"/>
            <ac:cxnSpMk id="5" creationId="{EB0AFE33-3051-7CFA-D02E-35FB4C5133C6}"/>
          </ac:cxnSpMkLst>
        </pc:cxnChg>
      </pc:sldChg>
      <pc:sldChg chg="addSp delSp modSp mod">
        <pc:chgData name="Andreas Koksrud" userId="9d9beba6-c052-407a-8599-c781a677a996" providerId="ADAL" clId="{267904F6-164A-446F-8964-DA69B112867B}" dt="2024-09-29T18:18:45.797" v="16392"/>
        <pc:sldMkLst>
          <pc:docMk/>
          <pc:sldMk cId="1498060418" sldId="802"/>
        </pc:sldMkLst>
        <pc:spChg chg="mod">
          <ac:chgData name="Andreas Koksrud" userId="9d9beba6-c052-407a-8599-c781a677a996" providerId="ADAL" clId="{267904F6-164A-446F-8964-DA69B112867B}" dt="2024-09-29T18:17:22.515" v="16369"/>
          <ac:spMkLst>
            <pc:docMk/>
            <pc:sldMk cId="1498060418" sldId="802"/>
            <ac:spMk id="4" creationId="{99B9AFAD-6D20-4299-CD50-D8A4B3C2D385}"/>
          </ac:spMkLst>
        </pc:spChg>
        <pc:spChg chg="add del mod">
          <ac:chgData name="Andreas Koksrud" userId="9d9beba6-c052-407a-8599-c781a677a996" providerId="ADAL" clId="{267904F6-164A-446F-8964-DA69B112867B}" dt="2024-09-06T16:18:43.057" v="7139" actId="478"/>
          <ac:spMkLst>
            <pc:docMk/>
            <pc:sldMk cId="1498060418" sldId="802"/>
            <ac:spMk id="5" creationId="{AC79A192-9363-8637-EB8B-B17F2C63DCCF}"/>
          </ac:spMkLst>
        </pc:spChg>
        <pc:spChg chg="add mod">
          <ac:chgData name="Andreas Koksrud" userId="9d9beba6-c052-407a-8599-c781a677a996" providerId="ADAL" clId="{267904F6-164A-446F-8964-DA69B112867B}" dt="2024-09-05T09:54:58.913" v="6056" actId="207"/>
          <ac:spMkLst>
            <pc:docMk/>
            <pc:sldMk cId="1498060418" sldId="802"/>
            <ac:spMk id="10" creationId="{0E50BF91-C5F2-71A8-E542-8F99BA413399}"/>
          </ac:spMkLst>
        </pc:spChg>
        <pc:spChg chg="add del mod">
          <ac:chgData name="Andreas Koksrud" userId="9d9beba6-c052-407a-8599-c781a677a996" providerId="ADAL" clId="{267904F6-164A-446F-8964-DA69B112867B}" dt="2024-09-29T18:10:20.125" v="15722" actId="478"/>
          <ac:spMkLst>
            <pc:docMk/>
            <pc:sldMk cId="1498060418" sldId="802"/>
            <ac:spMk id="12" creationId="{507F75AC-345A-18EA-1BF3-9D2CE94CA023}"/>
          </ac:spMkLst>
        </pc:spChg>
        <pc:spChg chg="add mod">
          <ac:chgData name="Andreas Koksrud" userId="9d9beba6-c052-407a-8599-c781a677a996" providerId="ADAL" clId="{267904F6-164A-446F-8964-DA69B112867B}" dt="2024-09-29T18:11:41.708" v="15957" actId="20577"/>
          <ac:spMkLst>
            <pc:docMk/>
            <pc:sldMk cId="1498060418" sldId="802"/>
            <ac:spMk id="13" creationId="{6A874401-E4B9-A8F7-C8FE-8E5AE5D69CE4}"/>
          </ac:spMkLst>
        </pc:spChg>
        <pc:spChg chg="del mod">
          <ac:chgData name="Andreas Koksrud" userId="9d9beba6-c052-407a-8599-c781a677a996" providerId="ADAL" clId="{267904F6-164A-446F-8964-DA69B112867B}" dt="2024-09-29T18:10:17.533" v="15721" actId="478"/>
          <ac:spMkLst>
            <pc:docMk/>
            <pc:sldMk cId="1498060418" sldId="802"/>
            <ac:spMk id="180" creationId="{00000000-0000-0000-0000-000000000000}"/>
          </ac:spMkLst>
        </pc:spChg>
        <pc:spChg chg="mod">
          <ac:chgData name="Andreas Koksrud" userId="9d9beba6-c052-407a-8599-c781a677a996" providerId="ADAL" clId="{267904F6-164A-446F-8964-DA69B112867B}" dt="2024-09-29T18:12:22.764" v="16002" actId="207"/>
          <ac:spMkLst>
            <pc:docMk/>
            <pc:sldMk cId="1498060418" sldId="802"/>
            <ac:spMk id="181" creationId="{00000000-0000-0000-0000-000000000000}"/>
          </ac:spMkLst>
        </pc:spChg>
        <pc:picChg chg="add mod">
          <ac:chgData name="Andreas Koksrud" userId="9d9beba6-c052-407a-8599-c781a677a996" providerId="ADAL" clId="{267904F6-164A-446F-8964-DA69B112867B}" dt="2024-09-13T12:25:03.794" v="12284" actId="1076"/>
          <ac:picMkLst>
            <pc:docMk/>
            <pc:sldMk cId="1498060418" sldId="802"/>
            <ac:picMk id="5" creationId="{EC187D17-6527-F3F8-5193-492255DAC439}"/>
          </ac:picMkLst>
        </pc:picChg>
        <pc:picChg chg="add mod">
          <ac:chgData name="Andreas Koksrud" userId="9d9beba6-c052-407a-8599-c781a677a996" providerId="ADAL" clId="{267904F6-164A-446F-8964-DA69B112867B}" dt="2024-09-29T18:15:05.466" v="16146" actId="14826"/>
          <ac:picMkLst>
            <pc:docMk/>
            <pc:sldMk cId="1498060418" sldId="802"/>
            <ac:picMk id="6" creationId="{EB6D5713-AC60-66C6-2F1A-890B4E122AF4}"/>
          </ac:picMkLst>
        </pc:picChg>
        <pc:picChg chg="add del mod">
          <ac:chgData name="Andreas Koksrud" userId="9d9beba6-c052-407a-8599-c781a677a996" providerId="ADAL" clId="{267904F6-164A-446F-8964-DA69B112867B}" dt="2024-09-05T09:52:49.067" v="6048" actId="22"/>
          <ac:picMkLst>
            <pc:docMk/>
            <pc:sldMk cId="1498060418" sldId="802"/>
            <ac:picMk id="7" creationId="{8DD00221-E7F0-6041-1421-77C5CB7F168D}"/>
          </ac:picMkLst>
        </pc:picChg>
        <pc:picChg chg="add mod">
          <ac:chgData name="Andreas Koksrud" userId="9d9beba6-c052-407a-8599-c781a677a996" providerId="ADAL" clId="{267904F6-164A-446F-8964-DA69B112867B}" dt="2024-09-05T09:53:06.407" v="6052" actId="1076"/>
          <ac:picMkLst>
            <pc:docMk/>
            <pc:sldMk cId="1498060418" sldId="802"/>
            <ac:picMk id="9" creationId="{9C3F5A80-4145-B7AB-2A32-4A455B7F4FCF}"/>
          </ac:picMkLst>
        </pc:picChg>
        <pc:picChg chg="add mod">
          <ac:chgData name="Andreas Koksrud" userId="9d9beba6-c052-407a-8599-c781a677a996" providerId="ADAL" clId="{267904F6-164A-446F-8964-DA69B112867B}" dt="2024-09-29T18:18:45.797" v="16392"/>
          <ac:picMkLst>
            <pc:docMk/>
            <pc:sldMk cId="1498060418" sldId="802"/>
            <ac:picMk id="16" creationId="{372C9B02-01CF-A00B-E187-8F3B01809EF2}"/>
          </ac:picMkLst>
        </pc:picChg>
        <pc:picChg chg="add del">
          <ac:chgData name="Andreas Koksrud" userId="9d9beba6-c052-407a-8599-c781a677a996" providerId="ADAL" clId="{267904F6-164A-446F-8964-DA69B112867B}" dt="2024-09-05T09:52:49.562" v="6049" actId="478"/>
          <ac:picMkLst>
            <pc:docMk/>
            <pc:sldMk cId="1498060418" sldId="802"/>
            <ac:picMk id="28" creationId="{3CDA9DE1-F708-2418-089B-846AACB07542}"/>
          </ac:picMkLst>
        </pc:picChg>
        <pc:cxnChg chg="add mod">
          <ac:chgData name="Andreas Koksrud" userId="9d9beba6-c052-407a-8599-c781a677a996" providerId="ADAL" clId="{267904F6-164A-446F-8964-DA69B112867B}" dt="2024-09-22T07:44:42.596" v="13112" actId="208"/>
          <ac:cxnSpMkLst>
            <pc:docMk/>
            <pc:sldMk cId="1498060418" sldId="802"/>
            <ac:cxnSpMk id="3" creationId="{9AE3E3CE-E9CE-7D35-1AF7-A2EE61DC0F34}"/>
          </ac:cxnSpMkLst>
        </pc:cxnChg>
        <pc:cxnChg chg="add mod ord">
          <ac:chgData name="Andreas Koksrud" userId="9d9beba6-c052-407a-8599-c781a677a996" providerId="ADAL" clId="{267904F6-164A-446F-8964-DA69B112867B}" dt="2024-09-13T12:25:09.294" v="12286" actId="14100"/>
          <ac:cxnSpMkLst>
            <pc:docMk/>
            <pc:sldMk cId="1498060418" sldId="802"/>
            <ac:cxnSpMk id="7" creationId="{E1928BFB-61B9-F15E-F17F-D6027658DDFB}"/>
          </ac:cxnSpMkLst>
        </pc:cxnChg>
        <pc:cxnChg chg="add mod">
          <ac:chgData name="Andreas Koksrud" userId="9d9beba6-c052-407a-8599-c781a677a996" providerId="ADAL" clId="{267904F6-164A-446F-8964-DA69B112867B}" dt="2024-09-22T07:46:24.047" v="13114" actId="14100"/>
          <ac:cxnSpMkLst>
            <pc:docMk/>
            <pc:sldMk cId="1498060418" sldId="802"/>
            <ac:cxnSpMk id="11" creationId="{C7F3ED9B-AE6D-BFC9-7F44-F9C0076B0D3D}"/>
          </ac:cxnSpMkLst>
        </pc:cxnChg>
        <pc:cxnChg chg="mod ord">
          <ac:chgData name="Andreas Koksrud" userId="9d9beba6-c052-407a-8599-c781a677a996" providerId="ADAL" clId="{267904F6-164A-446F-8964-DA69B112867B}" dt="2024-09-05T09:55:04.861" v="6057" actId="14100"/>
          <ac:cxnSpMkLst>
            <pc:docMk/>
            <pc:sldMk cId="1498060418" sldId="802"/>
            <ac:cxnSpMk id="14" creationId="{5E62564F-5B58-6220-DA9D-75A1C5F55029}"/>
          </ac:cxnSpMkLst>
        </pc:cxnChg>
      </pc:sldChg>
      <pc:sldChg chg="modSp add del ord">
        <pc:chgData name="Andreas Koksrud" userId="9d9beba6-c052-407a-8599-c781a677a996" providerId="ADAL" clId="{267904F6-164A-446F-8964-DA69B112867B}" dt="2024-09-29T18:03:57.633" v="15124"/>
        <pc:sldMkLst>
          <pc:docMk/>
          <pc:sldMk cId="248187023" sldId="814"/>
        </pc:sldMkLst>
        <pc:spChg chg="mod">
          <ac:chgData name="Andreas Koksrud" userId="9d9beba6-c052-407a-8599-c781a677a996" providerId="ADAL" clId="{267904F6-164A-446F-8964-DA69B112867B}" dt="2024-09-29T18:03:57.633" v="15124"/>
          <ac:spMkLst>
            <pc:docMk/>
            <pc:sldMk cId="248187023" sldId="814"/>
            <ac:spMk id="5" creationId="{9D69FA28-12F4-38E1-C193-CC0429BD3868}"/>
          </ac:spMkLst>
        </pc:spChg>
      </pc:sldChg>
      <pc:sldChg chg="addSp modSp add del mod ord">
        <pc:chgData name="Andreas Koksrud" userId="9d9beba6-c052-407a-8599-c781a677a996" providerId="ADAL" clId="{267904F6-164A-446F-8964-DA69B112867B}" dt="2024-09-29T18:03:57.633" v="15124"/>
        <pc:sldMkLst>
          <pc:docMk/>
          <pc:sldMk cId="2920848915" sldId="815"/>
        </pc:sldMkLst>
        <pc:spChg chg="mod">
          <ac:chgData name="Andreas Koksrud" userId="9d9beba6-c052-407a-8599-c781a677a996" providerId="ADAL" clId="{267904F6-164A-446F-8964-DA69B112867B}" dt="2024-09-29T18:03:57.633" v="15124"/>
          <ac:spMkLst>
            <pc:docMk/>
            <pc:sldMk cId="2920848915" sldId="815"/>
            <ac:spMk id="4" creationId="{F58B80D0-A570-42EB-0004-4602DD0F1A72}"/>
          </ac:spMkLst>
        </pc:spChg>
        <pc:spChg chg="mod">
          <ac:chgData name="Andreas Koksrud" userId="9d9beba6-c052-407a-8599-c781a677a996" providerId="ADAL" clId="{267904F6-164A-446F-8964-DA69B112867B}" dt="2024-09-21T14:42:59.936" v="12737" actId="20577"/>
          <ac:spMkLst>
            <pc:docMk/>
            <pc:sldMk cId="2920848915" sldId="815"/>
            <ac:spMk id="6" creationId="{EA7435AB-135C-8823-3B7C-480E86BC08A5}"/>
          </ac:spMkLst>
        </pc:spChg>
        <pc:spChg chg="add mod">
          <ac:chgData name="Andreas Koksrud" userId="9d9beba6-c052-407a-8599-c781a677a996" providerId="ADAL" clId="{267904F6-164A-446F-8964-DA69B112867B}" dt="2024-09-13T11:48:59.932" v="11828" actId="14100"/>
          <ac:spMkLst>
            <pc:docMk/>
            <pc:sldMk cId="2920848915" sldId="815"/>
            <ac:spMk id="7" creationId="{CABFE316-8200-363F-40D7-D2476E12DBAE}"/>
          </ac:spMkLst>
        </pc:spChg>
        <pc:picChg chg="mod">
          <ac:chgData name="Andreas Koksrud" userId="9d9beba6-c052-407a-8599-c781a677a996" providerId="ADAL" clId="{267904F6-164A-446F-8964-DA69B112867B}" dt="2024-09-13T11:48:54.689" v="11826" actId="1076"/>
          <ac:picMkLst>
            <pc:docMk/>
            <pc:sldMk cId="2920848915" sldId="815"/>
            <ac:picMk id="2" creationId="{AF392963-2BAA-7151-1D1B-C320A68F69AE}"/>
          </ac:picMkLst>
        </pc:picChg>
      </pc:sldChg>
      <pc:sldChg chg="modSp add del ord">
        <pc:chgData name="Andreas Koksrud" userId="9d9beba6-c052-407a-8599-c781a677a996" providerId="ADAL" clId="{267904F6-164A-446F-8964-DA69B112867B}" dt="2024-09-29T18:03:57.633" v="15124"/>
        <pc:sldMkLst>
          <pc:docMk/>
          <pc:sldMk cId="2825686732" sldId="816"/>
        </pc:sldMkLst>
        <pc:spChg chg="mod">
          <ac:chgData name="Andreas Koksrud" userId="9d9beba6-c052-407a-8599-c781a677a996" providerId="ADAL" clId="{267904F6-164A-446F-8964-DA69B112867B}" dt="2024-09-29T18:03:57.633" v="15124"/>
          <ac:spMkLst>
            <pc:docMk/>
            <pc:sldMk cId="2825686732" sldId="816"/>
            <ac:spMk id="5" creationId="{FC6163A4-D287-BE29-35BF-ECAFB86F98FC}"/>
          </ac:spMkLst>
        </pc:spChg>
      </pc:sldChg>
      <pc:sldChg chg="modSp add del ord">
        <pc:chgData name="Andreas Koksrud" userId="9d9beba6-c052-407a-8599-c781a677a996" providerId="ADAL" clId="{267904F6-164A-446F-8964-DA69B112867B}" dt="2024-09-29T18:03:57.633" v="15124"/>
        <pc:sldMkLst>
          <pc:docMk/>
          <pc:sldMk cId="3012956304" sldId="817"/>
        </pc:sldMkLst>
        <pc:spChg chg="mod">
          <ac:chgData name="Andreas Koksrud" userId="9d9beba6-c052-407a-8599-c781a677a996" providerId="ADAL" clId="{267904F6-164A-446F-8964-DA69B112867B}" dt="2024-09-29T18:03:57.633" v="15124"/>
          <ac:spMkLst>
            <pc:docMk/>
            <pc:sldMk cId="3012956304" sldId="817"/>
            <ac:spMk id="4" creationId="{782EE758-968B-A34F-9A95-9495D1837EC8}"/>
          </ac:spMkLst>
        </pc:spChg>
      </pc:sldChg>
      <pc:sldChg chg="addSp delSp modSp add del mod ord">
        <pc:chgData name="Andreas Koksrud" userId="9d9beba6-c052-407a-8599-c781a677a996" providerId="ADAL" clId="{267904F6-164A-446F-8964-DA69B112867B}" dt="2024-09-29T18:03:57.633" v="15124"/>
        <pc:sldMkLst>
          <pc:docMk/>
          <pc:sldMk cId="958133851" sldId="818"/>
        </pc:sldMkLst>
        <pc:spChg chg="mod">
          <ac:chgData name="Andreas Koksrud" userId="9d9beba6-c052-407a-8599-c781a677a996" providerId="ADAL" clId="{267904F6-164A-446F-8964-DA69B112867B}" dt="2024-09-29T18:03:57.633" v="15124"/>
          <ac:spMkLst>
            <pc:docMk/>
            <pc:sldMk cId="958133851" sldId="818"/>
            <ac:spMk id="5" creationId="{C751BA6C-2C9E-F12C-680F-73722C63B520}"/>
          </ac:spMkLst>
        </pc:spChg>
        <pc:spChg chg="add del">
          <ac:chgData name="Andreas Koksrud" userId="9d9beba6-c052-407a-8599-c781a677a996" providerId="ADAL" clId="{267904F6-164A-446F-8964-DA69B112867B}" dt="2024-09-21T14:43:04.226" v="12739" actId="22"/>
          <ac:spMkLst>
            <pc:docMk/>
            <pc:sldMk cId="958133851" sldId="818"/>
            <ac:spMk id="7" creationId="{C5A25FC9-9D7A-8960-4FA6-FE85E63B4659}"/>
          </ac:spMkLst>
        </pc:spChg>
        <pc:spChg chg="add mod">
          <ac:chgData name="Andreas Koksrud" userId="9d9beba6-c052-407a-8599-c781a677a996" providerId="ADAL" clId="{267904F6-164A-446F-8964-DA69B112867B}" dt="2024-09-21T14:43:26.169" v="12742" actId="20577"/>
          <ac:spMkLst>
            <pc:docMk/>
            <pc:sldMk cId="958133851" sldId="818"/>
            <ac:spMk id="8" creationId="{B1571D91-7472-9CDB-BEFE-AA90D6A6AC9B}"/>
          </ac:spMkLst>
        </pc:spChg>
      </pc:sldChg>
      <pc:sldChg chg="modSp add del ord">
        <pc:chgData name="Andreas Koksrud" userId="9d9beba6-c052-407a-8599-c781a677a996" providerId="ADAL" clId="{267904F6-164A-446F-8964-DA69B112867B}" dt="2024-09-29T18:03:57.633" v="15124"/>
        <pc:sldMkLst>
          <pc:docMk/>
          <pc:sldMk cId="3123567294" sldId="819"/>
        </pc:sldMkLst>
        <pc:spChg chg="mod">
          <ac:chgData name="Andreas Koksrud" userId="9d9beba6-c052-407a-8599-c781a677a996" providerId="ADAL" clId="{267904F6-164A-446F-8964-DA69B112867B}" dt="2024-09-29T18:03:57.633" v="15124"/>
          <ac:spMkLst>
            <pc:docMk/>
            <pc:sldMk cId="3123567294" sldId="819"/>
            <ac:spMk id="3" creationId="{41465CF4-20DA-163A-99C6-1D2297ACF95C}"/>
          </ac:spMkLst>
        </pc:spChg>
      </pc:sldChg>
      <pc:sldChg chg="addSp modSp">
        <pc:chgData name="Andreas Koksrud" userId="9d9beba6-c052-407a-8599-c781a677a996" providerId="ADAL" clId="{267904F6-164A-446F-8964-DA69B112867B}" dt="2024-09-29T18:19:08.692" v="16407"/>
        <pc:sldMkLst>
          <pc:docMk/>
          <pc:sldMk cId="484354108" sldId="821"/>
        </pc:sldMkLst>
        <pc:picChg chg="add mod">
          <ac:chgData name="Andreas Koksrud" userId="9d9beba6-c052-407a-8599-c781a677a996" providerId="ADAL" clId="{267904F6-164A-446F-8964-DA69B112867B}" dt="2024-09-29T18:19:08.692" v="16407"/>
          <ac:picMkLst>
            <pc:docMk/>
            <pc:sldMk cId="484354108" sldId="821"/>
            <ac:picMk id="4" creationId="{ABDACE6B-DA46-AB19-FFE4-E991F05D4F5B}"/>
          </ac:picMkLst>
        </pc:picChg>
      </pc:sldChg>
      <pc:sldChg chg="del">
        <pc:chgData name="Andreas Koksrud" userId="9d9beba6-c052-407a-8599-c781a677a996" providerId="ADAL" clId="{267904F6-164A-446F-8964-DA69B112867B}" dt="2024-08-31T13:49:51.953" v="16" actId="47"/>
        <pc:sldMkLst>
          <pc:docMk/>
          <pc:sldMk cId="3521479601" sldId="823"/>
        </pc:sldMkLst>
      </pc:sldChg>
      <pc:sldChg chg="del">
        <pc:chgData name="Andreas Koksrud" userId="9d9beba6-c052-407a-8599-c781a677a996" providerId="ADAL" clId="{267904F6-164A-446F-8964-DA69B112867B}" dt="2024-08-31T14:13:00.642" v="1340" actId="47"/>
        <pc:sldMkLst>
          <pc:docMk/>
          <pc:sldMk cId="4106763092" sldId="826"/>
        </pc:sldMkLst>
      </pc:sldChg>
      <pc:sldChg chg="modSp mod">
        <pc:chgData name="Andreas Koksrud" userId="9d9beba6-c052-407a-8599-c781a677a996" providerId="ADAL" clId="{267904F6-164A-446F-8964-DA69B112867B}" dt="2024-09-30T20:10:37.109" v="17222"/>
        <pc:sldMkLst>
          <pc:docMk/>
          <pc:sldMk cId="468106742" sldId="850"/>
        </pc:sldMkLst>
        <pc:spChg chg="mod">
          <ac:chgData name="Andreas Koksrud" userId="9d9beba6-c052-407a-8599-c781a677a996" providerId="ADAL" clId="{267904F6-164A-446F-8964-DA69B112867B}" dt="2024-09-13T11:18:36.665" v="10889" actId="20577"/>
          <ac:spMkLst>
            <pc:docMk/>
            <pc:sldMk cId="468106742" sldId="850"/>
            <ac:spMk id="7" creationId="{F57809A5-5D18-E09A-D8A2-8E873756E594}"/>
          </ac:spMkLst>
        </pc:spChg>
        <pc:spChg chg="mod">
          <ac:chgData name="Andreas Koksrud" userId="9d9beba6-c052-407a-8599-c781a677a996" providerId="ADAL" clId="{267904F6-164A-446F-8964-DA69B112867B}" dt="2024-09-30T20:10:37.109" v="17222"/>
          <ac:spMkLst>
            <pc:docMk/>
            <pc:sldMk cId="468106742" sldId="850"/>
            <ac:spMk id="181" creationId="{00000000-0000-0000-0000-000000000000}"/>
          </ac:spMkLst>
        </pc:spChg>
      </pc:sldChg>
      <pc:sldChg chg="modSp">
        <pc:chgData name="Andreas Koksrud" userId="9d9beba6-c052-407a-8599-c781a677a996" providerId="ADAL" clId="{267904F6-164A-446F-8964-DA69B112867B}" dt="2024-09-29T18:04:50.065" v="15126"/>
        <pc:sldMkLst>
          <pc:docMk/>
          <pc:sldMk cId="3782901869" sldId="851"/>
        </pc:sldMkLst>
        <pc:spChg chg="mod">
          <ac:chgData name="Andreas Koksrud" userId="9d9beba6-c052-407a-8599-c781a677a996" providerId="ADAL" clId="{267904F6-164A-446F-8964-DA69B112867B}" dt="2024-09-29T18:04:50.065" v="15126"/>
          <ac:spMkLst>
            <pc:docMk/>
            <pc:sldMk cId="3782901869" sldId="851"/>
            <ac:spMk id="4" creationId="{802F7DCE-DF15-C44E-DF61-F162389FA51D}"/>
          </ac:spMkLst>
        </pc:spChg>
      </pc:sldChg>
      <pc:sldChg chg="addSp delSp modSp mod">
        <pc:chgData name="Andreas Koksrud" userId="9d9beba6-c052-407a-8599-c781a677a996" providerId="ADAL" clId="{267904F6-164A-446F-8964-DA69B112867B}" dt="2024-09-22T09:23:08.905" v="13443" actId="1076"/>
        <pc:sldMkLst>
          <pc:docMk/>
          <pc:sldMk cId="1250772557" sldId="855"/>
        </pc:sldMkLst>
        <pc:spChg chg="add mod">
          <ac:chgData name="Andreas Koksrud" userId="9d9beba6-c052-407a-8599-c781a677a996" providerId="ADAL" clId="{267904F6-164A-446F-8964-DA69B112867B}" dt="2024-09-22T09:23:04.573" v="13441" actId="20577"/>
          <ac:spMkLst>
            <pc:docMk/>
            <pc:sldMk cId="1250772557" sldId="855"/>
            <ac:spMk id="4" creationId="{2CEB6283-97FE-9E3F-7985-A0425839CF3A}"/>
          </ac:spMkLst>
        </pc:spChg>
        <pc:spChg chg="del mod">
          <ac:chgData name="Andreas Koksrud" userId="9d9beba6-c052-407a-8599-c781a677a996" providerId="ADAL" clId="{267904F6-164A-446F-8964-DA69B112867B}" dt="2024-09-22T09:22:20.659" v="13340" actId="478"/>
          <ac:spMkLst>
            <pc:docMk/>
            <pc:sldMk cId="1250772557" sldId="855"/>
            <ac:spMk id="181" creationId="{00000000-0000-0000-0000-000000000000}"/>
          </ac:spMkLst>
        </pc:spChg>
        <pc:picChg chg="mod">
          <ac:chgData name="Andreas Koksrud" userId="9d9beba6-c052-407a-8599-c781a677a996" providerId="ADAL" clId="{267904F6-164A-446F-8964-DA69B112867B}" dt="2024-09-22T09:23:07.734" v="13442" actId="1076"/>
          <ac:picMkLst>
            <pc:docMk/>
            <pc:sldMk cId="1250772557" sldId="855"/>
            <ac:picMk id="7" creationId="{7D670DAC-AB9A-4E67-B563-21F399B61E68}"/>
          </ac:picMkLst>
        </pc:picChg>
        <pc:picChg chg="mod">
          <ac:chgData name="Andreas Koksrud" userId="9d9beba6-c052-407a-8599-c781a677a996" providerId="ADAL" clId="{267904F6-164A-446F-8964-DA69B112867B}" dt="2024-09-22T09:23:08.905" v="13443" actId="1076"/>
          <ac:picMkLst>
            <pc:docMk/>
            <pc:sldMk cId="1250772557" sldId="855"/>
            <ac:picMk id="9" creationId="{A86868A0-95B8-7ADB-9EF3-DC56E2D3FA45}"/>
          </ac:picMkLst>
        </pc:picChg>
      </pc:sldChg>
      <pc:sldChg chg="modSp mod">
        <pc:chgData name="Andreas Koksrud" userId="9d9beba6-c052-407a-8599-c781a677a996" providerId="ADAL" clId="{267904F6-164A-446F-8964-DA69B112867B}" dt="2024-09-22T09:23:51.476" v="13539" actId="6549"/>
        <pc:sldMkLst>
          <pc:docMk/>
          <pc:sldMk cId="879097217" sldId="856"/>
        </pc:sldMkLst>
        <pc:spChg chg="mod">
          <ac:chgData name="Andreas Koksrud" userId="9d9beba6-c052-407a-8599-c781a677a996" providerId="ADAL" clId="{267904F6-164A-446F-8964-DA69B112867B}" dt="2024-09-22T09:23:30.336" v="13491" actId="6549"/>
          <ac:spMkLst>
            <pc:docMk/>
            <pc:sldMk cId="879097217" sldId="856"/>
            <ac:spMk id="180" creationId="{00000000-0000-0000-0000-000000000000}"/>
          </ac:spMkLst>
        </pc:spChg>
        <pc:spChg chg="mod">
          <ac:chgData name="Andreas Koksrud" userId="9d9beba6-c052-407a-8599-c781a677a996" providerId="ADAL" clId="{267904F6-164A-446F-8964-DA69B112867B}" dt="2024-09-22T09:23:51.476" v="13539" actId="6549"/>
          <ac:spMkLst>
            <pc:docMk/>
            <pc:sldMk cId="879097217" sldId="856"/>
            <ac:spMk id="181" creationId="{00000000-0000-0000-0000-000000000000}"/>
          </ac:spMkLst>
        </pc:spChg>
      </pc:sldChg>
      <pc:sldChg chg="modSp mod">
        <pc:chgData name="Andreas Koksrud" userId="9d9beba6-c052-407a-8599-c781a677a996" providerId="ADAL" clId="{267904F6-164A-446F-8964-DA69B112867B}" dt="2024-09-13T11:20:04.856" v="10891" actId="20577"/>
        <pc:sldMkLst>
          <pc:docMk/>
          <pc:sldMk cId="2554802186" sldId="861"/>
        </pc:sldMkLst>
        <pc:spChg chg="mod">
          <ac:chgData name="Andreas Koksrud" userId="9d9beba6-c052-407a-8599-c781a677a996" providerId="ADAL" clId="{267904F6-164A-446F-8964-DA69B112867B}" dt="2024-09-13T11:20:04.856" v="10891" actId="20577"/>
          <ac:spMkLst>
            <pc:docMk/>
            <pc:sldMk cId="2554802186" sldId="861"/>
            <ac:spMk id="9" creationId="{76667482-48B7-C29F-CD5F-748E1DA51AFA}"/>
          </ac:spMkLst>
        </pc:spChg>
      </pc:sldChg>
      <pc:sldChg chg="delSp modSp mod">
        <pc:chgData name="Andreas Koksrud" userId="9d9beba6-c052-407a-8599-c781a677a996" providerId="ADAL" clId="{267904F6-164A-446F-8964-DA69B112867B}" dt="2024-09-13T11:26:09.428" v="11207" actId="20577"/>
        <pc:sldMkLst>
          <pc:docMk/>
          <pc:sldMk cId="3027998341" sldId="863"/>
        </pc:sldMkLst>
        <pc:spChg chg="mod">
          <ac:chgData name="Andreas Koksrud" userId="9d9beba6-c052-407a-8599-c781a677a996" providerId="ADAL" clId="{267904F6-164A-446F-8964-DA69B112867B}" dt="2024-09-13T11:26:09.428" v="11207" actId="20577"/>
          <ac:spMkLst>
            <pc:docMk/>
            <pc:sldMk cId="3027998341" sldId="863"/>
            <ac:spMk id="5" creationId="{B259C13C-2644-4AD5-B4DF-B39BAFF24006}"/>
          </ac:spMkLst>
        </pc:spChg>
        <pc:spChg chg="mod">
          <ac:chgData name="Andreas Koksrud" userId="9d9beba6-c052-407a-8599-c781a677a996" providerId="ADAL" clId="{267904F6-164A-446F-8964-DA69B112867B}" dt="2024-09-13T11:24:53.557" v="10975" actId="1076"/>
          <ac:spMkLst>
            <pc:docMk/>
            <pc:sldMk cId="3027998341" sldId="863"/>
            <ac:spMk id="6" creationId="{D66CA787-D3BF-24C5-DD37-94892B12E37B}"/>
          </ac:spMkLst>
        </pc:spChg>
        <pc:spChg chg="del">
          <ac:chgData name="Andreas Koksrud" userId="9d9beba6-c052-407a-8599-c781a677a996" providerId="ADAL" clId="{267904F6-164A-446F-8964-DA69B112867B}" dt="2024-09-13T11:24:46.088" v="10973" actId="478"/>
          <ac:spMkLst>
            <pc:docMk/>
            <pc:sldMk cId="3027998341" sldId="863"/>
            <ac:spMk id="7" creationId="{5F730EDA-F436-6411-E83F-33884CC0B3A8}"/>
          </ac:spMkLst>
        </pc:spChg>
        <pc:cxnChg chg="del">
          <ac:chgData name="Andreas Koksrud" userId="9d9beba6-c052-407a-8599-c781a677a996" providerId="ADAL" clId="{267904F6-164A-446F-8964-DA69B112867B}" dt="2024-09-13T11:24:46.990" v="10974" actId="478"/>
          <ac:cxnSpMkLst>
            <pc:docMk/>
            <pc:sldMk cId="3027998341" sldId="863"/>
            <ac:cxnSpMk id="8" creationId="{5F901343-D2D1-0A3E-E080-46379552CD55}"/>
          </ac:cxnSpMkLst>
        </pc:cxnChg>
      </pc:sldChg>
      <pc:sldChg chg="addSp delSp modSp mod">
        <pc:chgData name="Andreas Koksrud" userId="9d9beba6-c052-407a-8599-c781a677a996" providerId="ADAL" clId="{267904F6-164A-446F-8964-DA69B112867B}" dt="2024-09-22T09:54:05.940" v="13742" actId="1037"/>
        <pc:sldMkLst>
          <pc:docMk/>
          <pc:sldMk cId="2970237999" sldId="864"/>
        </pc:sldMkLst>
        <pc:spChg chg="mod">
          <ac:chgData name="Andreas Koksrud" userId="9d9beba6-c052-407a-8599-c781a677a996" providerId="ADAL" clId="{267904F6-164A-446F-8964-DA69B112867B}" dt="2024-09-22T09:50:39.361" v="13652" actId="20577"/>
          <ac:spMkLst>
            <pc:docMk/>
            <pc:sldMk cId="2970237999" sldId="864"/>
            <ac:spMk id="9" creationId="{C5D0C8DA-7085-00DB-1E89-BC180452B60B}"/>
          </ac:spMkLst>
        </pc:spChg>
        <pc:spChg chg="add mod">
          <ac:chgData name="Andreas Koksrud" userId="9d9beba6-c052-407a-8599-c781a677a996" providerId="ADAL" clId="{267904F6-164A-446F-8964-DA69B112867B}" dt="2024-09-22T09:47:59.361" v="13574" actId="1076"/>
          <ac:spMkLst>
            <pc:docMk/>
            <pc:sldMk cId="2970237999" sldId="864"/>
            <ac:spMk id="10" creationId="{0D004971-B09B-5198-A7B4-EA0E3483F153}"/>
          </ac:spMkLst>
        </pc:spChg>
        <pc:spChg chg="mod">
          <ac:chgData name="Andreas Koksrud" userId="9d9beba6-c052-407a-8599-c781a677a996" providerId="ADAL" clId="{267904F6-164A-446F-8964-DA69B112867B}" dt="2024-09-22T09:47:49.361" v="13572" actId="14100"/>
          <ac:spMkLst>
            <pc:docMk/>
            <pc:sldMk cId="2970237999" sldId="864"/>
            <ac:spMk id="19" creationId="{FF82F14C-31B3-80C9-C4DB-E8559F942254}"/>
          </ac:spMkLst>
        </pc:spChg>
        <pc:picChg chg="del mod">
          <ac:chgData name="Andreas Koksrud" userId="9d9beba6-c052-407a-8599-c781a677a996" providerId="ADAL" clId="{267904F6-164A-446F-8964-DA69B112867B}" dt="2024-09-22T09:53:50.714" v="13730" actId="478"/>
          <ac:picMkLst>
            <pc:docMk/>
            <pc:sldMk cId="2970237999" sldId="864"/>
            <ac:picMk id="13" creationId="{5AC913F4-50DE-366E-19F6-ADB839FEAF31}"/>
          </ac:picMkLst>
        </pc:picChg>
        <pc:picChg chg="add mod ord">
          <ac:chgData name="Andreas Koksrud" userId="9d9beba6-c052-407a-8599-c781a677a996" providerId="ADAL" clId="{267904F6-164A-446F-8964-DA69B112867B}" dt="2024-09-22T09:54:05.940" v="13742" actId="1037"/>
          <ac:picMkLst>
            <pc:docMk/>
            <pc:sldMk cId="2970237999" sldId="864"/>
            <ac:picMk id="17" creationId="{54EE0355-061B-BB54-BFA3-9A50A1C368F5}"/>
          </ac:picMkLst>
        </pc:picChg>
        <pc:cxnChg chg="add mod">
          <ac:chgData name="Andreas Koksrud" userId="9d9beba6-c052-407a-8599-c781a677a996" providerId="ADAL" clId="{267904F6-164A-446F-8964-DA69B112867B}" dt="2024-09-22T09:48:05.838" v="13576" actId="14100"/>
          <ac:cxnSpMkLst>
            <pc:docMk/>
            <pc:sldMk cId="2970237999" sldId="864"/>
            <ac:cxnSpMk id="11" creationId="{5A9D9A91-476A-89AD-353F-CAFCC9F6DD66}"/>
          </ac:cxnSpMkLst>
        </pc:cxnChg>
        <pc:cxnChg chg="mod">
          <ac:chgData name="Andreas Koksrud" userId="9d9beba6-c052-407a-8599-c781a677a996" providerId="ADAL" clId="{267904F6-164A-446F-8964-DA69B112867B}" dt="2024-09-22T09:47:49.361" v="13572" actId="14100"/>
          <ac:cxnSpMkLst>
            <pc:docMk/>
            <pc:sldMk cId="2970237999" sldId="864"/>
            <ac:cxnSpMk id="15" creationId="{19DA8578-13B5-7BEC-8B5B-8636BC334503}"/>
          </ac:cxnSpMkLst>
        </pc:cxnChg>
      </pc:sldChg>
      <pc:sldChg chg="addSp delSp modSp mod">
        <pc:chgData name="Andreas Koksrud" userId="9d9beba6-c052-407a-8599-c781a677a996" providerId="ADAL" clId="{267904F6-164A-446F-8964-DA69B112867B}" dt="2024-09-22T10:01:23.953" v="14008" actId="20577"/>
        <pc:sldMkLst>
          <pc:docMk/>
          <pc:sldMk cId="3994882627" sldId="867"/>
        </pc:sldMkLst>
        <pc:spChg chg="add del mod">
          <ac:chgData name="Andreas Koksrud" userId="9d9beba6-c052-407a-8599-c781a677a996" providerId="ADAL" clId="{267904F6-164A-446F-8964-DA69B112867B}" dt="2024-09-22T09:56:40.773" v="13782" actId="478"/>
          <ac:spMkLst>
            <pc:docMk/>
            <pc:sldMk cId="3994882627" sldId="867"/>
            <ac:spMk id="5" creationId="{B1D8A60C-1A97-D63B-3276-960B33ACACB7}"/>
          </ac:spMkLst>
        </pc:spChg>
        <pc:spChg chg="add mod">
          <ac:chgData name="Andreas Koksrud" userId="9d9beba6-c052-407a-8599-c781a677a996" providerId="ADAL" clId="{267904F6-164A-446F-8964-DA69B112867B}" dt="2024-09-22T09:58:34.149" v="13881" actId="14100"/>
          <ac:spMkLst>
            <pc:docMk/>
            <pc:sldMk cId="3994882627" sldId="867"/>
            <ac:spMk id="7" creationId="{BDE6D847-0168-34D0-0332-3AF6D1E7A57F}"/>
          </ac:spMkLst>
        </pc:spChg>
        <pc:spChg chg="mod">
          <ac:chgData name="Andreas Koksrud" userId="9d9beba6-c052-407a-8599-c781a677a996" providerId="ADAL" clId="{267904F6-164A-446F-8964-DA69B112867B}" dt="2024-09-22T10:01:23.953" v="14008" actId="20577"/>
          <ac:spMkLst>
            <pc:docMk/>
            <pc:sldMk cId="3994882627" sldId="867"/>
            <ac:spMk id="14" creationId="{C85A9E99-AA4E-C194-FF2A-6C5AC5C1CF94}"/>
          </ac:spMkLst>
        </pc:spChg>
        <pc:picChg chg="del">
          <ac:chgData name="Andreas Koksrud" userId="9d9beba6-c052-407a-8599-c781a677a996" providerId="ADAL" clId="{267904F6-164A-446F-8964-DA69B112867B}" dt="2024-09-22T09:55:59.352" v="13778" actId="478"/>
          <ac:picMkLst>
            <pc:docMk/>
            <pc:sldMk cId="3994882627" sldId="867"/>
            <ac:picMk id="6" creationId="{DE9CC281-7648-F679-6118-F9982E915E31}"/>
          </ac:picMkLst>
        </pc:picChg>
        <pc:picChg chg="del">
          <ac:chgData name="Andreas Koksrud" userId="9d9beba6-c052-407a-8599-c781a677a996" providerId="ADAL" clId="{267904F6-164A-446F-8964-DA69B112867B}" dt="2024-09-22T09:55:59.980" v="13779" actId="478"/>
          <ac:picMkLst>
            <pc:docMk/>
            <pc:sldMk cId="3994882627" sldId="867"/>
            <ac:picMk id="9" creationId="{CE2C19FD-6D86-D125-0AB5-C2F854D617A1}"/>
          </ac:picMkLst>
        </pc:picChg>
        <pc:cxnChg chg="del">
          <ac:chgData name="Andreas Koksrud" userId="9d9beba6-c052-407a-8599-c781a677a996" providerId="ADAL" clId="{267904F6-164A-446F-8964-DA69B112867B}" dt="2024-09-22T09:56:00.954" v="13780" actId="478"/>
          <ac:cxnSpMkLst>
            <pc:docMk/>
            <pc:sldMk cId="3994882627" sldId="867"/>
            <ac:cxnSpMk id="10" creationId="{73266020-0B4F-2C5B-0FC4-A136BDF0B854}"/>
          </ac:cxnSpMkLst>
        </pc:cxnChg>
        <pc:cxnChg chg="mod">
          <ac:chgData name="Andreas Koksrud" userId="9d9beba6-c052-407a-8599-c781a677a996" providerId="ADAL" clId="{267904F6-164A-446F-8964-DA69B112867B}" dt="2024-09-22T09:58:36.120" v="13882" actId="14100"/>
          <ac:cxnSpMkLst>
            <pc:docMk/>
            <pc:sldMk cId="3994882627" sldId="867"/>
            <ac:cxnSpMk id="13" creationId="{D61812EA-9C4C-C401-D73C-5C2AED17E68E}"/>
          </ac:cxnSpMkLst>
        </pc:cxnChg>
      </pc:sldChg>
      <pc:sldChg chg="addSp modSp mod">
        <pc:chgData name="Andreas Koksrud" userId="9d9beba6-c052-407a-8599-c781a677a996" providerId="ADAL" clId="{267904F6-164A-446F-8964-DA69B112867B}" dt="2024-09-13T11:15:29.639" v="10883" actId="20577"/>
        <pc:sldMkLst>
          <pc:docMk/>
          <pc:sldMk cId="2547417480" sldId="872"/>
        </pc:sldMkLst>
        <pc:spChg chg="add mod">
          <ac:chgData name="Andreas Koksrud" userId="9d9beba6-c052-407a-8599-c781a677a996" providerId="ADAL" clId="{267904F6-164A-446F-8964-DA69B112867B}" dt="2024-09-13T11:12:32.761" v="10695" actId="571"/>
          <ac:spMkLst>
            <pc:docMk/>
            <pc:sldMk cId="2547417480" sldId="872"/>
            <ac:spMk id="3" creationId="{1BC267A7-00A2-B306-18B3-26914F00EBF6}"/>
          </ac:spMkLst>
        </pc:spChg>
        <pc:spChg chg="mod">
          <ac:chgData name="Andreas Koksrud" userId="9d9beba6-c052-407a-8599-c781a677a996" providerId="ADAL" clId="{267904F6-164A-446F-8964-DA69B112867B}" dt="2024-09-13T11:15:29.639" v="10883" actId="20577"/>
          <ac:spMkLst>
            <pc:docMk/>
            <pc:sldMk cId="2547417480" sldId="872"/>
            <ac:spMk id="4" creationId="{A2AA7E7B-789F-BABC-8064-524E754B605A}"/>
          </ac:spMkLst>
        </pc:spChg>
        <pc:spChg chg="mod">
          <ac:chgData name="Andreas Koksrud" userId="9d9beba6-c052-407a-8599-c781a677a996" providerId="ADAL" clId="{267904F6-164A-446F-8964-DA69B112867B}" dt="2024-09-13T11:12:28.098" v="10694" actId="1076"/>
          <ac:spMkLst>
            <pc:docMk/>
            <pc:sldMk cId="2547417480" sldId="872"/>
            <ac:spMk id="7" creationId="{9CAD7A78-C297-D5CB-20C2-F9524B68D8F8}"/>
          </ac:spMkLst>
        </pc:spChg>
        <pc:spChg chg="add mod">
          <ac:chgData name="Andreas Koksrud" userId="9d9beba6-c052-407a-8599-c781a677a996" providerId="ADAL" clId="{267904F6-164A-446F-8964-DA69B112867B}" dt="2024-09-13T11:14:38.244" v="10782" actId="1076"/>
          <ac:spMkLst>
            <pc:docMk/>
            <pc:sldMk cId="2547417480" sldId="872"/>
            <ac:spMk id="17" creationId="{B4EFBD89-79D9-791A-DE90-926B6DEE4DC6}"/>
          </ac:spMkLst>
        </pc:spChg>
        <pc:picChg chg="add mod">
          <ac:chgData name="Andreas Koksrud" userId="9d9beba6-c052-407a-8599-c781a677a996" providerId="ADAL" clId="{267904F6-164A-446F-8964-DA69B112867B}" dt="2024-09-13T11:13:18.988" v="10698" actId="1076"/>
          <ac:picMkLst>
            <pc:docMk/>
            <pc:sldMk cId="2547417480" sldId="872"/>
            <ac:picMk id="11" creationId="{2BE1D3E6-B783-B23C-6B03-DD5110FE2157}"/>
          </ac:picMkLst>
        </pc:picChg>
        <pc:picChg chg="add mod">
          <ac:chgData name="Andreas Koksrud" userId="9d9beba6-c052-407a-8599-c781a677a996" providerId="ADAL" clId="{267904F6-164A-446F-8964-DA69B112867B}" dt="2024-09-13T11:14:00.627" v="10703" actId="1076"/>
          <ac:picMkLst>
            <pc:docMk/>
            <pc:sldMk cId="2547417480" sldId="872"/>
            <ac:picMk id="16" creationId="{2D694D4D-A706-4262-48EF-69A933812AC4}"/>
          </ac:picMkLst>
        </pc:picChg>
        <pc:cxnChg chg="add mod">
          <ac:chgData name="Andreas Koksrud" userId="9d9beba6-c052-407a-8599-c781a677a996" providerId="ADAL" clId="{267904F6-164A-446F-8964-DA69B112867B}" dt="2024-09-13T11:13:26.816" v="10701" actId="14100"/>
          <ac:cxnSpMkLst>
            <pc:docMk/>
            <pc:sldMk cId="2547417480" sldId="872"/>
            <ac:cxnSpMk id="12" creationId="{615DE246-8AC3-939D-35CA-27EA1EB123AE}"/>
          </ac:cxnSpMkLst>
        </pc:cxnChg>
      </pc:sldChg>
      <pc:sldChg chg="addSp modSp mod">
        <pc:chgData name="Andreas Koksrud" userId="9d9beba6-c052-407a-8599-c781a677a996" providerId="ADAL" clId="{267904F6-164A-446F-8964-DA69B112867B}" dt="2024-09-22T09:52:52.080" v="13727" actId="14826"/>
        <pc:sldMkLst>
          <pc:docMk/>
          <pc:sldMk cId="3240008992" sldId="874"/>
        </pc:sldMkLst>
        <pc:spChg chg="add mod">
          <ac:chgData name="Andreas Koksrud" userId="9d9beba6-c052-407a-8599-c781a677a996" providerId="ADAL" clId="{267904F6-164A-446F-8964-DA69B112867B}" dt="2024-09-22T09:46:07.438" v="13564" actId="20577"/>
          <ac:spMkLst>
            <pc:docMk/>
            <pc:sldMk cId="3240008992" sldId="874"/>
            <ac:spMk id="3" creationId="{DDB4A062-D4C8-4665-8039-CC9542FF187B}"/>
          </ac:spMkLst>
        </pc:spChg>
        <pc:spChg chg="mod">
          <ac:chgData name="Andreas Koksrud" userId="9d9beba6-c052-407a-8599-c781a677a996" providerId="ADAL" clId="{267904F6-164A-446F-8964-DA69B112867B}" dt="2024-09-22T09:51:08.614" v="13726" actId="20577"/>
          <ac:spMkLst>
            <pc:docMk/>
            <pc:sldMk cId="3240008992" sldId="874"/>
            <ac:spMk id="8" creationId="{8928A11D-61E0-D194-E095-83A6945E510F}"/>
          </ac:spMkLst>
        </pc:spChg>
        <pc:picChg chg="mod">
          <ac:chgData name="Andreas Koksrud" userId="9d9beba6-c052-407a-8599-c781a677a996" providerId="ADAL" clId="{267904F6-164A-446F-8964-DA69B112867B}" dt="2024-09-22T09:52:52.080" v="13727" actId="14826"/>
          <ac:picMkLst>
            <pc:docMk/>
            <pc:sldMk cId="3240008992" sldId="874"/>
            <ac:picMk id="17" creationId="{A2E35820-F204-C5BA-5DAF-EE7048B44AA6}"/>
          </ac:picMkLst>
        </pc:picChg>
        <pc:cxnChg chg="add mod">
          <ac:chgData name="Andreas Koksrud" userId="9d9beba6-c052-407a-8599-c781a677a996" providerId="ADAL" clId="{267904F6-164A-446F-8964-DA69B112867B}" dt="2024-09-22T09:46:57.945" v="13568" actId="14100"/>
          <ac:cxnSpMkLst>
            <pc:docMk/>
            <pc:sldMk cId="3240008992" sldId="874"/>
            <ac:cxnSpMk id="7" creationId="{1E0C9EB3-0AB0-E738-366E-B2263BDF154E}"/>
          </ac:cxnSpMkLst>
        </pc:cxnChg>
      </pc:sldChg>
      <pc:sldChg chg="modSp">
        <pc:chgData name="Andreas Koksrud" userId="9d9beba6-c052-407a-8599-c781a677a996" providerId="ADAL" clId="{267904F6-164A-446F-8964-DA69B112867B}" dt="2024-09-30T20:10:37.109" v="17222"/>
        <pc:sldMkLst>
          <pc:docMk/>
          <pc:sldMk cId="1681035015" sldId="900"/>
        </pc:sldMkLst>
        <pc:spChg chg="mod">
          <ac:chgData name="Andreas Koksrud" userId="9d9beba6-c052-407a-8599-c781a677a996" providerId="ADAL" clId="{267904F6-164A-446F-8964-DA69B112867B}" dt="2024-09-30T20:10:37.109" v="17222"/>
          <ac:spMkLst>
            <pc:docMk/>
            <pc:sldMk cId="1681035015" sldId="900"/>
            <ac:spMk id="181" creationId="{00000000-0000-0000-0000-000000000000}"/>
          </ac:spMkLst>
        </pc:spChg>
      </pc:sldChg>
      <pc:sldChg chg="modSp">
        <pc:chgData name="Andreas Koksrud" userId="9d9beba6-c052-407a-8599-c781a677a996" providerId="ADAL" clId="{267904F6-164A-446F-8964-DA69B112867B}" dt="2024-09-30T20:10:37.109" v="17222"/>
        <pc:sldMkLst>
          <pc:docMk/>
          <pc:sldMk cId="1114492161" sldId="902"/>
        </pc:sldMkLst>
        <pc:spChg chg="mod">
          <ac:chgData name="Andreas Koksrud" userId="9d9beba6-c052-407a-8599-c781a677a996" providerId="ADAL" clId="{267904F6-164A-446F-8964-DA69B112867B}" dt="2024-09-30T20:10:37.109" v="17222"/>
          <ac:spMkLst>
            <pc:docMk/>
            <pc:sldMk cId="1114492161" sldId="902"/>
            <ac:spMk id="181" creationId="{00000000-0000-0000-0000-000000000000}"/>
          </ac:spMkLst>
        </pc:spChg>
      </pc:sldChg>
      <pc:sldChg chg="modSp add del mod ord">
        <pc:chgData name="Andreas Koksrud" userId="9d9beba6-c052-407a-8599-c781a677a996" providerId="ADAL" clId="{267904F6-164A-446F-8964-DA69B112867B}" dt="2024-09-30T20:10:37.109" v="17222"/>
        <pc:sldMkLst>
          <pc:docMk/>
          <pc:sldMk cId="2933509549" sldId="903"/>
        </pc:sldMkLst>
        <pc:spChg chg="mod">
          <ac:chgData name="Andreas Koksrud" userId="9d9beba6-c052-407a-8599-c781a677a996" providerId="ADAL" clId="{267904F6-164A-446F-8964-DA69B112867B}" dt="2024-09-29T18:03:57.633" v="15124"/>
          <ac:spMkLst>
            <pc:docMk/>
            <pc:sldMk cId="2933509549" sldId="903"/>
            <ac:spMk id="4" creationId="{4E1C2F61-69D1-C4C7-A93C-FAB0264657C4}"/>
          </ac:spMkLst>
        </pc:spChg>
        <pc:spChg chg="mod">
          <ac:chgData name="Andreas Koksrud" userId="9d9beba6-c052-407a-8599-c781a677a996" providerId="ADAL" clId="{267904F6-164A-446F-8964-DA69B112867B}" dt="2024-09-29T18:03:57.633" v="15124"/>
          <ac:spMkLst>
            <pc:docMk/>
            <pc:sldMk cId="2933509549" sldId="903"/>
            <ac:spMk id="180" creationId="{00000000-0000-0000-0000-000000000000}"/>
          </ac:spMkLst>
        </pc:spChg>
        <pc:spChg chg="mod">
          <ac:chgData name="Andreas Koksrud" userId="9d9beba6-c052-407a-8599-c781a677a996" providerId="ADAL" clId="{267904F6-164A-446F-8964-DA69B112867B}" dt="2024-09-30T20:10:37.109" v="17222"/>
          <ac:spMkLst>
            <pc:docMk/>
            <pc:sldMk cId="2933509549" sldId="903"/>
            <ac:spMk id="181" creationId="{00000000-0000-0000-0000-000000000000}"/>
          </ac:spMkLst>
        </pc:spChg>
      </pc:sldChg>
      <pc:sldChg chg="addSp delSp modSp mod ord">
        <pc:chgData name="Andreas Koksrud" userId="9d9beba6-c052-407a-8599-c781a677a996" providerId="ADAL" clId="{267904F6-164A-446F-8964-DA69B112867B}" dt="2024-09-29T18:04:25.416" v="15125"/>
        <pc:sldMkLst>
          <pc:docMk/>
          <pc:sldMk cId="2986239912" sldId="904"/>
        </pc:sldMkLst>
        <pc:spChg chg="mod">
          <ac:chgData name="Andreas Koksrud" userId="9d9beba6-c052-407a-8599-c781a677a996" providerId="ADAL" clId="{267904F6-164A-446F-8964-DA69B112867B}" dt="2024-09-29T18:04:25.416" v="15125"/>
          <ac:spMkLst>
            <pc:docMk/>
            <pc:sldMk cId="2986239912" sldId="904"/>
            <ac:spMk id="4" creationId="{2AAFDAAC-8F4B-153F-5BA4-4AA004EB1E80}"/>
          </ac:spMkLst>
        </pc:spChg>
        <pc:spChg chg="mod">
          <ac:chgData name="Andreas Koksrud" userId="9d9beba6-c052-407a-8599-c781a677a996" providerId="ADAL" clId="{267904F6-164A-446F-8964-DA69B112867B}" dt="2024-09-29T18:04:25.416" v="15125"/>
          <ac:spMkLst>
            <pc:docMk/>
            <pc:sldMk cId="2986239912" sldId="904"/>
            <ac:spMk id="180" creationId="{00000000-0000-0000-0000-000000000000}"/>
          </ac:spMkLst>
        </pc:spChg>
        <pc:spChg chg="mod">
          <ac:chgData name="Andreas Koksrud" userId="9d9beba6-c052-407a-8599-c781a677a996" providerId="ADAL" clId="{267904F6-164A-446F-8964-DA69B112867B}" dt="2024-09-29T17:57:48.720" v="15109" actId="20577"/>
          <ac:spMkLst>
            <pc:docMk/>
            <pc:sldMk cId="2986239912" sldId="904"/>
            <ac:spMk id="181" creationId="{00000000-0000-0000-0000-000000000000}"/>
          </ac:spMkLst>
        </pc:spChg>
        <pc:picChg chg="add del mod">
          <ac:chgData name="Andreas Koksrud" userId="9d9beba6-c052-407a-8599-c781a677a996" providerId="ADAL" clId="{267904F6-164A-446F-8964-DA69B112867B}" dt="2024-09-13T12:03:59.439" v="12060" actId="478"/>
          <ac:picMkLst>
            <pc:docMk/>
            <pc:sldMk cId="2986239912" sldId="904"/>
            <ac:picMk id="5" creationId="{D1F0AF25-CD1B-7055-2415-DA8134423C3D}"/>
          </ac:picMkLst>
        </pc:picChg>
        <pc:picChg chg="add mod">
          <ac:chgData name="Andreas Koksrud" userId="9d9beba6-c052-407a-8599-c781a677a996" providerId="ADAL" clId="{267904F6-164A-446F-8964-DA69B112867B}" dt="2024-09-13T12:04:06.025" v="12063" actId="14100"/>
          <ac:picMkLst>
            <pc:docMk/>
            <pc:sldMk cId="2986239912" sldId="904"/>
            <ac:picMk id="7" creationId="{761ADEC3-B6AB-B384-61AA-889CD942F531}"/>
          </ac:picMkLst>
        </pc:picChg>
        <pc:picChg chg="add del">
          <ac:chgData name="Andreas Koksrud" userId="9d9beba6-c052-407a-8599-c781a677a996" providerId="ADAL" clId="{267904F6-164A-446F-8964-DA69B112867B}" dt="2024-09-13T12:04:23.133" v="12065" actId="478"/>
          <ac:picMkLst>
            <pc:docMk/>
            <pc:sldMk cId="2986239912" sldId="904"/>
            <ac:picMk id="9" creationId="{D471AAAF-CE25-C554-6231-36E67A9F0C32}"/>
          </ac:picMkLst>
        </pc:picChg>
        <pc:picChg chg="add mod modCrop">
          <ac:chgData name="Andreas Koksrud" userId="9d9beba6-c052-407a-8599-c781a677a996" providerId="ADAL" clId="{267904F6-164A-446F-8964-DA69B112867B}" dt="2024-09-13T12:04:51.057" v="12071" actId="1076"/>
          <ac:picMkLst>
            <pc:docMk/>
            <pc:sldMk cId="2986239912" sldId="904"/>
            <ac:picMk id="11" creationId="{CEDA6861-BE52-B09C-4CAE-0CB0C147FEB9}"/>
          </ac:picMkLst>
        </pc:picChg>
      </pc:sldChg>
      <pc:sldChg chg="modSp mod">
        <pc:chgData name="Andreas Koksrud" userId="9d9beba6-c052-407a-8599-c781a677a996" providerId="ADAL" clId="{267904F6-164A-446F-8964-DA69B112867B}" dt="2024-09-29T18:04:50.065" v="15126"/>
        <pc:sldMkLst>
          <pc:docMk/>
          <pc:sldMk cId="2439861555" sldId="905"/>
        </pc:sldMkLst>
        <pc:spChg chg="mod">
          <ac:chgData name="Andreas Koksrud" userId="9d9beba6-c052-407a-8599-c781a677a996" providerId="ADAL" clId="{267904F6-164A-446F-8964-DA69B112867B}" dt="2024-09-29T18:04:50.065" v="15126"/>
          <ac:spMkLst>
            <pc:docMk/>
            <pc:sldMk cId="2439861555" sldId="905"/>
            <ac:spMk id="4" creationId="{06D484B0-8A03-2AA5-1C90-502CFFA0A0A7}"/>
          </ac:spMkLst>
        </pc:spChg>
        <pc:spChg chg="mod">
          <ac:chgData name="Andreas Koksrud" userId="9d9beba6-c052-407a-8599-c781a677a996" providerId="ADAL" clId="{267904F6-164A-446F-8964-DA69B112867B}" dt="2024-09-29T18:04:50.065" v="15126"/>
          <ac:spMkLst>
            <pc:docMk/>
            <pc:sldMk cId="2439861555" sldId="905"/>
            <ac:spMk id="180" creationId="{00000000-0000-0000-0000-000000000000}"/>
          </ac:spMkLst>
        </pc:spChg>
        <pc:spChg chg="mod">
          <ac:chgData name="Andreas Koksrud" userId="9d9beba6-c052-407a-8599-c781a677a996" providerId="ADAL" clId="{267904F6-164A-446F-8964-DA69B112867B}" dt="2024-09-13T12:05:36.098" v="12125" actId="13926"/>
          <ac:spMkLst>
            <pc:docMk/>
            <pc:sldMk cId="2439861555" sldId="905"/>
            <ac:spMk id="181" creationId="{00000000-0000-0000-0000-000000000000}"/>
          </ac:spMkLst>
        </pc:spChg>
      </pc:sldChg>
      <pc:sldChg chg="addSp modSp mod">
        <pc:chgData name="Andreas Koksrud" userId="9d9beba6-c052-407a-8599-c781a677a996" providerId="ADAL" clId="{267904F6-164A-446F-8964-DA69B112867B}" dt="2024-09-29T18:22:18.486" v="17026" actId="207"/>
        <pc:sldMkLst>
          <pc:docMk/>
          <pc:sldMk cId="2223033950" sldId="907"/>
        </pc:sldMkLst>
        <pc:spChg chg="mod">
          <ac:chgData name="Andreas Koksrud" userId="9d9beba6-c052-407a-8599-c781a677a996" providerId="ADAL" clId="{267904F6-164A-446F-8964-DA69B112867B}" dt="2024-09-29T18:19:27.707" v="16421" actId="20577"/>
          <ac:spMkLst>
            <pc:docMk/>
            <pc:sldMk cId="2223033950" sldId="907"/>
            <ac:spMk id="180" creationId="{00000000-0000-0000-0000-000000000000}"/>
          </ac:spMkLst>
        </pc:spChg>
        <pc:spChg chg="mod">
          <ac:chgData name="Andreas Koksrud" userId="9d9beba6-c052-407a-8599-c781a677a996" providerId="ADAL" clId="{267904F6-164A-446F-8964-DA69B112867B}" dt="2024-09-29T18:22:18.486" v="17026" actId="207"/>
          <ac:spMkLst>
            <pc:docMk/>
            <pc:sldMk cId="2223033950" sldId="907"/>
            <ac:spMk id="181" creationId="{00000000-0000-0000-0000-000000000000}"/>
          </ac:spMkLst>
        </pc:spChg>
        <pc:picChg chg="add mod">
          <ac:chgData name="Andreas Koksrud" userId="9d9beba6-c052-407a-8599-c781a677a996" providerId="ADAL" clId="{267904F6-164A-446F-8964-DA69B112867B}" dt="2024-09-29T18:19:12.772" v="16410"/>
          <ac:picMkLst>
            <pc:docMk/>
            <pc:sldMk cId="2223033950" sldId="907"/>
            <ac:picMk id="2" creationId="{397270F9-18C1-FD4A-FDE3-7BAD57518CB3}"/>
          </ac:picMkLst>
        </pc:picChg>
      </pc:sldChg>
      <pc:sldChg chg="addSp modSp mod">
        <pc:chgData name="Andreas Koksrud" userId="9d9beba6-c052-407a-8599-c781a677a996" providerId="ADAL" clId="{267904F6-164A-446F-8964-DA69B112867B}" dt="2024-09-29T18:18:50.389" v="16396"/>
        <pc:sldMkLst>
          <pc:docMk/>
          <pc:sldMk cId="2242358945" sldId="908"/>
        </pc:sldMkLst>
        <pc:spChg chg="mod">
          <ac:chgData name="Andreas Koksrud" userId="9d9beba6-c052-407a-8599-c781a677a996" providerId="ADAL" clId="{267904F6-164A-446F-8964-DA69B112867B}" dt="2024-09-29T18:16:35.062" v="16368" actId="5793"/>
          <ac:spMkLst>
            <pc:docMk/>
            <pc:sldMk cId="2242358945" sldId="908"/>
            <ac:spMk id="181" creationId="{00000000-0000-0000-0000-000000000000}"/>
          </ac:spMkLst>
        </pc:spChg>
        <pc:picChg chg="add mod">
          <ac:chgData name="Andreas Koksrud" userId="9d9beba6-c052-407a-8599-c781a677a996" providerId="ADAL" clId="{267904F6-164A-446F-8964-DA69B112867B}" dt="2024-09-29T18:18:50.389" v="16396"/>
          <ac:picMkLst>
            <pc:docMk/>
            <pc:sldMk cId="2242358945" sldId="908"/>
            <ac:picMk id="2" creationId="{2FF74BCC-7F5F-716C-C1EC-CBE56FD245E5}"/>
          </ac:picMkLst>
        </pc:picChg>
      </pc:sldChg>
      <pc:sldChg chg="modSp ord">
        <pc:chgData name="Andreas Koksrud" userId="9d9beba6-c052-407a-8599-c781a677a996" providerId="ADAL" clId="{267904F6-164A-446F-8964-DA69B112867B}" dt="2024-09-29T18:05:21.907" v="15127"/>
        <pc:sldMkLst>
          <pc:docMk/>
          <pc:sldMk cId="2156656660" sldId="911"/>
        </pc:sldMkLst>
        <pc:spChg chg="mod">
          <ac:chgData name="Andreas Koksrud" userId="9d9beba6-c052-407a-8599-c781a677a996" providerId="ADAL" clId="{267904F6-164A-446F-8964-DA69B112867B}" dt="2024-09-29T18:05:21.907" v="15127"/>
          <ac:spMkLst>
            <pc:docMk/>
            <pc:sldMk cId="2156656660" sldId="911"/>
            <ac:spMk id="4" creationId="{BDF04420-95D5-A2F1-5C85-4410F0AD48ED}"/>
          </ac:spMkLst>
        </pc:spChg>
        <pc:spChg chg="mod">
          <ac:chgData name="Andreas Koksrud" userId="9d9beba6-c052-407a-8599-c781a677a996" providerId="ADAL" clId="{267904F6-164A-446F-8964-DA69B112867B}" dt="2024-09-29T18:05:21.907" v="15127"/>
          <ac:spMkLst>
            <pc:docMk/>
            <pc:sldMk cId="2156656660" sldId="911"/>
            <ac:spMk id="180" creationId="{00000000-0000-0000-0000-000000000000}"/>
          </ac:spMkLst>
        </pc:spChg>
      </pc:sldChg>
      <pc:sldChg chg="modSp add del ord">
        <pc:chgData name="Andreas Koksrud" userId="9d9beba6-c052-407a-8599-c781a677a996" providerId="ADAL" clId="{267904F6-164A-446F-8964-DA69B112867B}" dt="2024-09-29T18:03:57.633" v="15124"/>
        <pc:sldMkLst>
          <pc:docMk/>
          <pc:sldMk cId="3496916072" sldId="929"/>
        </pc:sldMkLst>
        <pc:spChg chg="mod">
          <ac:chgData name="Andreas Koksrud" userId="9d9beba6-c052-407a-8599-c781a677a996" providerId="ADAL" clId="{267904F6-164A-446F-8964-DA69B112867B}" dt="2024-09-29T18:03:57.633" v="15124"/>
          <ac:spMkLst>
            <pc:docMk/>
            <pc:sldMk cId="3496916072" sldId="929"/>
            <ac:spMk id="5" creationId="{B596EF22-E31D-A2E8-341E-3D77773F09FD}"/>
          </ac:spMkLst>
        </pc:spChg>
      </pc:sldChg>
      <pc:sldChg chg="modSp add del ord">
        <pc:chgData name="Andreas Koksrud" userId="9d9beba6-c052-407a-8599-c781a677a996" providerId="ADAL" clId="{267904F6-164A-446F-8964-DA69B112867B}" dt="2024-09-29T18:03:57.633" v="15124"/>
        <pc:sldMkLst>
          <pc:docMk/>
          <pc:sldMk cId="786812838" sldId="930"/>
        </pc:sldMkLst>
        <pc:spChg chg="mod">
          <ac:chgData name="Andreas Koksrud" userId="9d9beba6-c052-407a-8599-c781a677a996" providerId="ADAL" clId="{267904F6-164A-446F-8964-DA69B112867B}" dt="2024-09-29T18:03:57.633" v="15124"/>
          <ac:spMkLst>
            <pc:docMk/>
            <pc:sldMk cId="786812838" sldId="930"/>
            <ac:spMk id="4" creationId="{7C8786C3-5E58-2E1E-62BF-C38169340900}"/>
          </ac:spMkLst>
        </pc:spChg>
      </pc:sldChg>
      <pc:sldChg chg="modSp add del ord">
        <pc:chgData name="Andreas Koksrud" userId="9d9beba6-c052-407a-8599-c781a677a996" providerId="ADAL" clId="{267904F6-164A-446F-8964-DA69B112867B}" dt="2024-09-29T18:03:57.633" v="15124"/>
        <pc:sldMkLst>
          <pc:docMk/>
          <pc:sldMk cId="2544668817" sldId="931"/>
        </pc:sldMkLst>
        <pc:spChg chg="mod">
          <ac:chgData name="Andreas Koksrud" userId="9d9beba6-c052-407a-8599-c781a677a996" providerId="ADAL" clId="{267904F6-164A-446F-8964-DA69B112867B}" dt="2024-09-29T18:03:57.633" v="15124"/>
          <ac:spMkLst>
            <pc:docMk/>
            <pc:sldMk cId="2544668817" sldId="931"/>
            <ac:spMk id="7" creationId="{9827CC03-792F-6275-16E4-B4CAE92C3026}"/>
          </ac:spMkLst>
        </pc:spChg>
      </pc:sldChg>
      <pc:sldChg chg="modSp add del ord">
        <pc:chgData name="Andreas Koksrud" userId="9d9beba6-c052-407a-8599-c781a677a996" providerId="ADAL" clId="{267904F6-164A-446F-8964-DA69B112867B}" dt="2024-09-29T18:03:57.633" v="15124"/>
        <pc:sldMkLst>
          <pc:docMk/>
          <pc:sldMk cId="1016572018" sldId="932"/>
        </pc:sldMkLst>
        <pc:spChg chg="mod">
          <ac:chgData name="Andreas Koksrud" userId="9d9beba6-c052-407a-8599-c781a677a996" providerId="ADAL" clId="{267904F6-164A-446F-8964-DA69B112867B}" dt="2024-09-29T18:03:57.633" v="15124"/>
          <ac:spMkLst>
            <pc:docMk/>
            <pc:sldMk cId="1016572018" sldId="932"/>
            <ac:spMk id="6" creationId="{FD64D427-7605-26F7-2631-74925BA54A34}"/>
          </ac:spMkLst>
        </pc:spChg>
      </pc:sldChg>
      <pc:sldChg chg="addSp delSp modSp add del mod ord">
        <pc:chgData name="Andreas Koksrud" userId="9d9beba6-c052-407a-8599-c781a677a996" providerId="ADAL" clId="{267904F6-164A-446F-8964-DA69B112867B}" dt="2024-09-29T18:03:57.633" v="15124"/>
        <pc:sldMkLst>
          <pc:docMk/>
          <pc:sldMk cId="516132435" sldId="933"/>
        </pc:sldMkLst>
        <pc:spChg chg="mod">
          <ac:chgData name="Andreas Koksrud" userId="9d9beba6-c052-407a-8599-c781a677a996" providerId="ADAL" clId="{267904F6-164A-446F-8964-DA69B112867B}" dt="2024-09-29T18:03:57.633" v="15124"/>
          <ac:spMkLst>
            <pc:docMk/>
            <pc:sldMk cId="516132435" sldId="933"/>
            <ac:spMk id="3" creationId="{E6E2C634-F92E-B8DF-A450-18C8D00FCA8C}"/>
          </ac:spMkLst>
        </pc:spChg>
        <pc:spChg chg="add mod">
          <ac:chgData name="Andreas Koksrud" userId="9d9beba6-c052-407a-8599-c781a677a996" providerId="ADAL" clId="{267904F6-164A-446F-8964-DA69B112867B}" dt="2024-09-21T14:19:38.885" v="12736" actId="108"/>
          <ac:spMkLst>
            <pc:docMk/>
            <pc:sldMk cId="516132435" sldId="933"/>
            <ac:spMk id="4" creationId="{C12B1504-3D20-B2F7-BF79-4FA9BDA8E619}"/>
          </ac:spMkLst>
        </pc:spChg>
        <pc:spChg chg="del">
          <ac:chgData name="Andreas Koksrud" userId="9d9beba6-c052-407a-8599-c781a677a996" providerId="ADAL" clId="{267904F6-164A-446F-8964-DA69B112867B}" dt="2024-09-13T11:46:27.869" v="11815" actId="478"/>
          <ac:spMkLst>
            <pc:docMk/>
            <pc:sldMk cId="516132435" sldId="933"/>
            <ac:spMk id="7" creationId="{16E88B4D-A9D3-3F12-052C-6BA999BBDB6F}"/>
          </ac:spMkLst>
        </pc:spChg>
        <pc:picChg chg="add mod modCrop">
          <ac:chgData name="Andreas Koksrud" userId="9d9beba6-c052-407a-8599-c781a677a996" providerId="ADAL" clId="{267904F6-164A-446F-8964-DA69B112867B}" dt="2024-09-13T11:48:29.568" v="11824" actId="14100"/>
          <ac:picMkLst>
            <pc:docMk/>
            <pc:sldMk cId="516132435" sldId="933"/>
            <ac:picMk id="8" creationId="{E583C180-5010-962A-4AB9-AFE4DD617CE7}"/>
          </ac:picMkLst>
        </pc:picChg>
      </pc:sldChg>
      <pc:sldChg chg="addSp delSp modSp mod">
        <pc:chgData name="Andreas Koksrud" userId="9d9beba6-c052-407a-8599-c781a677a996" providerId="ADAL" clId="{267904F6-164A-446F-8964-DA69B112867B}" dt="2024-09-29T18:18:52.665" v="16397"/>
        <pc:sldMkLst>
          <pc:docMk/>
          <pc:sldMk cId="100500619" sldId="934"/>
        </pc:sldMkLst>
        <pc:spChg chg="mod">
          <ac:chgData name="Andreas Koksrud" userId="9d9beba6-c052-407a-8599-c781a677a996" providerId="ADAL" clId="{267904F6-164A-446F-8964-DA69B112867B}" dt="2024-09-03T17:01:44.955" v="5218" actId="5793"/>
          <ac:spMkLst>
            <pc:docMk/>
            <pc:sldMk cId="100500619" sldId="934"/>
            <ac:spMk id="2" creationId="{6B539DEF-BEF0-2AA6-A90D-BC67AC4C73CD}"/>
          </ac:spMkLst>
        </pc:spChg>
        <pc:spChg chg="mod">
          <ac:chgData name="Andreas Koksrud" userId="9d9beba6-c052-407a-8599-c781a677a996" providerId="ADAL" clId="{267904F6-164A-446F-8964-DA69B112867B}" dt="2024-09-03T17:02:14.366" v="5314" actId="1036"/>
          <ac:spMkLst>
            <pc:docMk/>
            <pc:sldMk cId="100500619" sldId="934"/>
            <ac:spMk id="3" creationId="{2774CF7C-18E8-25C7-1EEE-32AF4445888B}"/>
          </ac:spMkLst>
        </pc:spChg>
        <pc:spChg chg="mod">
          <ac:chgData name="Andreas Koksrud" userId="9d9beba6-c052-407a-8599-c781a677a996" providerId="ADAL" clId="{267904F6-164A-446F-8964-DA69B112867B}" dt="2024-09-03T17:02:14.366" v="5314" actId="1036"/>
          <ac:spMkLst>
            <pc:docMk/>
            <pc:sldMk cId="100500619" sldId="934"/>
            <ac:spMk id="4" creationId="{F5738D0C-CBD4-78A4-C3C7-21AA65CB25E4}"/>
          </ac:spMkLst>
        </pc:spChg>
        <pc:spChg chg="del mod">
          <ac:chgData name="Andreas Koksrud" userId="9d9beba6-c052-407a-8599-c781a677a996" providerId="ADAL" clId="{267904F6-164A-446F-8964-DA69B112867B}" dt="2024-09-03T16:58:11.193" v="4639" actId="478"/>
          <ac:spMkLst>
            <pc:docMk/>
            <pc:sldMk cId="100500619" sldId="934"/>
            <ac:spMk id="6" creationId="{5BDD3AAC-325F-DE80-3D51-9E564913C38B}"/>
          </ac:spMkLst>
        </pc:spChg>
        <pc:spChg chg="del">
          <ac:chgData name="Andreas Koksrud" userId="9d9beba6-c052-407a-8599-c781a677a996" providerId="ADAL" clId="{267904F6-164A-446F-8964-DA69B112867B}" dt="2024-09-03T16:56:00.569" v="4290" actId="478"/>
          <ac:spMkLst>
            <pc:docMk/>
            <pc:sldMk cId="100500619" sldId="934"/>
            <ac:spMk id="8" creationId="{630B5761-7F62-1D4F-4940-B1B9E62C2DBD}"/>
          </ac:spMkLst>
        </pc:spChg>
        <pc:spChg chg="del">
          <ac:chgData name="Andreas Koksrud" userId="9d9beba6-c052-407a-8599-c781a677a996" providerId="ADAL" clId="{267904F6-164A-446F-8964-DA69B112867B}" dt="2024-09-03T16:55:02.770" v="4229" actId="478"/>
          <ac:spMkLst>
            <pc:docMk/>
            <pc:sldMk cId="100500619" sldId="934"/>
            <ac:spMk id="11" creationId="{C1BF4C83-C256-5DB1-6B8B-EB67D2A307FD}"/>
          </ac:spMkLst>
        </pc:spChg>
        <pc:spChg chg="mod">
          <ac:chgData name="Andreas Koksrud" userId="9d9beba6-c052-407a-8599-c781a677a996" providerId="ADAL" clId="{267904F6-164A-446F-8964-DA69B112867B}" dt="2024-09-03T16:57:10.745" v="4460" actId="20577"/>
          <ac:spMkLst>
            <pc:docMk/>
            <pc:sldMk cId="100500619" sldId="934"/>
            <ac:spMk id="180" creationId="{00000000-0000-0000-0000-000000000000}"/>
          </ac:spMkLst>
        </pc:spChg>
        <pc:picChg chg="add mod">
          <ac:chgData name="Andreas Koksrud" userId="9d9beba6-c052-407a-8599-c781a677a996" providerId="ADAL" clId="{267904F6-164A-446F-8964-DA69B112867B}" dt="2024-09-29T18:18:52.665" v="16397"/>
          <ac:picMkLst>
            <pc:docMk/>
            <pc:sldMk cId="100500619" sldId="934"/>
            <ac:picMk id="6" creationId="{F0B5BEDD-85A0-1C82-5FBE-D58EDD3687B4}"/>
          </ac:picMkLst>
        </pc:picChg>
        <pc:picChg chg="del">
          <ac:chgData name="Andreas Koksrud" userId="9d9beba6-c052-407a-8599-c781a677a996" providerId="ADAL" clId="{267904F6-164A-446F-8964-DA69B112867B}" dt="2024-09-03T16:55:55.569" v="4289" actId="478"/>
          <ac:picMkLst>
            <pc:docMk/>
            <pc:sldMk cId="100500619" sldId="934"/>
            <ac:picMk id="7" creationId="{DA9D85A8-3495-ECA4-2ABC-58D35400C69E}"/>
          </ac:picMkLst>
        </pc:picChg>
        <pc:picChg chg="del">
          <ac:chgData name="Andreas Koksrud" userId="9d9beba6-c052-407a-8599-c781a677a996" providerId="ADAL" clId="{267904F6-164A-446F-8964-DA69B112867B}" dt="2024-09-03T16:56:02.744" v="4291" actId="478"/>
          <ac:picMkLst>
            <pc:docMk/>
            <pc:sldMk cId="100500619" sldId="934"/>
            <ac:picMk id="13" creationId="{169906C9-4F31-A460-559F-FC4D2F5DBBAA}"/>
          </ac:picMkLst>
        </pc:picChg>
        <pc:cxnChg chg="del">
          <ac:chgData name="Andreas Koksrud" userId="9d9beba6-c052-407a-8599-c781a677a996" providerId="ADAL" clId="{267904F6-164A-446F-8964-DA69B112867B}" dt="2024-09-03T16:56:06.398" v="4292" actId="478"/>
          <ac:cxnSpMkLst>
            <pc:docMk/>
            <pc:sldMk cId="100500619" sldId="934"/>
            <ac:cxnSpMk id="9" creationId="{7868819B-3F17-B71E-77A4-74D92C33BDC7}"/>
          </ac:cxnSpMkLst>
        </pc:cxnChg>
        <pc:cxnChg chg="del">
          <ac:chgData name="Andreas Koksrud" userId="9d9beba6-c052-407a-8599-c781a677a996" providerId="ADAL" clId="{267904F6-164A-446F-8964-DA69B112867B}" dt="2024-09-03T16:54:58.854" v="4228" actId="478"/>
          <ac:cxnSpMkLst>
            <pc:docMk/>
            <pc:sldMk cId="100500619" sldId="934"/>
            <ac:cxnSpMk id="12" creationId="{3AE8501E-2243-7050-929E-CBDB6D6504EA}"/>
          </ac:cxnSpMkLst>
        </pc:cxnChg>
        <pc:cxnChg chg="del">
          <ac:chgData name="Andreas Koksrud" userId="9d9beba6-c052-407a-8599-c781a677a996" providerId="ADAL" clId="{267904F6-164A-446F-8964-DA69B112867B}" dt="2024-09-03T16:54:56.137" v="4227" actId="478"/>
          <ac:cxnSpMkLst>
            <pc:docMk/>
            <pc:sldMk cId="100500619" sldId="934"/>
            <ac:cxnSpMk id="15" creationId="{38864A63-14C0-1326-4AF4-BA5E6A839014}"/>
          </ac:cxnSpMkLst>
        </pc:cxnChg>
      </pc:sldChg>
      <pc:sldChg chg="addSp delSp modSp mod">
        <pc:chgData name="Andreas Koksrud" userId="9d9beba6-c052-407a-8599-c781a677a996" providerId="ADAL" clId="{267904F6-164A-446F-8964-DA69B112867B}" dt="2024-09-29T18:18:42.683" v="16389"/>
        <pc:sldMkLst>
          <pc:docMk/>
          <pc:sldMk cId="1640846257" sldId="936"/>
        </pc:sldMkLst>
        <pc:spChg chg="mod">
          <ac:chgData name="Andreas Koksrud" userId="9d9beba6-c052-407a-8599-c781a677a996" providerId="ADAL" clId="{267904F6-164A-446F-8964-DA69B112867B}" dt="2024-09-29T18:17:22.515" v="16369"/>
          <ac:spMkLst>
            <pc:docMk/>
            <pc:sldMk cId="1640846257" sldId="936"/>
            <ac:spMk id="3" creationId="{AEB67DE2-4419-6A35-1303-4FFA243B08DC}"/>
          </ac:spMkLst>
        </pc:spChg>
        <pc:spChg chg="mod">
          <ac:chgData name="Andreas Koksrud" userId="9d9beba6-c052-407a-8599-c781a677a996" providerId="ADAL" clId="{267904F6-164A-446F-8964-DA69B112867B}" dt="2024-09-06T16:26:16.276" v="7332" actId="20577"/>
          <ac:spMkLst>
            <pc:docMk/>
            <pc:sldMk cId="1640846257" sldId="936"/>
            <ac:spMk id="181" creationId="{00000000-0000-0000-0000-000000000000}"/>
          </ac:spMkLst>
        </pc:spChg>
        <pc:picChg chg="add mod">
          <ac:chgData name="Andreas Koksrud" userId="9d9beba6-c052-407a-8599-c781a677a996" providerId="ADAL" clId="{267904F6-164A-446F-8964-DA69B112867B}" dt="2024-09-29T18:18:42.683" v="16389"/>
          <ac:picMkLst>
            <pc:docMk/>
            <pc:sldMk cId="1640846257" sldId="936"/>
            <ac:picMk id="4" creationId="{C8E69A2B-7AA1-8E9C-A515-5A9A4FFE0D68}"/>
          </ac:picMkLst>
        </pc:picChg>
        <pc:picChg chg="del mod">
          <ac:chgData name="Andreas Koksrud" userId="9d9beba6-c052-407a-8599-c781a677a996" providerId="ADAL" clId="{267904F6-164A-446F-8964-DA69B112867B}" dt="2024-09-05T10:03:27.948" v="6098" actId="478"/>
          <ac:picMkLst>
            <pc:docMk/>
            <pc:sldMk cId="1640846257" sldId="936"/>
            <ac:picMk id="5" creationId="{A93CF84C-F4A0-1B16-7F92-BB32614BCD31}"/>
          </ac:picMkLst>
        </pc:picChg>
        <pc:picChg chg="add del mod">
          <ac:chgData name="Andreas Koksrud" userId="9d9beba6-c052-407a-8599-c781a677a996" providerId="ADAL" clId="{267904F6-164A-446F-8964-DA69B112867B}" dt="2024-09-06T16:24:37.468" v="7221" actId="478"/>
          <ac:picMkLst>
            <pc:docMk/>
            <pc:sldMk cId="1640846257" sldId="936"/>
            <ac:picMk id="5" creationId="{FC139323-002E-D660-0FE7-2DF3D812D294}"/>
          </ac:picMkLst>
        </pc:picChg>
        <pc:picChg chg="add mod">
          <ac:chgData name="Andreas Koksrud" userId="9d9beba6-c052-407a-8599-c781a677a996" providerId="ADAL" clId="{267904F6-164A-446F-8964-DA69B112867B}" dt="2024-09-06T16:25:22.346" v="7231" actId="1076"/>
          <ac:picMkLst>
            <pc:docMk/>
            <pc:sldMk cId="1640846257" sldId="936"/>
            <ac:picMk id="6" creationId="{BC450330-514F-F462-04E6-C7D841DB2A25}"/>
          </ac:picMkLst>
        </pc:picChg>
        <pc:picChg chg="del mod">
          <ac:chgData name="Andreas Koksrud" userId="9d9beba6-c052-407a-8599-c781a677a996" providerId="ADAL" clId="{267904F6-164A-446F-8964-DA69B112867B}" dt="2024-09-05T10:03:28.854" v="6099" actId="478"/>
          <ac:picMkLst>
            <pc:docMk/>
            <pc:sldMk cId="1640846257" sldId="936"/>
            <ac:picMk id="7" creationId="{D5A4FFC4-7107-8477-F55F-39FC93D36535}"/>
          </ac:picMkLst>
        </pc:picChg>
        <pc:picChg chg="add mod">
          <ac:chgData name="Andreas Koksrud" userId="9d9beba6-c052-407a-8599-c781a677a996" providerId="ADAL" clId="{267904F6-164A-446F-8964-DA69B112867B}" dt="2024-09-06T16:24:46.939" v="7224" actId="1076"/>
          <ac:picMkLst>
            <pc:docMk/>
            <pc:sldMk cId="1640846257" sldId="936"/>
            <ac:picMk id="8" creationId="{C9756BB1-EA01-BF90-D1D0-D66883B609B1}"/>
          </ac:picMkLst>
        </pc:picChg>
        <pc:picChg chg="add mod">
          <ac:chgData name="Andreas Koksrud" userId="9d9beba6-c052-407a-8599-c781a677a996" providerId="ADAL" clId="{267904F6-164A-446F-8964-DA69B112867B}" dt="2024-09-13T12:27:17.600" v="12287" actId="14826"/>
          <ac:picMkLst>
            <pc:docMk/>
            <pc:sldMk cId="1640846257" sldId="936"/>
            <ac:picMk id="9" creationId="{2AFB3CF7-8CC8-AEDE-D932-089CAF503990}"/>
          </ac:picMkLst>
        </pc:picChg>
        <pc:picChg chg="add mod">
          <ac:chgData name="Andreas Koksrud" userId="9d9beba6-c052-407a-8599-c781a677a996" providerId="ADAL" clId="{267904F6-164A-446F-8964-DA69B112867B}" dt="2024-09-06T16:25:52.682" v="7240" actId="1076"/>
          <ac:picMkLst>
            <pc:docMk/>
            <pc:sldMk cId="1640846257" sldId="936"/>
            <ac:picMk id="11" creationId="{C1AF9F05-2EFF-B3BF-7128-EA38360B571F}"/>
          </ac:picMkLst>
        </pc:picChg>
        <pc:picChg chg="add mod">
          <ac:chgData name="Andreas Koksrud" userId="9d9beba6-c052-407a-8599-c781a677a996" providerId="ADAL" clId="{267904F6-164A-446F-8964-DA69B112867B}" dt="2024-09-06T16:25:33.462" v="7235" actId="571"/>
          <ac:picMkLst>
            <pc:docMk/>
            <pc:sldMk cId="1640846257" sldId="936"/>
            <ac:picMk id="13" creationId="{452E7A7D-A84D-206D-5C6A-45762FE1D23F}"/>
          </ac:picMkLst>
        </pc:picChg>
        <pc:picChg chg="add del mod">
          <ac:chgData name="Andreas Koksrud" userId="9d9beba6-c052-407a-8599-c781a677a996" providerId="ADAL" clId="{267904F6-164A-446F-8964-DA69B112867B}" dt="2024-09-05T10:05:35.372" v="6120" actId="478"/>
          <ac:picMkLst>
            <pc:docMk/>
            <pc:sldMk cId="1640846257" sldId="936"/>
            <ac:picMk id="13" creationId="{D2C97B17-85E7-8646-68F2-851982FDAEE6}"/>
          </ac:picMkLst>
        </pc:picChg>
        <pc:cxnChg chg="add mod">
          <ac:chgData name="Andreas Koksrud" userId="9d9beba6-c052-407a-8599-c781a677a996" providerId="ADAL" clId="{267904F6-164A-446F-8964-DA69B112867B}" dt="2024-09-06T16:24:59.252" v="7228" actId="14100"/>
          <ac:cxnSpMkLst>
            <pc:docMk/>
            <pc:sldMk cId="1640846257" sldId="936"/>
            <ac:cxnSpMk id="10" creationId="{558F10CB-573A-6033-DC5E-A7F1CFD95D94}"/>
          </ac:cxnSpMkLst>
        </pc:cxnChg>
        <pc:cxnChg chg="add mod">
          <ac:chgData name="Andreas Koksrud" userId="9d9beba6-c052-407a-8599-c781a677a996" providerId="ADAL" clId="{267904F6-164A-446F-8964-DA69B112867B}" dt="2024-09-13T12:27:21.790" v="12289" actId="14100"/>
          <ac:cxnSpMkLst>
            <pc:docMk/>
            <pc:sldMk cId="1640846257" sldId="936"/>
            <ac:cxnSpMk id="14" creationId="{23AE2A3D-3022-521B-4F31-CCB3AE6149F6}"/>
          </ac:cxnSpMkLst>
        </pc:cxnChg>
        <pc:cxnChg chg="add mod">
          <ac:chgData name="Andreas Koksrud" userId="9d9beba6-c052-407a-8599-c781a677a996" providerId="ADAL" clId="{267904F6-164A-446F-8964-DA69B112867B}" dt="2024-09-06T16:26:22.355" v="7334" actId="14100"/>
          <ac:cxnSpMkLst>
            <pc:docMk/>
            <pc:sldMk cId="1640846257" sldId="936"/>
            <ac:cxnSpMk id="16" creationId="{3C3E1AA4-B871-99E2-3422-ABAD3E1D23AB}"/>
          </ac:cxnSpMkLst>
        </pc:cxnChg>
      </pc:sldChg>
      <pc:sldChg chg="modSp">
        <pc:chgData name="Andreas Koksrud" userId="9d9beba6-c052-407a-8599-c781a677a996" providerId="ADAL" clId="{267904F6-164A-446F-8964-DA69B112867B}" dt="2024-09-29T18:04:50.065" v="15126"/>
        <pc:sldMkLst>
          <pc:docMk/>
          <pc:sldMk cId="2919214617" sldId="972"/>
        </pc:sldMkLst>
        <pc:spChg chg="mod">
          <ac:chgData name="Andreas Koksrud" userId="9d9beba6-c052-407a-8599-c781a677a996" providerId="ADAL" clId="{267904F6-164A-446F-8964-DA69B112867B}" dt="2024-09-29T18:04:50.065" v="15126"/>
          <ac:spMkLst>
            <pc:docMk/>
            <pc:sldMk cId="2919214617" sldId="972"/>
            <ac:spMk id="6" creationId="{6BCF03F3-FFDE-2EB5-7559-E2592BF25E0F}"/>
          </ac:spMkLst>
        </pc:spChg>
      </pc:sldChg>
      <pc:sldChg chg="addSp delSp modSp mod ord">
        <pc:chgData name="Andreas Koksrud" userId="9d9beba6-c052-407a-8599-c781a677a996" providerId="ADAL" clId="{267904F6-164A-446F-8964-DA69B112867B}" dt="2024-09-30T20:26:42.684" v="17618" actId="403"/>
        <pc:sldMkLst>
          <pc:docMk/>
          <pc:sldMk cId="3623507131" sldId="980"/>
        </pc:sldMkLst>
        <pc:spChg chg="add mod">
          <ac:chgData name="Andreas Koksrud" userId="9d9beba6-c052-407a-8599-c781a677a996" providerId="ADAL" clId="{267904F6-164A-446F-8964-DA69B112867B}" dt="2024-09-30T20:23:00.871" v="17517" actId="14100"/>
          <ac:spMkLst>
            <pc:docMk/>
            <pc:sldMk cId="3623507131" sldId="980"/>
            <ac:spMk id="2" creationId="{0AAAE0D0-B94F-2907-1A5B-9C6EC8550E87}"/>
          </ac:spMkLst>
        </pc:spChg>
        <pc:spChg chg="mod">
          <ac:chgData name="Andreas Koksrud" userId="9d9beba6-c052-407a-8599-c781a677a996" providerId="ADAL" clId="{267904F6-164A-446F-8964-DA69B112867B}" dt="2024-09-29T18:05:21.907" v="15127"/>
          <ac:spMkLst>
            <pc:docMk/>
            <pc:sldMk cId="3623507131" sldId="980"/>
            <ac:spMk id="4" creationId="{BDF04420-95D5-A2F1-5C85-4410F0AD48ED}"/>
          </ac:spMkLst>
        </pc:spChg>
        <pc:spChg chg="add del mod">
          <ac:chgData name="Andreas Koksrud" userId="9d9beba6-c052-407a-8599-c781a677a996" providerId="ADAL" clId="{267904F6-164A-446F-8964-DA69B112867B}" dt="2024-09-30T20:22:21.967" v="17510" actId="478"/>
          <ac:spMkLst>
            <pc:docMk/>
            <pc:sldMk cId="3623507131" sldId="980"/>
            <ac:spMk id="6" creationId="{9CC5F115-D8E7-3645-6B35-6288E25CC5CA}"/>
          </ac:spMkLst>
        </pc:spChg>
        <pc:spChg chg="add mod">
          <ac:chgData name="Andreas Koksrud" userId="9d9beba6-c052-407a-8599-c781a677a996" providerId="ADAL" clId="{267904F6-164A-446F-8964-DA69B112867B}" dt="2024-09-30T20:26:42.684" v="17618" actId="403"/>
          <ac:spMkLst>
            <pc:docMk/>
            <pc:sldMk cId="3623507131" sldId="980"/>
            <ac:spMk id="24" creationId="{B90905D4-4583-4552-6A05-684A255C0DC8}"/>
          </ac:spMkLst>
        </pc:spChg>
        <pc:spChg chg="mod">
          <ac:chgData name="Andreas Koksrud" userId="9d9beba6-c052-407a-8599-c781a677a996" providerId="ADAL" clId="{267904F6-164A-446F-8964-DA69B112867B}" dt="2024-09-30T20:23:27.104" v="17560" actId="20577"/>
          <ac:spMkLst>
            <pc:docMk/>
            <pc:sldMk cId="3623507131" sldId="980"/>
            <ac:spMk id="181" creationId="{00000000-0000-0000-0000-000000000000}"/>
          </ac:spMkLst>
        </pc:spChg>
        <pc:picChg chg="mod">
          <ac:chgData name="Andreas Koksrud" userId="9d9beba6-c052-407a-8599-c781a677a996" providerId="ADAL" clId="{267904F6-164A-446F-8964-DA69B112867B}" dt="2024-09-30T20:22:31.493" v="17512" actId="1076"/>
          <ac:picMkLst>
            <pc:docMk/>
            <pc:sldMk cId="3623507131" sldId="980"/>
            <ac:picMk id="5" creationId="{43978EB8-70EE-3CC6-24FB-EA6DFC2DB6EE}"/>
          </ac:picMkLst>
        </pc:picChg>
        <pc:picChg chg="mod">
          <ac:chgData name="Andreas Koksrud" userId="9d9beba6-c052-407a-8599-c781a677a996" providerId="ADAL" clId="{267904F6-164A-446F-8964-DA69B112867B}" dt="2024-09-30T20:23:38.164" v="17561" actId="1076"/>
          <ac:picMkLst>
            <pc:docMk/>
            <pc:sldMk cId="3623507131" sldId="980"/>
            <ac:picMk id="7" creationId="{36570E2E-F370-D1BE-9F0F-97BF61C41C1F}"/>
          </ac:picMkLst>
        </pc:picChg>
        <pc:picChg chg="mod">
          <ac:chgData name="Andreas Koksrud" userId="9d9beba6-c052-407a-8599-c781a677a996" providerId="ADAL" clId="{267904F6-164A-446F-8964-DA69B112867B}" dt="2024-09-30T20:23:41.413" v="17562" actId="1076"/>
          <ac:picMkLst>
            <pc:docMk/>
            <pc:sldMk cId="3623507131" sldId="980"/>
            <ac:picMk id="9" creationId="{3C9153C8-1555-4AF7-A52C-C3CB537490C6}"/>
          </ac:picMkLst>
        </pc:picChg>
        <pc:picChg chg="mod modCrop">
          <ac:chgData name="Andreas Koksrud" userId="9d9beba6-c052-407a-8599-c781a677a996" providerId="ADAL" clId="{267904F6-164A-446F-8964-DA69B112867B}" dt="2024-09-30T20:24:27.318" v="17572" actId="1076"/>
          <ac:picMkLst>
            <pc:docMk/>
            <pc:sldMk cId="3623507131" sldId="980"/>
            <ac:picMk id="11" creationId="{1CD56ABB-80C8-11BD-C6B6-B6A313632347}"/>
          </ac:picMkLst>
        </pc:picChg>
        <pc:picChg chg="mod">
          <ac:chgData name="Andreas Koksrud" userId="9d9beba6-c052-407a-8599-c781a677a996" providerId="ADAL" clId="{267904F6-164A-446F-8964-DA69B112867B}" dt="2024-09-30T20:24:43.611" v="17578" actId="1076"/>
          <ac:picMkLst>
            <pc:docMk/>
            <pc:sldMk cId="3623507131" sldId="980"/>
            <ac:picMk id="15" creationId="{D3877276-EE30-A7F7-E40E-C1200E3E1C3C}"/>
          </ac:picMkLst>
        </pc:picChg>
        <pc:cxnChg chg="add mod">
          <ac:chgData name="Andreas Koksrud" userId="9d9beba6-c052-407a-8599-c781a677a996" providerId="ADAL" clId="{267904F6-164A-446F-8964-DA69B112867B}" dt="2024-09-30T20:23:12.032" v="17519" actId="14100"/>
          <ac:cxnSpMkLst>
            <pc:docMk/>
            <pc:sldMk cId="3623507131" sldId="980"/>
            <ac:cxnSpMk id="8" creationId="{075614A5-820C-81FE-125E-915B435E7F5F}"/>
          </ac:cxnSpMkLst>
        </pc:cxnChg>
        <pc:cxnChg chg="add mod">
          <ac:chgData name="Andreas Koksrud" userId="9d9beba6-c052-407a-8599-c781a677a996" providerId="ADAL" clId="{267904F6-164A-446F-8964-DA69B112867B}" dt="2024-09-30T20:23:48.350" v="17564" actId="14100"/>
          <ac:cxnSpMkLst>
            <pc:docMk/>
            <pc:sldMk cId="3623507131" sldId="980"/>
            <ac:cxnSpMk id="12" creationId="{8A6A5C2E-36B9-E38E-FE1C-B0E90DD5260B}"/>
          </ac:cxnSpMkLst>
        </pc:cxnChg>
        <pc:cxnChg chg="add mod">
          <ac:chgData name="Andreas Koksrud" userId="9d9beba6-c052-407a-8599-c781a677a996" providerId="ADAL" clId="{267904F6-164A-446F-8964-DA69B112867B}" dt="2024-09-30T20:23:53.028" v="17566" actId="14100"/>
          <ac:cxnSpMkLst>
            <pc:docMk/>
            <pc:sldMk cId="3623507131" sldId="980"/>
            <ac:cxnSpMk id="14" creationId="{A014A366-ED2F-2B58-873D-1D6F122897DF}"/>
          </ac:cxnSpMkLst>
        </pc:cxnChg>
        <pc:cxnChg chg="add mod">
          <ac:chgData name="Andreas Koksrud" userId="9d9beba6-c052-407a-8599-c781a677a996" providerId="ADAL" clId="{267904F6-164A-446F-8964-DA69B112867B}" dt="2024-09-30T20:24:29.922" v="17573" actId="14100"/>
          <ac:cxnSpMkLst>
            <pc:docMk/>
            <pc:sldMk cId="3623507131" sldId="980"/>
            <ac:cxnSpMk id="17" creationId="{38C2B1A5-2299-89DD-F498-E7BC25A0374D}"/>
          </ac:cxnSpMkLst>
        </pc:cxnChg>
        <pc:cxnChg chg="add mod">
          <ac:chgData name="Andreas Koksrud" userId="9d9beba6-c052-407a-8599-c781a677a996" providerId="ADAL" clId="{267904F6-164A-446F-8964-DA69B112867B}" dt="2024-09-30T20:24:45.791" v="17579" actId="14100"/>
          <ac:cxnSpMkLst>
            <pc:docMk/>
            <pc:sldMk cId="3623507131" sldId="980"/>
            <ac:cxnSpMk id="20" creationId="{54106468-EA2F-52DD-E7E6-A8856DFC1A6D}"/>
          </ac:cxnSpMkLst>
        </pc:cxnChg>
      </pc:sldChg>
      <pc:sldChg chg="modSp ord">
        <pc:chgData name="Andreas Koksrud" userId="9d9beba6-c052-407a-8599-c781a677a996" providerId="ADAL" clId="{267904F6-164A-446F-8964-DA69B112867B}" dt="2024-09-29T18:04:25.416" v="15125"/>
        <pc:sldMkLst>
          <pc:docMk/>
          <pc:sldMk cId="1776970496" sldId="991"/>
        </pc:sldMkLst>
        <pc:spChg chg="mod">
          <ac:chgData name="Andreas Koksrud" userId="9d9beba6-c052-407a-8599-c781a677a996" providerId="ADAL" clId="{267904F6-164A-446F-8964-DA69B112867B}" dt="2024-09-29T18:04:25.416" v="15125"/>
          <ac:spMkLst>
            <pc:docMk/>
            <pc:sldMk cId="1776970496" sldId="991"/>
            <ac:spMk id="4" creationId="{2AAFDAAC-8F4B-153F-5BA4-4AA004EB1E80}"/>
          </ac:spMkLst>
        </pc:spChg>
      </pc:sldChg>
      <pc:sldChg chg="modSp ord">
        <pc:chgData name="Andreas Koksrud" userId="9d9beba6-c052-407a-8599-c781a677a996" providerId="ADAL" clId="{267904F6-164A-446F-8964-DA69B112867B}" dt="2024-09-29T18:04:25.416" v="15125"/>
        <pc:sldMkLst>
          <pc:docMk/>
          <pc:sldMk cId="3392338419" sldId="992"/>
        </pc:sldMkLst>
        <pc:spChg chg="mod">
          <ac:chgData name="Andreas Koksrud" userId="9d9beba6-c052-407a-8599-c781a677a996" providerId="ADAL" clId="{267904F6-164A-446F-8964-DA69B112867B}" dt="2024-09-29T18:04:25.416" v="15125"/>
          <ac:spMkLst>
            <pc:docMk/>
            <pc:sldMk cId="3392338419" sldId="992"/>
            <ac:spMk id="4" creationId="{2AAFDAAC-8F4B-153F-5BA4-4AA004EB1E80}"/>
          </ac:spMkLst>
        </pc:spChg>
      </pc:sldChg>
      <pc:sldChg chg="modSp ord">
        <pc:chgData name="Andreas Koksrud" userId="9d9beba6-c052-407a-8599-c781a677a996" providerId="ADAL" clId="{267904F6-164A-446F-8964-DA69B112867B}" dt="2024-09-29T18:04:25.416" v="15125"/>
        <pc:sldMkLst>
          <pc:docMk/>
          <pc:sldMk cId="3849634961" sldId="993"/>
        </pc:sldMkLst>
        <pc:spChg chg="mod">
          <ac:chgData name="Andreas Koksrud" userId="9d9beba6-c052-407a-8599-c781a677a996" providerId="ADAL" clId="{267904F6-164A-446F-8964-DA69B112867B}" dt="2024-09-29T18:04:25.416" v="15125"/>
          <ac:spMkLst>
            <pc:docMk/>
            <pc:sldMk cId="3849634961" sldId="993"/>
            <ac:spMk id="4" creationId="{2AAFDAAC-8F4B-153F-5BA4-4AA004EB1E80}"/>
          </ac:spMkLst>
        </pc:spChg>
      </pc:sldChg>
      <pc:sldChg chg="modSp">
        <pc:chgData name="Andreas Koksrud" userId="9d9beba6-c052-407a-8599-c781a677a996" providerId="ADAL" clId="{267904F6-164A-446F-8964-DA69B112867B}" dt="2024-09-29T18:04:50.065" v="15126"/>
        <pc:sldMkLst>
          <pc:docMk/>
          <pc:sldMk cId="3249461836" sldId="994"/>
        </pc:sldMkLst>
        <pc:spChg chg="mod">
          <ac:chgData name="Andreas Koksrud" userId="9d9beba6-c052-407a-8599-c781a677a996" providerId="ADAL" clId="{267904F6-164A-446F-8964-DA69B112867B}" dt="2024-09-29T18:04:50.065" v="15126"/>
          <ac:spMkLst>
            <pc:docMk/>
            <pc:sldMk cId="3249461836" sldId="994"/>
            <ac:spMk id="4" creationId="{06D484B0-8A03-2AA5-1C90-502CFFA0A0A7}"/>
          </ac:spMkLst>
        </pc:spChg>
      </pc:sldChg>
      <pc:sldChg chg="modSp">
        <pc:chgData name="Andreas Koksrud" userId="9d9beba6-c052-407a-8599-c781a677a996" providerId="ADAL" clId="{267904F6-164A-446F-8964-DA69B112867B}" dt="2024-09-29T18:04:50.065" v="15126"/>
        <pc:sldMkLst>
          <pc:docMk/>
          <pc:sldMk cId="1236723272" sldId="995"/>
        </pc:sldMkLst>
        <pc:spChg chg="mod">
          <ac:chgData name="Andreas Koksrud" userId="9d9beba6-c052-407a-8599-c781a677a996" providerId="ADAL" clId="{267904F6-164A-446F-8964-DA69B112867B}" dt="2024-09-29T18:04:50.065" v="15126"/>
          <ac:spMkLst>
            <pc:docMk/>
            <pc:sldMk cId="1236723272" sldId="995"/>
            <ac:spMk id="4" creationId="{06D484B0-8A03-2AA5-1C90-502CFFA0A0A7}"/>
          </ac:spMkLst>
        </pc:spChg>
      </pc:sldChg>
      <pc:sldChg chg="modSp">
        <pc:chgData name="Andreas Koksrud" userId="9d9beba6-c052-407a-8599-c781a677a996" providerId="ADAL" clId="{267904F6-164A-446F-8964-DA69B112867B}" dt="2024-09-29T18:04:50.065" v="15126"/>
        <pc:sldMkLst>
          <pc:docMk/>
          <pc:sldMk cId="1617717875" sldId="996"/>
        </pc:sldMkLst>
        <pc:spChg chg="mod">
          <ac:chgData name="Andreas Koksrud" userId="9d9beba6-c052-407a-8599-c781a677a996" providerId="ADAL" clId="{267904F6-164A-446F-8964-DA69B112867B}" dt="2024-09-29T18:04:50.065" v="15126"/>
          <ac:spMkLst>
            <pc:docMk/>
            <pc:sldMk cId="1617717875" sldId="996"/>
            <ac:spMk id="4" creationId="{06D484B0-8A03-2AA5-1C90-502CFFA0A0A7}"/>
          </ac:spMkLst>
        </pc:spChg>
      </pc:sldChg>
      <pc:sldChg chg="modSp">
        <pc:chgData name="Andreas Koksrud" userId="9d9beba6-c052-407a-8599-c781a677a996" providerId="ADAL" clId="{267904F6-164A-446F-8964-DA69B112867B}" dt="2024-09-29T18:04:50.065" v="15126"/>
        <pc:sldMkLst>
          <pc:docMk/>
          <pc:sldMk cId="1973431329" sldId="1006"/>
        </pc:sldMkLst>
        <pc:spChg chg="mod">
          <ac:chgData name="Andreas Koksrud" userId="9d9beba6-c052-407a-8599-c781a677a996" providerId="ADAL" clId="{267904F6-164A-446F-8964-DA69B112867B}" dt="2024-09-29T18:04:50.065" v="15126"/>
          <ac:spMkLst>
            <pc:docMk/>
            <pc:sldMk cId="1973431329" sldId="1006"/>
            <ac:spMk id="4" creationId="{06D484B0-8A03-2AA5-1C90-502CFFA0A0A7}"/>
          </ac:spMkLst>
        </pc:spChg>
      </pc:sldChg>
      <pc:sldChg chg="modSp">
        <pc:chgData name="Andreas Koksrud" userId="9d9beba6-c052-407a-8599-c781a677a996" providerId="ADAL" clId="{267904F6-164A-446F-8964-DA69B112867B}" dt="2024-09-29T18:04:50.065" v="15126"/>
        <pc:sldMkLst>
          <pc:docMk/>
          <pc:sldMk cId="393510099" sldId="1007"/>
        </pc:sldMkLst>
        <pc:spChg chg="mod">
          <ac:chgData name="Andreas Koksrud" userId="9d9beba6-c052-407a-8599-c781a677a996" providerId="ADAL" clId="{267904F6-164A-446F-8964-DA69B112867B}" dt="2024-09-29T18:04:50.065" v="15126"/>
          <ac:spMkLst>
            <pc:docMk/>
            <pc:sldMk cId="393510099" sldId="1007"/>
            <ac:spMk id="4" creationId="{06D484B0-8A03-2AA5-1C90-502CFFA0A0A7}"/>
          </ac:spMkLst>
        </pc:spChg>
      </pc:sldChg>
      <pc:sldChg chg="modSp">
        <pc:chgData name="Andreas Koksrud" userId="9d9beba6-c052-407a-8599-c781a677a996" providerId="ADAL" clId="{267904F6-164A-446F-8964-DA69B112867B}" dt="2024-09-29T18:04:50.065" v="15126"/>
        <pc:sldMkLst>
          <pc:docMk/>
          <pc:sldMk cId="204293732" sldId="1009"/>
        </pc:sldMkLst>
        <pc:spChg chg="mod">
          <ac:chgData name="Andreas Koksrud" userId="9d9beba6-c052-407a-8599-c781a677a996" providerId="ADAL" clId="{267904F6-164A-446F-8964-DA69B112867B}" dt="2024-09-29T18:04:50.065" v="15126"/>
          <ac:spMkLst>
            <pc:docMk/>
            <pc:sldMk cId="204293732" sldId="1009"/>
            <ac:spMk id="4" creationId="{06D484B0-8A03-2AA5-1C90-502CFFA0A0A7}"/>
          </ac:spMkLst>
        </pc:spChg>
      </pc:sldChg>
      <pc:sldChg chg="modSp">
        <pc:chgData name="Andreas Koksrud" userId="9d9beba6-c052-407a-8599-c781a677a996" providerId="ADAL" clId="{267904F6-164A-446F-8964-DA69B112867B}" dt="2024-09-30T20:10:37.109" v="17222"/>
        <pc:sldMkLst>
          <pc:docMk/>
          <pc:sldMk cId="1721478970" sldId="1010"/>
        </pc:sldMkLst>
        <pc:spChg chg="mod">
          <ac:chgData name="Andreas Koksrud" userId="9d9beba6-c052-407a-8599-c781a677a996" providerId="ADAL" clId="{267904F6-164A-446F-8964-DA69B112867B}" dt="2024-09-29T18:04:50.065" v="15126"/>
          <ac:spMkLst>
            <pc:docMk/>
            <pc:sldMk cId="1721478970" sldId="1010"/>
            <ac:spMk id="4" creationId="{06D484B0-8A03-2AA5-1C90-502CFFA0A0A7}"/>
          </ac:spMkLst>
        </pc:spChg>
        <pc:spChg chg="mod">
          <ac:chgData name="Andreas Koksrud" userId="9d9beba6-c052-407a-8599-c781a677a996" providerId="ADAL" clId="{267904F6-164A-446F-8964-DA69B112867B}" dt="2024-09-30T20:10:37.109" v="17222"/>
          <ac:spMkLst>
            <pc:docMk/>
            <pc:sldMk cId="1721478970" sldId="1010"/>
            <ac:spMk id="6" creationId="{0D4648DA-4B5B-6E10-A6B4-1C4D081CE994}"/>
          </ac:spMkLst>
        </pc:spChg>
        <pc:spChg chg="mod">
          <ac:chgData name="Andreas Koksrud" userId="9d9beba6-c052-407a-8599-c781a677a996" providerId="ADAL" clId="{267904F6-164A-446F-8964-DA69B112867B}" dt="2024-09-30T20:10:37.109" v="17222"/>
          <ac:spMkLst>
            <pc:docMk/>
            <pc:sldMk cId="1721478970" sldId="1010"/>
            <ac:spMk id="7" creationId="{08779A14-B513-76C3-05B0-4E0AAAF6B644}"/>
          </ac:spMkLst>
        </pc:spChg>
      </pc:sldChg>
      <pc:sldChg chg="modSp mod">
        <pc:chgData name="Andreas Koksrud" userId="9d9beba6-c052-407a-8599-c781a677a996" providerId="ADAL" clId="{267904F6-164A-446F-8964-DA69B112867B}" dt="2024-09-29T18:24:30.877" v="17157" actId="20577"/>
        <pc:sldMkLst>
          <pc:docMk/>
          <pc:sldMk cId="537530966" sldId="1012"/>
        </pc:sldMkLst>
        <pc:spChg chg="mod">
          <ac:chgData name="Andreas Koksrud" userId="9d9beba6-c052-407a-8599-c781a677a996" providerId="ADAL" clId="{267904F6-164A-446F-8964-DA69B112867B}" dt="2024-09-29T18:24:30.877" v="17157" actId="20577"/>
          <ac:spMkLst>
            <pc:docMk/>
            <pc:sldMk cId="537530966" sldId="1012"/>
            <ac:spMk id="2" creationId="{4BEF3682-0D11-7084-6264-561B7673FB2C}"/>
          </ac:spMkLst>
        </pc:spChg>
      </pc:sldChg>
      <pc:sldChg chg="modSp mod">
        <pc:chgData name="Andreas Koksrud" userId="9d9beba6-c052-407a-8599-c781a677a996" providerId="ADAL" clId="{267904F6-164A-446F-8964-DA69B112867B}" dt="2024-09-22T10:06:07.580" v="14193" actId="20577"/>
        <pc:sldMkLst>
          <pc:docMk/>
          <pc:sldMk cId="2231583209" sldId="1013"/>
        </pc:sldMkLst>
        <pc:spChg chg="mod">
          <ac:chgData name="Andreas Koksrud" userId="9d9beba6-c052-407a-8599-c781a677a996" providerId="ADAL" clId="{267904F6-164A-446F-8964-DA69B112867B}" dt="2024-09-22T10:05:35.153" v="14191" actId="20577"/>
          <ac:spMkLst>
            <pc:docMk/>
            <pc:sldMk cId="2231583209" sldId="1013"/>
            <ac:spMk id="2" creationId="{0C578A6C-5215-9DFE-51D6-8AA7A3E4A34A}"/>
          </ac:spMkLst>
        </pc:spChg>
        <pc:spChg chg="mod">
          <ac:chgData name="Andreas Koksrud" userId="9d9beba6-c052-407a-8599-c781a677a996" providerId="ADAL" clId="{267904F6-164A-446F-8964-DA69B112867B}" dt="2024-09-22T10:06:07.580" v="14193" actId="20577"/>
          <ac:spMkLst>
            <pc:docMk/>
            <pc:sldMk cId="2231583209" sldId="1013"/>
            <ac:spMk id="19" creationId="{EEE8D708-7E98-C7AD-73CF-9576FD140224}"/>
          </ac:spMkLst>
        </pc:spChg>
        <pc:picChg chg="mod">
          <ac:chgData name="Andreas Koksrud" userId="9d9beba6-c052-407a-8599-c781a677a996" providerId="ADAL" clId="{267904F6-164A-446F-8964-DA69B112867B}" dt="2024-09-22T10:02:04.527" v="14009" actId="1076"/>
          <ac:picMkLst>
            <pc:docMk/>
            <pc:sldMk cId="2231583209" sldId="1013"/>
            <ac:picMk id="6" creationId="{60B7BE4B-C380-F509-39B9-63F66FEDB884}"/>
          </ac:picMkLst>
        </pc:picChg>
        <pc:cxnChg chg="mod">
          <ac:chgData name="Andreas Koksrud" userId="9d9beba6-c052-407a-8599-c781a677a996" providerId="ADAL" clId="{267904F6-164A-446F-8964-DA69B112867B}" dt="2024-09-22T10:02:04.527" v="14009" actId="1076"/>
          <ac:cxnSpMkLst>
            <pc:docMk/>
            <pc:sldMk cId="2231583209" sldId="1013"/>
            <ac:cxnSpMk id="3" creationId="{79B15E13-5064-5BA4-CDA3-29C9B37AEB62}"/>
          </ac:cxnSpMkLst>
        </pc:cxnChg>
      </pc:sldChg>
      <pc:sldChg chg="modSp mod">
        <pc:chgData name="Andreas Koksrud" userId="9d9beba6-c052-407a-8599-c781a677a996" providerId="ADAL" clId="{267904F6-164A-446F-8964-DA69B112867B}" dt="2024-09-13T11:27:32.910" v="11212" actId="20577"/>
        <pc:sldMkLst>
          <pc:docMk/>
          <pc:sldMk cId="3248664015" sldId="1014"/>
        </pc:sldMkLst>
        <pc:spChg chg="mod">
          <ac:chgData name="Andreas Koksrud" userId="9d9beba6-c052-407a-8599-c781a677a996" providerId="ADAL" clId="{267904F6-164A-446F-8964-DA69B112867B}" dt="2024-09-13T11:27:32.910" v="11212" actId="20577"/>
          <ac:spMkLst>
            <pc:docMk/>
            <pc:sldMk cId="3248664015" sldId="1014"/>
            <ac:spMk id="20" creationId="{42C93B38-42EE-9A6B-976C-5A9D0D4E4CE0}"/>
          </ac:spMkLst>
        </pc:spChg>
      </pc:sldChg>
      <pc:sldChg chg="modSp ord">
        <pc:chgData name="Andreas Koksrud" userId="9d9beba6-c052-407a-8599-c781a677a996" providerId="ADAL" clId="{267904F6-164A-446F-8964-DA69B112867B}" dt="2024-09-29T18:05:21.907" v="15127"/>
        <pc:sldMkLst>
          <pc:docMk/>
          <pc:sldMk cId="2085981708" sldId="1015"/>
        </pc:sldMkLst>
        <pc:spChg chg="mod">
          <ac:chgData name="Andreas Koksrud" userId="9d9beba6-c052-407a-8599-c781a677a996" providerId="ADAL" clId="{267904F6-164A-446F-8964-DA69B112867B}" dt="2024-09-29T18:05:21.907" v="15127"/>
          <ac:spMkLst>
            <pc:docMk/>
            <pc:sldMk cId="2085981708" sldId="1015"/>
            <ac:spMk id="4" creationId="{BDF04420-95D5-A2F1-5C85-4410F0AD48ED}"/>
          </ac:spMkLst>
        </pc:spChg>
      </pc:sldChg>
      <pc:sldChg chg="modSp ord">
        <pc:chgData name="Andreas Koksrud" userId="9d9beba6-c052-407a-8599-c781a677a996" providerId="ADAL" clId="{267904F6-164A-446F-8964-DA69B112867B}" dt="2024-09-29T18:05:21.907" v="15127"/>
        <pc:sldMkLst>
          <pc:docMk/>
          <pc:sldMk cId="2368825724" sldId="1016"/>
        </pc:sldMkLst>
        <pc:spChg chg="mod">
          <ac:chgData name="Andreas Koksrud" userId="9d9beba6-c052-407a-8599-c781a677a996" providerId="ADAL" clId="{267904F6-164A-446F-8964-DA69B112867B}" dt="2024-09-29T18:05:21.907" v="15127"/>
          <ac:spMkLst>
            <pc:docMk/>
            <pc:sldMk cId="2368825724" sldId="1016"/>
            <ac:spMk id="4" creationId="{BDF04420-95D5-A2F1-5C85-4410F0AD48ED}"/>
          </ac:spMkLst>
        </pc:spChg>
      </pc:sldChg>
      <pc:sldChg chg="modSp ord">
        <pc:chgData name="Andreas Koksrud" userId="9d9beba6-c052-407a-8599-c781a677a996" providerId="ADAL" clId="{267904F6-164A-446F-8964-DA69B112867B}" dt="2024-09-29T18:05:21.907" v="15127"/>
        <pc:sldMkLst>
          <pc:docMk/>
          <pc:sldMk cId="4267861102" sldId="1017"/>
        </pc:sldMkLst>
        <pc:spChg chg="mod">
          <ac:chgData name="Andreas Koksrud" userId="9d9beba6-c052-407a-8599-c781a677a996" providerId="ADAL" clId="{267904F6-164A-446F-8964-DA69B112867B}" dt="2024-09-29T18:05:21.907" v="15127"/>
          <ac:spMkLst>
            <pc:docMk/>
            <pc:sldMk cId="4267861102" sldId="1017"/>
            <ac:spMk id="4" creationId="{BDF04420-95D5-A2F1-5C85-4410F0AD48ED}"/>
          </ac:spMkLst>
        </pc:spChg>
      </pc:sldChg>
      <pc:sldChg chg="addSp delSp modSp mod ord">
        <pc:chgData name="Andreas Koksrud" userId="9d9beba6-c052-407a-8599-c781a677a996" providerId="ADAL" clId="{267904F6-164A-446F-8964-DA69B112867B}" dt="2024-09-29T18:05:21.907" v="15127"/>
        <pc:sldMkLst>
          <pc:docMk/>
          <pc:sldMk cId="2805957301" sldId="1018"/>
        </pc:sldMkLst>
        <pc:spChg chg="mod">
          <ac:chgData name="Andreas Koksrud" userId="9d9beba6-c052-407a-8599-c781a677a996" providerId="ADAL" clId="{267904F6-164A-446F-8964-DA69B112867B}" dt="2024-09-29T18:05:21.907" v="15127"/>
          <ac:spMkLst>
            <pc:docMk/>
            <pc:sldMk cId="2805957301" sldId="1018"/>
            <ac:spMk id="4" creationId="{BDF04420-95D5-A2F1-5C85-4410F0AD48ED}"/>
          </ac:spMkLst>
        </pc:spChg>
        <pc:spChg chg="mod">
          <ac:chgData name="Andreas Koksrud" userId="9d9beba6-c052-407a-8599-c781a677a996" providerId="ADAL" clId="{267904F6-164A-446F-8964-DA69B112867B}" dt="2024-09-13T11:37:54.634" v="11677" actId="27636"/>
          <ac:spMkLst>
            <pc:docMk/>
            <pc:sldMk cId="2805957301" sldId="1018"/>
            <ac:spMk id="181" creationId="{00000000-0000-0000-0000-000000000000}"/>
          </ac:spMkLst>
        </pc:spChg>
        <pc:picChg chg="del">
          <ac:chgData name="Andreas Koksrud" userId="9d9beba6-c052-407a-8599-c781a677a996" providerId="ADAL" clId="{267904F6-164A-446F-8964-DA69B112867B}" dt="2024-09-13T11:33:43.187" v="11273" actId="478"/>
          <ac:picMkLst>
            <pc:docMk/>
            <pc:sldMk cId="2805957301" sldId="1018"/>
            <ac:picMk id="5" creationId="{205BFC6E-EBCC-D7E6-CD7C-B259A3759048}"/>
          </ac:picMkLst>
        </pc:picChg>
        <pc:picChg chg="add mod">
          <ac:chgData name="Andreas Koksrud" userId="9d9beba6-c052-407a-8599-c781a677a996" providerId="ADAL" clId="{267904F6-164A-446F-8964-DA69B112867B}" dt="2024-09-13T11:37:26.460" v="11662" actId="14100"/>
          <ac:picMkLst>
            <pc:docMk/>
            <pc:sldMk cId="2805957301" sldId="1018"/>
            <ac:picMk id="6" creationId="{A124644B-3401-5746-CC3C-CCF7A027F46C}"/>
          </ac:picMkLst>
        </pc:picChg>
        <pc:picChg chg="add mod">
          <ac:chgData name="Andreas Koksrud" userId="9d9beba6-c052-407a-8599-c781a677a996" providerId="ADAL" clId="{267904F6-164A-446F-8964-DA69B112867B}" dt="2024-09-13T11:37:59.123" v="11684" actId="1035"/>
          <ac:picMkLst>
            <pc:docMk/>
            <pc:sldMk cId="2805957301" sldId="1018"/>
            <ac:picMk id="8" creationId="{BF2B681A-AD19-C07D-5CA4-7ABB9AEC0CB0}"/>
          </ac:picMkLst>
        </pc:picChg>
        <pc:picChg chg="del">
          <ac:chgData name="Andreas Koksrud" userId="9d9beba6-c052-407a-8599-c781a677a996" providerId="ADAL" clId="{267904F6-164A-446F-8964-DA69B112867B}" dt="2024-09-13T11:33:44.616" v="11274" actId="478"/>
          <ac:picMkLst>
            <pc:docMk/>
            <pc:sldMk cId="2805957301" sldId="1018"/>
            <ac:picMk id="9" creationId="{3E49B3E7-828B-2B11-A347-F5CEF8245CBC}"/>
          </ac:picMkLst>
        </pc:picChg>
      </pc:sldChg>
      <pc:sldChg chg="addSp delSp modSp mod ord">
        <pc:chgData name="Andreas Koksrud" userId="9d9beba6-c052-407a-8599-c781a677a996" providerId="ADAL" clId="{267904F6-164A-446F-8964-DA69B112867B}" dt="2024-09-30T20:34:01.910" v="17636" actId="478"/>
        <pc:sldMkLst>
          <pc:docMk/>
          <pc:sldMk cId="3106651703" sldId="1019"/>
        </pc:sldMkLst>
        <pc:spChg chg="mod">
          <ac:chgData name="Andreas Koksrud" userId="9d9beba6-c052-407a-8599-c781a677a996" providerId="ADAL" clId="{267904F6-164A-446F-8964-DA69B112867B}" dt="2024-09-29T18:05:21.907" v="15127"/>
          <ac:spMkLst>
            <pc:docMk/>
            <pc:sldMk cId="3106651703" sldId="1019"/>
            <ac:spMk id="4" creationId="{BDF04420-95D5-A2F1-5C85-4410F0AD48ED}"/>
          </ac:spMkLst>
        </pc:spChg>
        <pc:spChg chg="mod">
          <ac:chgData name="Andreas Koksrud" userId="9d9beba6-c052-407a-8599-c781a677a996" providerId="ADAL" clId="{267904F6-164A-446F-8964-DA69B112867B}" dt="2024-09-30T20:32:01.638" v="17622"/>
          <ac:spMkLst>
            <pc:docMk/>
            <pc:sldMk cId="3106651703" sldId="1019"/>
            <ac:spMk id="6" creationId="{C95E52CE-E2A4-FEC3-8010-12CDBA72D593}"/>
          </ac:spMkLst>
        </pc:spChg>
        <pc:spChg chg="add del mod">
          <ac:chgData name="Andreas Koksrud" userId="9d9beba6-c052-407a-8599-c781a677a996" providerId="ADAL" clId="{267904F6-164A-446F-8964-DA69B112867B}" dt="2024-09-30T20:34:01.910" v="17636" actId="478"/>
          <ac:spMkLst>
            <pc:docMk/>
            <pc:sldMk cId="3106651703" sldId="1019"/>
            <ac:spMk id="8" creationId="{33CC2C06-C638-49B8-7A6F-3E00063CCDD2}"/>
          </ac:spMkLst>
        </pc:spChg>
        <pc:spChg chg="mod">
          <ac:chgData name="Andreas Koksrud" userId="9d9beba6-c052-407a-8599-c781a677a996" providerId="ADAL" clId="{267904F6-164A-446F-8964-DA69B112867B}" dt="2024-09-30T20:33:58.079" v="17635" actId="20577"/>
          <ac:spMkLst>
            <pc:docMk/>
            <pc:sldMk cId="3106651703" sldId="1019"/>
            <ac:spMk id="181" creationId="{00000000-0000-0000-0000-000000000000}"/>
          </ac:spMkLst>
        </pc:spChg>
        <pc:picChg chg="mod">
          <ac:chgData name="Andreas Koksrud" userId="9d9beba6-c052-407a-8599-c781a677a996" providerId="ADAL" clId="{267904F6-164A-446F-8964-DA69B112867B}" dt="2024-09-30T20:33:12.630" v="17623" actId="14826"/>
          <ac:picMkLst>
            <pc:docMk/>
            <pc:sldMk cId="3106651703" sldId="1019"/>
            <ac:picMk id="5" creationId="{1E68A490-F38D-C297-CAB1-BDF1B8ACCF68}"/>
          </ac:picMkLst>
        </pc:picChg>
        <pc:cxnChg chg="mod">
          <ac:chgData name="Andreas Koksrud" userId="9d9beba6-c052-407a-8599-c781a677a996" providerId="ADAL" clId="{267904F6-164A-446F-8964-DA69B112867B}" dt="2024-09-30T20:33:26.306" v="17625" actId="14100"/>
          <ac:cxnSpMkLst>
            <pc:docMk/>
            <pc:sldMk cId="3106651703" sldId="1019"/>
            <ac:cxnSpMk id="10" creationId="{FE0795CE-6154-9890-7708-33AA2A3C4C2D}"/>
          </ac:cxnSpMkLst>
        </pc:cxnChg>
        <pc:cxnChg chg="mod">
          <ac:chgData name="Andreas Koksrud" userId="9d9beba6-c052-407a-8599-c781a677a996" providerId="ADAL" clId="{267904F6-164A-446F-8964-DA69B112867B}" dt="2024-09-30T20:33:22.392" v="17624" actId="14100"/>
          <ac:cxnSpMkLst>
            <pc:docMk/>
            <pc:sldMk cId="3106651703" sldId="1019"/>
            <ac:cxnSpMk id="12" creationId="{534A1936-949B-108B-8E63-694AB9AE8DC4}"/>
          </ac:cxnSpMkLst>
        </pc:cxnChg>
        <pc:cxnChg chg="mod">
          <ac:chgData name="Andreas Koksrud" userId="9d9beba6-c052-407a-8599-c781a677a996" providerId="ADAL" clId="{267904F6-164A-446F-8964-DA69B112867B}" dt="2024-09-30T20:33:35.990" v="17626" actId="14100"/>
          <ac:cxnSpMkLst>
            <pc:docMk/>
            <pc:sldMk cId="3106651703" sldId="1019"/>
            <ac:cxnSpMk id="21" creationId="{0DB47818-955A-7048-6ACA-13CE4C543A63}"/>
          </ac:cxnSpMkLst>
        </pc:cxnChg>
        <pc:cxnChg chg="mod">
          <ac:chgData name="Andreas Koksrud" userId="9d9beba6-c052-407a-8599-c781a677a996" providerId="ADAL" clId="{267904F6-164A-446F-8964-DA69B112867B}" dt="2024-09-30T20:33:39.335" v="17627" actId="14100"/>
          <ac:cxnSpMkLst>
            <pc:docMk/>
            <pc:sldMk cId="3106651703" sldId="1019"/>
            <ac:cxnSpMk id="22" creationId="{EE41E959-724B-11B5-4A96-1DBC1110DF79}"/>
          </ac:cxnSpMkLst>
        </pc:cxnChg>
      </pc:sldChg>
      <pc:sldChg chg="addSp modSp mod">
        <pc:chgData name="Andreas Koksrud" userId="9d9beba6-c052-407a-8599-c781a677a996" providerId="ADAL" clId="{267904F6-164A-446F-8964-DA69B112867B}" dt="2024-09-29T18:18:48.329" v="16394"/>
        <pc:sldMkLst>
          <pc:docMk/>
          <pc:sldMk cId="3288778496" sldId="1022"/>
        </pc:sldMkLst>
        <pc:spChg chg="add mod">
          <ac:chgData name="Andreas Koksrud" userId="9d9beba6-c052-407a-8599-c781a677a996" providerId="ADAL" clId="{267904F6-164A-446F-8964-DA69B112867B}" dt="2024-09-04T05:22:46.341" v="5748" actId="13926"/>
          <ac:spMkLst>
            <pc:docMk/>
            <pc:sldMk cId="3288778496" sldId="1022"/>
            <ac:spMk id="3" creationId="{7C4943DC-9626-BF29-EAB2-96D55331C1F8}"/>
          </ac:spMkLst>
        </pc:spChg>
        <pc:spChg chg="add mod">
          <ac:chgData name="Andreas Koksrud" userId="9d9beba6-c052-407a-8599-c781a677a996" providerId="ADAL" clId="{267904F6-164A-446F-8964-DA69B112867B}" dt="2024-09-06T14:07:06.654" v="7086" actId="13926"/>
          <ac:spMkLst>
            <pc:docMk/>
            <pc:sldMk cId="3288778496" sldId="1022"/>
            <ac:spMk id="3" creationId="{B860BB34-8F3D-E018-DF83-141BC4234A11}"/>
          </ac:spMkLst>
        </pc:spChg>
        <pc:spChg chg="mod">
          <ac:chgData name="Andreas Koksrud" userId="9d9beba6-c052-407a-8599-c781a677a996" providerId="ADAL" clId="{267904F6-164A-446F-8964-DA69B112867B}" dt="2024-09-29T18:17:22.515" v="16369"/>
          <ac:spMkLst>
            <pc:docMk/>
            <pc:sldMk cId="3288778496" sldId="1022"/>
            <ac:spMk id="4" creationId="{C9FF8FE2-F07B-41C2-BAF8-C948892DF32C}"/>
          </ac:spMkLst>
        </pc:spChg>
        <pc:spChg chg="mod">
          <ac:chgData name="Andreas Koksrud" userId="9d9beba6-c052-407a-8599-c781a677a996" providerId="ADAL" clId="{267904F6-164A-446F-8964-DA69B112867B}" dt="2024-09-03T17:11:21.038" v="5567" actId="20577"/>
          <ac:spMkLst>
            <pc:docMk/>
            <pc:sldMk cId="3288778496" sldId="1022"/>
            <ac:spMk id="11" creationId="{62FA55CE-01F5-4692-0488-ACAD670507AE}"/>
          </ac:spMkLst>
        </pc:spChg>
        <pc:spChg chg="mod">
          <ac:chgData name="Andreas Koksrud" userId="9d9beba6-c052-407a-8599-c781a677a996" providerId="ADAL" clId="{267904F6-164A-446F-8964-DA69B112867B}" dt="2024-09-04T04:39:22.419" v="5676" actId="115"/>
          <ac:spMkLst>
            <pc:docMk/>
            <pc:sldMk cId="3288778496" sldId="1022"/>
            <ac:spMk id="180" creationId="{00000000-0000-0000-0000-000000000000}"/>
          </ac:spMkLst>
        </pc:spChg>
        <pc:picChg chg="add mod">
          <ac:chgData name="Andreas Koksrud" userId="9d9beba6-c052-407a-8599-c781a677a996" providerId="ADAL" clId="{267904F6-164A-446F-8964-DA69B112867B}" dt="2024-09-29T18:18:48.329" v="16394"/>
          <ac:picMkLst>
            <pc:docMk/>
            <pc:sldMk cId="3288778496" sldId="1022"/>
            <ac:picMk id="3" creationId="{E71B1928-E62C-B172-6D1D-5FE9F387DC56}"/>
          </ac:picMkLst>
        </pc:picChg>
      </pc:sldChg>
      <pc:sldChg chg="addSp modSp mod ord">
        <pc:chgData name="Andreas Koksrud" userId="9d9beba6-c052-407a-8599-c781a677a996" providerId="ADAL" clId="{267904F6-164A-446F-8964-DA69B112867B}" dt="2024-09-30T20:35:25.173" v="17665" actId="14100"/>
        <pc:sldMkLst>
          <pc:docMk/>
          <pc:sldMk cId="3670871975" sldId="1023"/>
        </pc:sldMkLst>
        <pc:spChg chg="mod">
          <ac:chgData name="Andreas Koksrud" userId="9d9beba6-c052-407a-8599-c781a677a996" providerId="ADAL" clId="{267904F6-164A-446F-8964-DA69B112867B}" dt="2024-09-29T18:05:21.907" v="15127"/>
          <ac:spMkLst>
            <pc:docMk/>
            <pc:sldMk cId="3670871975" sldId="1023"/>
            <ac:spMk id="4" creationId="{BDF04420-95D5-A2F1-5C85-4410F0AD48ED}"/>
          </ac:spMkLst>
        </pc:spChg>
        <pc:spChg chg="add mod">
          <ac:chgData name="Andreas Koksrud" userId="9d9beba6-c052-407a-8599-c781a677a996" providerId="ADAL" clId="{267904F6-164A-446F-8964-DA69B112867B}" dt="2024-09-30T20:35:12.794" v="17662" actId="1076"/>
          <ac:spMkLst>
            <pc:docMk/>
            <pc:sldMk cId="3670871975" sldId="1023"/>
            <ac:spMk id="8" creationId="{E9582794-66E4-A7BC-7BCD-50662E83E4AA}"/>
          </ac:spMkLst>
        </pc:spChg>
        <pc:cxnChg chg="add mod">
          <ac:chgData name="Andreas Koksrud" userId="9d9beba6-c052-407a-8599-c781a677a996" providerId="ADAL" clId="{267904F6-164A-446F-8964-DA69B112867B}" dt="2024-09-30T20:35:25.173" v="17665" actId="14100"/>
          <ac:cxnSpMkLst>
            <pc:docMk/>
            <pc:sldMk cId="3670871975" sldId="1023"/>
            <ac:cxnSpMk id="10" creationId="{2AFF8477-4E83-37D2-6503-F1C04F9808F9}"/>
          </ac:cxnSpMkLst>
        </pc:cxnChg>
      </pc:sldChg>
      <pc:sldChg chg="modSp">
        <pc:chgData name="Andreas Koksrud" userId="9d9beba6-c052-407a-8599-c781a677a996" providerId="ADAL" clId="{267904F6-164A-446F-8964-DA69B112867B}" dt="2024-09-29T18:04:50.065" v="15126"/>
        <pc:sldMkLst>
          <pc:docMk/>
          <pc:sldMk cId="3597784797" sldId="1024"/>
        </pc:sldMkLst>
        <pc:spChg chg="mod">
          <ac:chgData name="Andreas Koksrud" userId="9d9beba6-c052-407a-8599-c781a677a996" providerId="ADAL" clId="{267904F6-164A-446F-8964-DA69B112867B}" dt="2024-09-29T18:04:50.065" v="15126"/>
          <ac:spMkLst>
            <pc:docMk/>
            <pc:sldMk cId="3597784797" sldId="1024"/>
            <ac:spMk id="4" creationId="{06D484B0-8A03-2AA5-1C90-502CFFA0A0A7}"/>
          </ac:spMkLst>
        </pc:spChg>
      </pc:sldChg>
      <pc:sldChg chg="delSp modSp mod ord">
        <pc:chgData name="Andreas Koksrud" userId="9d9beba6-c052-407a-8599-c781a677a996" providerId="ADAL" clId="{267904F6-164A-446F-8964-DA69B112867B}" dt="2024-09-30T20:38:01.374" v="17957" actId="27636"/>
        <pc:sldMkLst>
          <pc:docMk/>
          <pc:sldMk cId="367832648" sldId="1025"/>
        </pc:sldMkLst>
        <pc:spChg chg="mod">
          <ac:chgData name="Andreas Koksrud" userId="9d9beba6-c052-407a-8599-c781a677a996" providerId="ADAL" clId="{267904F6-164A-446F-8964-DA69B112867B}" dt="2024-09-29T18:05:21.907" v="15127"/>
          <ac:spMkLst>
            <pc:docMk/>
            <pc:sldMk cId="367832648" sldId="1025"/>
            <ac:spMk id="4" creationId="{BDF04420-95D5-A2F1-5C85-4410F0AD48ED}"/>
          </ac:spMkLst>
        </pc:spChg>
        <pc:spChg chg="mod">
          <ac:chgData name="Andreas Koksrud" userId="9d9beba6-c052-407a-8599-c781a677a996" providerId="ADAL" clId="{267904F6-164A-446F-8964-DA69B112867B}" dt="2024-09-30T20:38:01.374" v="17957" actId="27636"/>
          <ac:spMkLst>
            <pc:docMk/>
            <pc:sldMk cId="367832648" sldId="1025"/>
            <ac:spMk id="15" creationId="{0AF21659-292B-D677-0005-89D78E171F43}"/>
          </ac:spMkLst>
        </pc:spChg>
        <pc:picChg chg="mod">
          <ac:chgData name="Andreas Koksrud" userId="9d9beba6-c052-407a-8599-c781a677a996" providerId="ADAL" clId="{267904F6-164A-446F-8964-DA69B112867B}" dt="2024-09-30T20:37:39.446" v="17909" actId="1076"/>
          <ac:picMkLst>
            <pc:docMk/>
            <pc:sldMk cId="367832648" sldId="1025"/>
            <ac:picMk id="14" creationId="{EBA70FCD-EABD-C5ED-9ECC-D88EA5FA9056}"/>
          </ac:picMkLst>
        </pc:picChg>
        <pc:picChg chg="del">
          <ac:chgData name="Andreas Koksrud" userId="9d9beba6-c052-407a-8599-c781a677a996" providerId="ADAL" clId="{267904F6-164A-446F-8964-DA69B112867B}" dt="2024-09-30T20:36:35.629" v="17736" actId="478"/>
          <ac:picMkLst>
            <pc:docMk/>
            <pc:sldMk cId="367832648" sldId="1025"/>
            <ac:picMk id="17" creationId="{BB87138B-0793-954F-B1BA-CD62C24FB598}"/>
          </ac:picMkLst>
        </pc:picChg>
      </pc:sldChg>
      <pc:sldChg chg="addSp modSp mod">
        <pc:chgData name="Andreas Koksrud" userId="9d9beba6-c052-407a-8599-c781a677a996" providerId="ADAL" clId="{267904F6-164A-446F-8964-DA69B112867B}" dt="2024-09-29T18:19:10.023" v="16408"/>
        <pc:sldMkLst>
          <pc:docMk/>
          <pc:sldMk cId="87525851" sldId="1028"/>
        </pc:sldMkLst>
        <pc:spChg chg="mod">
          <ac:chgData name="Andreas Koksrud" userId="9d9beba6-c052-407a-8599-c781a677a996" providerId="ADAL" clId="{267904F6-164A-446F-8964-DA69B112867B}" dt="2024-08-31T13:49:07.369" v="15" actId="20577"/>
          <ac:spMkLst>
            <pc:docMk/>
            <pc:sldMk cId="87525851" sldId="1028"/>
            <ac:spMk id="3" creationId="{F413C8AF-5ADF-796B-05EF-5C4BAC838722}"/>
          </ac:spMkLst>
        </pc:spChg>
        <pc:spChg chg="mod">
          <ac:chgData name="Andreas Koksrud" userId="9d9beba6-c052-407a-8599-c781a677a996" providerId="ADAL" clId="{267904F6-164A-446F-8964-DA69B112867B}" dt="2024-08-31T13:49:01.525" v="9" actId="20577"/>
          <ac:spMkLst>
            <pc:docMk/>
            <pc:sldMk cId="87525851" sldId="1028"/>
            <ac:spMk id="4" creationId="{7B2B45CA-95BD-2704-AA56-E8D306F64CB7}"/>
          </ac:spMkLst>
        </pc:spChg>
        <pc:spChg chg="mod">
          <ac:chgData name="Andreas Koksrud" userId="9d9beba6-c052-407a-8599-c781a677a996" providerId="ADAL" clId="{267904F6-164A-446F-8964-DA69B112867B}" dt="2024-08-31T13:49:04.561" v="12" actId="20577"/>
          <ac:spMkLst>
            <pc:docMk/>
            <pc:sldMk cId="87525851" sldId="1028"/>
            <ac:spMk id="16" creationId="{39B5BA0D-BFAD-CCA9-43FF-F14FA2DE742A}"/>
          </ac:spMkLst>
        </pc:spChg>
        <pc:picChg chg="add mod">
          <ac:chgData name="Andreas Koksrud" userId="9d9beba6-c052-407a-8599-c781a677a996" providerId="ADAL" clId="{267904F6-164A-446F-8964-DA69B112867B}" dt="2024-09-29T18:19:10.023" v="16408"/>
          <ac:picMkLst>
            <pc:docMk/>
            <pc:sldMk cId="87525851" sldId="1028"/>
            <ac:picMk id="5" creationId="{EC1178FA-4878-E423-7F2B-4CE51DC99AAB}"/>
          </ac:picMkLst>
        </pc:picChg>
      </pc:sldChg>
      <pc:sldChg chg="addSp delSp modSp mod">
        <pc:chgData name="Andreas Koksrud" userId="9d9beba6-c052-407a-8599-c781a677a996" providerId="ADAL" clId="{267904F6-164A-446F-8964-DA69B112867B}" dt="2024-09-29T18:19:05.620" v="16405"/>
        <pc:sldMkLst>
          <pc:docMk/>
          <pc:sldMk cId="3711552670" sldId="1029"/>
        </pc:sldMkLst>
        <pc:spChg chg="mod">
          <ac:chgData name="Andreas Koksrud" userId="9d9beba6-c052-407a-8599-c781a677a996" providerId="ADAL" clId="{267904F6-164A-446F-8964-DA69B112867B}" dt="2024-09-06T12:56:32.372" v="6673" actId="1582"/>
          <ac:spMkLst>
            <pc:docMk/>
            <pc:sldMk cId="3711552670" sldId="1029"/>
            <ac:spMk id="3" creationId="{A94D6359-16CD-D4B4-D85E-072A669FA314}"/>
          </ac:spMkLst>
        </pc:spChg>
        <pc:spChg chg="add mod ord">
          <ac:chgData name="Andreas Koksrud" userId="9d9beba6-c052-407a-8599-c781a677a996" providerId="ADAL" clId="{267904F6-164A-446F-8964-DA69B112867B}" dt="2024-09-06T13:45:26.483" v="6880" actId="6549"/>
          <ac:spMkLst>
            <pc:docMk/>
            <pc:sldMk cId="3711552670" sldId="1029"/>
            <ac:spMk id="5" creationId="{00E1F5B3-1484-766D-1E22-9E733F769AAF}"/>
          </ac:spMkLst>
        </pc:spChg>
        <pc:spChg chg="mod ord">
          <ac:chgData name="Andreas Koksrud" userId="9d9beba6-c052-407a-8599-c781a677a996" providerId="ADAL" clId="{267904F6-164A-446F-8964-DA69B112867B}" dt="2024-09-03T13:50:22.732" v="2211" actId="20577"/>
          <ac:spMkLst>
            <pc:docMk/>
            <pc:sldMk cId="3711552670" sldId="1029"/>
            <ac:spMk id="6" creationId="{5485B025-69EF-89C1-6489-284E2DAA1110}"/>
          </ac:spMkLst>
        </pc:spChg>
        <pc:spChg chg="add mod">
          <ac:chgData name="Andreas Koksrud" userId="9d9beba6-c052-407a-8599-c781a677a996" providerId="ADAL" clId="{267904F6-164A-446F-8964-DA69B112867B}" dt="2024-09-06T12:54:30.133" v="6661" actId="1035"/>
          <ac:spMkLst>
            <pc:docMk/>
            <pc:sldMk cId="3711552670" sldId="1029"/>
            <ac:spMk id="8" creationId="{E57D1EC9-49F3-7BDF-7EB7-EDB21E4C558F}"/>
          </ac:spMkLst>
        </pc:spChg>
        <pc:spChg chg="add mod">
          <ac:chgData name="Andreas Koksrud" userId="9d9beba6-c052-407a-8599-c781a677a996" providerId="ADAL" clId="{267904F6-164A-446F-8964-DA69B112867B}" dt="2024-09-06T12:53:29.122" v="6636" actId="20577"/>
          <ac:spMkLst>
            <pc:docMk/>
            <pc:sldMk cId="3711552670" sldId="1029"/>
            <ac:spMk id="9" creationId="{3A122CC6-929C-3628-C6F1-B3393BF93DE2}"/>
          </ac:spMkLst>
        </pc:spChg>
        <pc:spChg chg="add mod">
          <ac:chgData name="Andreas Koksrud" userId="9d9beba6-c052-407a-8599-c781a677a996" providerId="ADAL" clId="{267904F6-164A-446F-8964-DA69B112867B}" dt="2024-09-02T05:25:18.267" v="2175" actId="20577"/>
          <ac:spMkLst>
            <pc:docMk/>
            <pc:sldMk cId="3711552670" sldId="1029"/>
            <ac:spMk id="9" creationId="{BE42472F-998D-473D-2B01-86D404908202}"/>
          </ac:spMkLst>
        </pc:spChg>
        <pc:spChg chg="del">
          <ac:chgData name="Andreas Koksrud" userId="9d9beba6-c052-407a-8599-c781a677a996" providerId="ADAL" clId="{267904F6-164A-446F-8964-DA69B112867B}" dt="2024-08-31T14:02:18.068" v="812" actId="478"/>
          <ac:spMkLst>
            <pc:docMk/>
            <pc:sldMk cId="3711552670" sldId="1029"/>
            <ac:spMk id="9" creationId="{D17A5E2E-F765-DF16-1A1D-79770F561C65}"/>
          </ac:spMkLst>
        </pc:spChg>
        <pc:spChg chg="add mod">
          <ac:chgData name="Andreas Koksrud" userId="9d9beba6-c052-407a-8599-c781a677a996" providerId="ADAL" clId="{267904F6-164A-446F-8964-DA69B112867B}" dt="2024-08-31T14:07:48.683" v="1102" actId="1035"/>
          <ac:spMkLst>
            <pc:docMk/>
            <pc:sldMk cId="3711552670" sldId="1029"/>
            <ac:spMk id="10" creationId="{51763FFD-D04A-58D5-774B-B2B30F7D9C40}"/>
          </ac:spMkLst>
        </pc:spChg>
        <pc:spChg chg="add mod">
          <ac:chgData name="Andreas Koksrud" userId="9d9beba6-c052-407a-8599-c781a677a996" providerId="ADAL" clId="{267904F6-164A-446F-8964-DA69B112867B}" dt="2024-09-13T12:08:14.778" v="12127" actId="20577"/>
          <ac:spMkLst>
            <pc:docMk/>
            <pc:sldMk cId="3711552670" sldId="1029"/>
            <ac:spMk id="11" creationId="{2D539C48-4CCB-9354-C904-1A35366D90C5}"/>
          </ac:spMkLst>
        </pc:spChg>
        <pc:spChg chg="add mod">
          <ac:chgData name="Andreas Koksrud" userId="9d9beba6-c052-407a-8599-c781a677a996" providerId="ADAL" clId="{267904F6-164A-446F-8964-DA69B112867B}" dt="2024-09-06T13:45:38.664" v="6881" actId="1076"/>
          <ac:spMkLst>
            <pc:docMk/>
            <pc:sldMk cId="3711552670" sldId="1029"/>
            <ac:spMk id="15" creationId="{8F26D8AF-5C5F-8360-F68B-683C5ABBD2DD}"/>
          </ac:spMkLst>
        </pc:spChg>
        <pc:spChg chg="del">
          <ac:chgData name="Andreas Koksrud" userId="9d9beba6-c052-407a-8599-c781a677a996" providerId="ADAL" clId="{267904F6-164A-446F-8964-DA69B112867B}" dt="2024-09-03T13:50:37.239" v="2212" actId="478"/>
          <ac:spMkLst>
            <pc:docMk/>
            <pc:sldMk cId="3711552670" sldId="1029"/>
            <ac:spMk id="15" creationId="{BC690E70-9BDE-5AA6-67F1-BE364121AEAD}"/>
          </ac:spMkLst>
        </pc:spChg>
        <pc:spChg chg="add mod">
          <ac:chgData name="Andreas Koksrud" userId="9d9beba6-c052-407a-8599-c781a677a996" providerId="ADAL" clId="{267904F6-164A-446F-8964-DA69B112867B}" dt="2024-09-06T13:56:53.755" v="6890" actId="6549"/>
          <ac:spMkLst>
            <pc:docMk/>
            <pc:sldMk cId="3711552670" sldId="1029"/>
            <ac:spMk id="17" creationId="{AA78EA72-FF71-25D8-9285-7FD4EAF154B5}"/>
          </ac:spMkLst>
        </pc:spChg>
        <pc:spChg chg="del mod">
          <ac:chgData name="Andreas Koksrud" userId="9d9beba6-c052-407a-8599-c781a677a996" providerId="ADAL" clId="{267904F6-164A-446F-8964-DA69B112867B}" dt="2024-08-31T14:05:04" v="903" actId="478"/>
          <ac:spMkLst>
            <pc:docMk/>
            <pc:sldMk cId="3711552670" sldId="1029"/>
            <ac:spMk id="20" creationId="{059BA69A-E4E7-34FD-DA25-3651F6661A1A}"/>
          </ac:spMkLst>
        </pc:spChg>
        <pc:spChg chg="del">
          <ac:chgData name="Andreas Koksrud" userId="9d9beba6-c052-407a-8599-c781a677a996" providerId="ADAL" clId="{267904F6-164A-446F-8964-DA69B112867B}" dt="2024-08-31T14:06:53.477" v="1094" actId="478"/>
          <ac:spMkLst>
            <pc:docMk/>
            <pc:sldMk cId="3711552670" sldId="1029"/>
            <ac:spMk id="21" creationId="{54E28224-9788-1E13-CAA2-C1CA72EF94CE}"/>
          </ac:spMkLst>
        </pc:spChg>
        <pc:spChg chg="del mod">
          <ac:chgData name="Andreas Koksrud" userId="9d9beba6-c052-407a-8599-c781a677a996" providerId="ADAL" clId="{267904F6-164A-446F-8964-DA69B112867B}" dt="2024-09-06T12:53:45.403" v="6640" actId="478"/>
          <ac:spMkLst>
            <pc:docMk/>
            <pc:sldMk cId="3711552670" sldId="1029"/>
            <ac:spMk id="24" creationId="{45E9A616-4247-B02C-A519-9265B9C7694C}"/>
          </ac:spMkLst>
        </pc:spChg>
        <pc:picChg chg="add mod">
          <ac:chgData name="Andreas Koksrud" userId="9d9beba6-c052-407a-8599-c781a677a996" providerId="ADAL" clId="{267904F6-164A-446F-8964-DA69B112867B}" dt="2024-09-29T18:19:05.620" v="16405"/>
          <ac:picMkLst>
            <pc:docMk/>
            <pc:sldMk cId="3711552670" sldId="1029"/>
            <ac:picMk id="14" creationId="{BED899C8-ECD4-64E2-3DD4-C00009FFD1F3}"/>
          </ac:picMkLst>
        </pc:picChg>
        <pc:cxnChg chg="mod ord">
          <ac:chgData name="Andreas Koksrud" userId="9d9beba6-c052-407a-8599-c781a677a996" providerId="ADAL" clId="{267904F6-164A-446F-8964-DA69B112867B}" dt="2024-09-06T12:54:30.133" v="6661" actId="1035"/>
          <ac:cxnSpMkLst>
            <pc:docMk/>
            <pc:sldMk cId="3711552670" sldId="1029"/>
            <ac:cxnSpMk id="4" creationId="{3BE94264-C2AE-A7EA-AFE7-98C55355CECC}"/>
          </ac:cxnSpMkLst>
        </pc:cxnChg>
        <pc:cxnChg chg="mod">
          <ac:chgData name="Andreas Koksrud" userId="9d9beba6-c052-407a-8599-c781a677a996" providerId="ADAL" clId="{267904F6-164A-446F-8964-DA69B112867B}" dt="2024-09-06T13:57:16.148" v="6892" actId="14100"/>
          <ac:cxnSpMkLst>
            <pc:docMk/>
            <pc:sldMk cId="3711552670" sldId="1029"/>
            <ac:cxnSpMk id="13" creationId="{18655312-CB2F-BE5C-F5D7-83D416627A9D}"/>
          </ac:cxnSpMkLst>
        </pc:cxnChg>
      </pc:sldChg>
      <pc:sldChg chg="addSp delSp modSp mod">
        <pc:chgData name="Andreas Koksrud" userId="9d9beba6-c052-407a-8599-c781a677a996" providerId="ADAL" clId="{267904F6-164A-446F-8964-DA69B112867B}" dt="2024-09-29T18:19:04.268" v="16404"/>
        <pc:sldMkLst>
          <pc:docMk/>
          <pc:sldMk cId="2014202690" sldId="1030"/>
        </pc:sldMkLst>
        <pc:spChg chg="add del">
          <ac:chgData name="Andreas Koksrud" userId="9d9beba6-c052-407a-8599-c781a677a996" providerId="ADAL" clId="{267904F6-164A-446F-8964-DA69B112867B}" dt="2024-08-31T14:07:42.186" v="1100" actId="22"/>
          <ac:spMkLst>
            <pc:docMk/>
            <pc:sldMk cId="2014202690" sldId="1030"/>
            <ac:spMk id="5" creationId="{0AA350A5-99E2-9F44-E24D-62BA4A65E717}"/>
          </ac:spMkLst>
        </pc:spChg>
        <pc:spChg chg="mod">
          <ac:chgData name="Andreas Koksrud" userId="9d9beba6-c052-407a-8599-c781a677a996" providerId="ADAL" clId="{267904F6-164A-446F-8964-DA69B112867B}" dt="2024-09-06T13:59:52.327" v="6960" actId="20577"/>
          <ac:spMkLst>
            <pc:docMk/>
            <pc:sldMk cId="2014202690" sldId="1030"/>
            <ac:spMk id="6" creationId="{5485B025-69EF-89C1-6489-284E2DAA1110}"/>
          </ac:spMkLst>
        </pc:spChg>
        <pc:spChg chg="del">
          <ac:chgData name="Andreas Koksrud" userId="9d9beba6-c052-407a-8599-c781a677a996" providerId="ADAL" clId="{267904F6-164A-446F-8964-DA69B112867B}" dt="2024-08-31T14:09:46.870" v="1180" actId="478"/>
          <ac:spMkLst>
            <pc:docMk/>
            <pc:sldMk cId="2014202690" sldId="1030"/>
            <ac:spMk id="8" creationId="{30DC8D27-8531-F60F-E311-592A74B7D90B}"/>
          </ac:spMkLst>
        </pc:spChg>
        <pc:spChg chg="del">
          <ac:chgData name="Andreas Koksrud" userId="9d9beba6-c052-407a-8599-c781a677a996" providerId="ADAL" clId="{267904F6-164A-446F-8964-DA69B112867B}" dt="2024-08-31T14:08:52.203" v="1150" actId="478"/>
          <ac:spMkLst>
            <pc:docMk/>
            <pc:sldMk cId="2014202690" sldId="1030"/>
            <ac:spMk id="9" creationId="{D17A5E2E-F765-DF16-1A1D-79770F561C65}"/>
          </ac:spMkLst>
        </pc:spChg>
        <pc:spChg chg="add mod">
          <ac:chgData name="Andreas Koksrud" userId="9d9beba6-c052-407a-8599-c781a677a996" providerId="ADAL" clId="{267904F6-164A-446F-8964-DA69B112867B}" dt="2024-09-06T12:54:50.310" v="6669" actId="14100"/>
          <ac:spMkLst>
            <pc:docMk/>
            <pc:sldMk cId="2014202690" sldId="1030"/>
            <ac:spMk id="9" creationId="{F252BA56-77FA-EA82-263C-54B9A84CDD4D}"/>
          </ac:spMkLst>
        </pc:spChg>
        <pc:spChg chg="add mod">
          <ac:chgData name="Andreas Koksrud" userId="9d9beba6-c052-407a-8599-c781a677a996" providerId="ADAL" clId="{267904F6-164A-446F-8964-DA69B112867B}" dt="2024-09-06T12:49:07.361" v="6498" actId="6549"/>
          <ac:spMkLst>
            <pc:docMk/>
            <pc:sldMk cId="2014202690" sldId="1030"/>
            <ac:spMk id="10" creationId="{109101AD-C7D6-166B-DC91-4EA8BB06A97F}"/>
          </ac:spMkLst>
        </pc:spChg>
        <pc:spChg chg="add mod">
          <ac:chgData name="Andreas Koksrud" userId="9d9beba6-c052-407a-8599-c781a677a996" providerId="ADAL" clId="{267904F6-164A-446F-8964-DA69B112867B}" dt="2024-09-06T12:52:34.972" v="6618" actId="20577"/>
          <ac:spMkLst>
            <pc:docMk/>
            <pc:sldMk cId="2014202690" sldId="1030"/>
            <ac:spMk id="11" creationId="{E3F5D7CC-3F48-BFB7-3D15-FBA69AA61067}"/>
          </ac:spMkLst>
        </pc:spChg>
        <pc:spChg chg="add mod">
          <ac:chgData name="Andreas Koksrud" userId="9d9beba6-c052-407a-8599-c781a677a996" providerId="ADAL" clId="{267904F6-164A-446F-8964-DA69B112867B}" dt="2024-09-06T12:51:21.693" v="6593" actId="1076"/>
          <ac:spMkLst>
            <pc:docMk/>
            <pc:sldMk cId="2014202690" sldId="1030"/>
            <ac:spMk id="13" creationId="{F39F89C6-45F6-6799-1F6D-E733A8BAA55B}"/>
          </ac:spMkLst>
        </pc:spChg>
        <pc:spChg chg="add mod">
          <ac:chgData name="Andreas Koksrud" userId="9d9beba6-c052-407a-8599-c781a677a996" providerId="ADAL" clId="{267904F6-164A-446F-8964-DA69B112867B}" dt="2024-09-06T14:00:07.509" v="6977" actId="14100"/>
          <ac:spMkLst>
            <pc:docMk/>
            <pc:sldMk cId="2014202690" sldId="1030"/>
            <ac:spMk id="15" creationId="{3E77F7C1-4F56-404F-E579-F03D1733EFB3}"/>
          </ac:spMkLst>
        </pc:spChg>
        <pc:spChg chg="del mod">
          <ac:chgData name="Andreas Koksrud" userId="9d9beba6-c052-407a-8599-c781a677a996" providerId="ADAL" clId="{267904F6-164A-446F-8964-DA69B112867B}" dt="2024-09-06T12:52:48.003" v="6620" actId="478"/>
          <ac:spMkLst>
            <pc:docMk/>
            <pc:sldMk cId="2014202690" sldId="1030"/>
            <ac:spMk id="24" creationId="{45E9A616-4247-B02C-A519-9265B9C7694C}"/>
          </ac:spMkLst>
        </pc:spChg>
        <pc:picChg chg="add mod">
          <ac:chgData name="Andreas Koksrud" userId="9d9beba6-c052-407a-8599-c781a677a996" providerId="ADAL" clId="{267904F6-164A-446F-8964-DA69B112867B}" dt="2024-09-29T18:19:04.268" v="16404"/>
          <ac:picMkLst>
            <pc:docMk/>
            <pc:sldMk cId="2014202690" sldId="1030"/>
            <ac:picMk id="3" creationId="{1B45DF86-45BD-C456-1EDB-B14ABBE39105}"/>
          </ac:picMkLst>
        </pc:picChg>
        <pc:cxnChg chg="mod ord">
          <ac:chgData name="Andreas Koksrud" userId="9d9beba6-c052-407a-8599-c781a677a996" providerId="ADAL" clId="{267904F6-164A-446F-8964-DA69B112867B}" dt="2024-09-06T12:54:59.555" v="6670" actId="14100"/>
          <ac:cxnSpMkLst>
            <pc:docMk/>
            <pc:sldMk cId="2014202690" sldId="1030"/>
            <ac:cxnSpMk id="4" creationId="{3BE94264-C2AE-A7EA-AFE7-98C55355CECC}"/>
          </ac:cxnSpMkLst>
        </pc:cxnChg>
      </pc:sldChg>
      <pc:sldChg chg="addSp delSp modSp mod">
        <pc:chgData name="Andreas Koksrud" userId="9d9beba6-c052-407a-8599-c781a677a996" providerId="ADAL" clId="{267904F6-164A-446F-8964-DA69B112867B}" dt="2024-09-29T18:19:02.721" v="16403"/>
        <pc:sldMkLst>
          <pc:docMk/>
          <pc:sldMk cId="2968854425" sldId="1031"/>
        </pc:sldMkLst>
        <pc:spChg chg="del mod">
          <ac:chgData name="Andreas Koksrud" userId="9d9beba6-c052-407a-8599-c781a677a996" providerId="ADAL" clId="{267904F6-164A-446F-8964-DA69B112867B}" dt="2024-09-03T14:54:12.088" v="2979" actId="478"/>
          <ac:spMkLst>
            <pc:docMk/>
            <pc:sldMk cId="2968854425" sldId="1031"/>
            <ac:spMk id="3" creationId="{5A9E3B6B-8E0E-D6F1-2A9E-5AF13DE2E6CB}"/>
          </ac:spMkLst>
        </pc:spChg>
        <pc:spChg chg="mod">
          <ac:chgData name="Andreas Koksrud" userId="9d9beba6-c052-407a-8599-c781a677a996" providerId="ADAL" clId="{267904F6-164A-446F-8964-DA69B112867B}" dt="2024-09-04T11:54:04.866" v="5819" actId="20577"/>
          <ac:spMkLst>
            <pc:docMk/>
            <pc:sldMk cId="2968854425" sldId="1031"/>
            <ac:spMk id="9" creationId="{1332ADAB-347F-B30A-F36B-957ADACDE929}"/>
          </ac:spMkLst>
        </pc:spChg>
        <pc:spChg chg="add mod">
          <ac:chgData name="Andreas Koksrud" userId="9d9beba6-c052-407a-8599-c781a677a996" providerId="ADAL" clId="{267904F6-164A-446F-8964-DA69B112867B}" dt="2024-09-02T05:24:42.261" v="2084" actId="20577"/>
          <ac:spMkLst>
            <pc:docMk/>
            <pc:sldMk cId="2968854425" sldId="1031"/>
            <ac:spMk id="11" creationId="{877F6A3F-10BB-7A54-3A76-202C966E3A46}"/>
          </ac:spMkLst>
        </pc:spChg>
        <pc:picChg chg="mod modCrop">
          <ac:chgData name="Andreas Koksrud" userId="9d9beba6-c052-407a-8599-c781a677a996" providerId="ADAL" clId="{267904F6-164A-446F-8964-DA69B112867B}" dt="2024-09-04T11:55:15.655" v="5822" actId="732"/>
          <ac:picMkLst>
            <pc:docMk/>
            <pc:sldMk cId="2968854425" sldId="1031"/>
            <ac:picMk id="3" creationId="{75474F73-3279-ACC2-8CA8-2187DEFC330B}"/>
          </ac:picMkLst>
        </pc:picChg>
        <pc:picChg chg="add mod">
          <ac:chgData name="Andreas Koksrud" userId="9d9beba6-c052-407a-8599-c781a677a996" providerId="ADAL" clId="{267904F6-164A-446F-8964-DA69B112867B}" dt="2024-09-29T18:19:02.721" v="16403"/>
          <ac:picMkLst>
            <pc:docMk/>
            <pc:sldMk cId="2968854425" sldId="1031"/>
            <ac:picMk id="6" creationId="{69E4680C-7428-EDFD-9653-78D0F360B38B}"/>
          </ac:picMkLst>
        </pc:picChg>
        <pc:picChg chg="mod">
          <ac:chgData name="Andreas Koksrud" userId="9d9beba6-c052-407a-8599-c781a677a996" providerId="ADAL" clId="{267904F6-164A-446F-8964-DA69B112867B}" dt="2024-08-31T16:52:16.609" v="1919" actId="1036"/>
          <ac:picMkLst>
            <pc:docMk/>
            <pc:sldMk cId="2968854425" sldId="1031"/>
            <ac:picMk id="23" creationId="{FFC95476-A16C-CF1E-EEBA-9DC42B469EA3}"/>
          </ac:picMkLst>
        </pc:picChg>
        <pc:cxnChg chg="mod">
          <ac:chgData name="Andreas Koksrud" userId="9d9beba6-c052-407a-8599-c781a677a996" providerId="ADAL" clId="{267904F6-164A-446F-8964-DA69B112867B}" dt="2024-08-31T16:53:40.858" v="1922" actId="14100"/>
          <ac:cxnSpMkLst>
            <pc:docMk/>
            <pc:sldMk cId="2968854425" sldId="1031"/>
            <ac:cxnSpMk id="8" creationId="{DB8069F1-7B58-AE34-8A01-D60A5ADB97ED}"/>
          </ac:cxnSpMkLst>
        </pc:cxnChg>
        <pc:cxnChg chg="mod">
          <ac:chgData name="Andreas Koksrud" userId="9d9beba6-c052-407a-8599-c781a677a996" providerId="ADAL" clId="{267904F6-164A-446F-8964-DA69B112867B}" dt="2024-08-31T16:53:26.078" v="1921" actId="14100"/>
          <ac:cxnSpMkLst>
            <pc:docMk/>
            <pc:sldMk cId="2968854425" sldId="1031"/>
            <ac:cxnSpMk id="14" creationId="{FD37C567-66E8-B223-3CDF-32ACDFB03A55}"/>
          </ac:cxnSpMkLst>
        </pc:cxnChg>
        <pc:cxnChg chg="del mod">
          <ac:chgData name="Andreas Koksrud" userId="9d9beba6-c052-407a-8599-c781a677a996" providerId="ADAL" clId="{267904F6-164A-446F-8964-DA69B112867B}" dt="2024-09-03T14:54:10.506" v="2978" actId="478"/>
          <ac:cxnSpMkLst>
            <pc:docMk/>
            <pc:sldMk cId="2968854425" sldId="1031"/>
            <ac:cxnSpMk id="27" creationId="{8E85B74E-B8E4-6C62-5221-572C72C4BA6D}"/>
          </ac:cxnSpMkLst>
        </pc:cxnChg>
      </pc:sldChg>
      <pc:sldChg chg="addSp delSp modSp mod">
        <pc:chgData name="Andreas Koksrud" userId="9d9beba6-c052-407a-8599-c781a677a996" providerId="ADAL" clId="{267904F6-164A-446F-8964-DA69B112867B}" dt="2024-09-29T18:18:43.573" v="16390"/>
        <pc:sldMkLst>
          <pc:docMk/>
          <pc:sldMk cId="4047344701" sldId="1032"/>
        </pc:sldMkLst>
        <pc:spChg chg="mod">
          <ac:chgData name="Andreas Koksrud" userId="9d9beba6-c052-407a-8599-c781a677a996" providerId="ADAL" clId="{267904F6-164A-446F-8964-DA69B112867B}" dt="2024-09-06T16:23:07.034" v="7178" actId="20577"/>
          <ac:spMkLst>
            <pc:docMk/>
            <pc:sldMk cId="4047344701" sldId="1032"/>
            <ac:spMk id="3" creationId="{E7DC11FC-43DD-52DB-D6B6-8B8797418FC3}"/>
          </ac:spMkLst>
        </pc:spChg>
        <pc:spChg chg="mod">
          <ac:chgData name="Andreas Koksrud" userId="9d9beba6-c052-407a-8599-c781a677a996" providerId="ADAL" clId="{267904F6-164A-446F-8964-DA69B112867B}" dt="2024-09-29T18:17:22.515" v="16369"/>
          <ac:spMkLst>
            <pc:docMk/>
            <pc:sldMk cId="4047344701" sldId="1032"/>
            <ac:spMk id="4" creationId="{99B9AFAD-6D20-4299-CD50-D8A4B3C2D385}"/>
          </ac:spMkLst>
        </pc:spChg>
        <pc:spChg chg="add mod">
          <ac:chgData name="Andreas Koksrud" userId="9d9beba6-c052-407a-8599-c781a677a996" providerId="ADAL" clId="{267904F6-164A-446F-8964-DA69B112867B}" dt="2024-09-06T16:23:10.357" v="7179" actId="1076"/>
          <ac:spMkLst>
            <pc:docMk/>
            <pc:sldMk cId="4047344701" sldId="1032"/>
            <ac:spMk id="5" creationId="{CBD3C767-516A-EB3B-B821-C64F6FCC24FD}"/>
          </ac:spMkLst>
        </pc:spChg>
        <pc:spChg chg="mod">
          <ac:chgData name="Andreas Koksrud" userId="9d9beba6-c052-407a-8599-c781a677a996" providerId="ADAL" clId="{267904F6-164A-446F-8964-DA69B112867B}" dt="2024-09-06T16:22:25.372" v="7168" actId="14100"/>
          <ac:spMkLst>
            <pc:docMk/>
            <pc:sldMk cId="4047344701" sldId="1032"/>
            <ac:spMk id="16" creationId="{3CF5A11D-A18D-D541-3D69-416F56E08366}"/>
          </ac:spMkLst>
        </pc:spChg>
        <pc:spChg chg="mod">
          <ac:chgData name="Andreas Koksrud" userId="9d9beba6-c052-407a-8599-c781a677a996" providerId="ADAL" clId="{267904F6-164A-446F-8964-DA69B112867B}" dt="2024-09-06T16:22:16.050" v="7165" actId="14100"/>
          <ac:spMkLst>
            <pc:docMk/>
            <pc:sldMk cId="4047344701" sldId="1032"/>
            <ac:spMk id="19" creationId="{667ACCD9-6D8F-2EF9-AAD2-86FA4E219ACB}"/>
          </ac:spMkLst>
        </pc:spChg>
        <pc:picChg chg="mod">
          <ac:chgData name="Andreas Koksrud" userId="9d9beba6-c052-407a-8599-c781a677a996" providerId="ADAL" clId="{267904F6-164A-446F-8964-DA69B112867B}" dt="2024-09-06T16:21:56.843" v="7161" actId="1076"/>
          <ac:picMkLst>
            <pc:docMk/>
            <pc:sldMk cId="4047344701" sldId="1032"/>
            <ac:picMk id="6" creationId="{55A930C3-619B-375C-E2E4-326BBF259013}"/>
          </ac:picMkLst>
        </pc:picChg>
        <pc:picChg chg="add mod">
          <ac:chgData name="Andreas Koksrud" userId="9d9beba6-c052-407a-8599-c781a677a996" providerId="ADAL" clId="{267904F6-164A-446F-8964-DA69B112867B}" dt="2024-09-29T18:18:43.573" v="16390"/>
          <ac:picMkLst>
            <pc:docMk/>
            <pc:sldMk cId="4047344701" sldId="1032"/>
            <ac:picMk id="7" creationId="{3B771537-C29D-385A-348D-8D38C89D0AFC}"/>
          </ac:picMkLst>
        </pc:picChg>
        <pc:picChg chg="add mod">
          <ac:chgData name="Andreas Koksrud" userId="9d9beba6-c052-407a-8599-c781a677a996" providerId="ADAL" clId="{267904F6-164A-446F-8964-DA69B112867B}" dt="2024-09-06T13:04:33.221" v="6720" actId="1076"/>
          <ac:picMkLst>
            <pc:docMk/>
            <pc:sldMk cId="4047344701" sldId="1032"/>
            <ac:picMk id="7" creationId="{E58C26C5-07BD-CD55-9261-8E0FF30D9156}"/>
          </ac:picMkLst>
        </pc:picChg>
        <pc:picChg chg="add mod modCrop">
          <ac:chgData name="Andreas Koksrud" userId="9d9beba6-c052-407a-8599-c781a677a996" providerId="ADAL" clId="{267904F6-164A-446F-8964-DA69B112867B}" dt="2024-09-06T13:04:33.221" v="6720" actId="1076"/>
          <ac:picMkLst>
            <pc:docMk/>
            <pc:sldMk cId="4047344701" sldId="1032"/>
            <ac:picMk id="13" creationId="{A72058B4-7BFD-A52A-95B6-5D4484139793}"/>
          </ac:picMkLst>
        </pc:picChg>
        <pc:cxnChg chg="add del mod">
          <ac:chgData name="Andreas Koksrud" userId="9d9beba6-c052-407a-8599-c781a677a996" providerId="ADAL" clId="{267904F6-164A-446F-8964-DA69B112867B}" dt="2024-09-05T10:01:04.338" v="6091" actId="478"/>
          <ac:cxnSpMkLst>
            <pc:docMk/>
            <pc:sldMk cId="4047344701" sldId="1032"/>
            <ac:cxnSpMk id="8" creationId="{49F504F3-44A5-2950-5913-DB5FC13AB30F}"/>
          </ac:cxnSpMkLst>
        </pc:cxnChg>
        <pc:cxnChg chg="add mod">
          <ac:chgData name="Andreas Koksrud" userId="9d9beba6-c052-407a-8599-c781a677a996" providerId="ADAL" clId="{267904F6-164A-446F-8964-DA69B112867B}" dt="2024-09-06T16:22:47.112" v="7172" actId="14100"/>
          <ac:cxnSpMkLst>
            <pc:docMk/>
            <pc:sldMk cId="4047344701" sldId="1032"/>
            <ac:cxnSpMk id="12" creationId="{D66F8EAB-F618-1072-CC31-B08CC006B9B8}"/>
          </ac:cxnSpMkLst>
        </pc:cxnChg>
        <pc:cxnChg chg="mod">
          <ac:chgData name="Andreas Koksrud" userId="9d9beba6-c052-407a-8599-c781a677a996" providerId="ADAL" clId="{267904F6-164A-446F-8964-DA69B112867B}" dt="2024-09-06T16:23:14.106" v="7180" actId="14100"/>
          <ac:cxnSpMkLst>
            <pc:docMk/>
            <pc:sldMk cId="4047344701" sldId="1032"/>
            <ac:cxnSpMk id="17" creationId="{F7A38130-1272-2BA2-95D0-4FDD8941A540}"/>
          </ac:cxnSpMkLst>
        </pc:cxnChg>
        <pc:cxnChg chg="mod">
          <ac:chgData name="Andreas Koksrud" userId="9d9beba6-c052-407a-8599-c781a677a996" providerId="ADAL" clId="{267904F6-164A-446F-8964-DA69B112867B}" dt="2024-09-06T16:23:17.272" v="7181" actId="14100"/>
          <ac:cxnSpMkLst>
            <pc:docMk/>
            <pc:sldMk cId="4047344701" sldId="1032"/>
            <ac:cxnSpMk id="21" creationId="{DC96FF66-8E8B-BDFE-C6CB-34FB0B93CBB1}"/>
          </ac:cxnSpMkLst>
        </pc:cxnChg>
      </pc:sldChg>
      <pc:sldChg chg="addSp delSp modSp mod">
        <pc:chgData name="Andreas Koksrud" userId="9d9beba6-c052-407a-8599-c781a677a996" providerId="ADAL" clId="{267904F6-164A-446F-8964-DA69B112867B}" dt="2024-09-29T18:18:40.933" v="16387"/>
        <pc:sldMkLst>
          <pc:docMk/>
          <pc:sldMk cId="1947472829" sldId="1033"/>
        </pc:sldMkLst>
        <pc:spChg chg="mod">
          <ac:chgData name="Andreas Koksrud" userId="9d9beba6-c052-407a-8599-c781a677a996" providerId="ADAL" clId="{267904F6-164A-446F-8964-DA69B112867B}" dt="2024-09-29T18:17:22.515" v="16369"/>
          <ac:spMkLst>
            <pc:docMk/>
            <pc:sldMk cId="1947472829" sldId="1033"/>
            <ac:spMk id="3" creationId="{AEB67DE2-4419-6A35-1303-4FFA243B08DC}"/>
          </ac:spMkLst>
        </pc:spChg>
        <pc:spChg chg="add del mod">
          <ac:chgData name="Andreas Koksrud" userId="9d9beba6-c052-407a-8599-c781a677a996" providerId="ADAL" clId="{267904F6-164A-446F-8964-DA69B112867B}" dt="2024-09-06T13:05:21.828" v="6723" actId="478"/>
          <ac:spMkLst>
            <pc:docMk/>
            <pc:sldMk cId="1947472829" sldId="1033"/>
            <ac:spMk id="7" creationId="{1BC2321B-6B25-D681-8CD0-FF906EC4D28E}"/>
          </ac:spMkLst>
        </pc:spChg>
        <pc:spChg chg="add mod ord">
          <ac:chgData name="Andreas Koksrud" userId="9d9beba6-c052-407a-8599-c781a677a996" providerId="ADAL" clId="{267904F6-164A-446F-8964-DA69B112867B}" dt="2024-09-06T16:39:26.221" v="8302" actId="27636"/>
          <ac:spMkLst>
            <pc:docMk/>
            <pc:sldMk cId="1947472829" sldId="1033"/>
            <ac:spMk id="8" creationId="{7892CC6C-10D9-5ECE-C3A1-96F012209A53}"/>
          </ac:spMkLst>
        </pc:spChg>
        <pc:spChg chg="mod">
          <ac:chgData name="Andreas Koksrud" userId="9d9beba6-c052-407a-8599-c781a677a996" providerId="ADAL" clId="{267904F6-164A-446F-8964-DA69B112867B}" dt="2024-09-22T08:07:27.164" v="13208" actId="20577"/>
          <ac:spMkLst>
            <pc:docMk/>
            <pc:sldMk cId="1947472829" sldId="1033"/>
            <ac:spMk id="181" creationId="{00000000-0000-0000-0000-000000000000}"/>
          </ac:spMkLst>
        </pc:spChg>
        <pc:picChg chg="add mod">
          <ac:chgData name="Andreas Koksrud" userId="9d9beba6-c052-407a-8599-c781a677a996" providerId="ADAL" clId="{267904F6-164A-446F-8964-DA69B112867B}" dt="2024-09-29T18:18:40.933" v="16387"/>
          <ac:picMkLst>
            <pc:docMk/>
            <pc:sldMk cId="1947472829" sldId="1033"/>
            <ac:picMk id="4" creationId="{790F9493-FB49-29E9-9BAC-A5C9104C9686}"/>
          </ac:picMkLst>
        </pc:picChg>
        <pc:picChg chg="add del mod">
          <ac:chgData name="Andreas Koksrud" userId="9d9beba6-c052-407a-8599-c781a677a996" providerId="ADAL" clId="{267904F6-164A-446F-8964-DA69B112867B}" dt="2024-09-06T16:30:56.982" v="7850" actId="478"/>
          <ac:picMkLst>
            <pc:docMk/>
            <pc:sldMk cId="1947472829" sldId="1033"/>
            <ac:picMk id="5" creationId="{8E08E3BB-3F46-7C5B-D65A-CD4480E7AB03}"/>
          </ac:picMkLst>
        </pc:picChg>
        <pc:picChg chg="add mod">
          <ac:chgData name="Andreas Koksrud" userId="9d9beba6-c052-407a-8599-c781a677a996" providerId="ADAL" clId="{267904F6-164A-446F-8964-DA69B112867B}" dt="2024-09-22T08:07:36.318" v="13211" actId="1076"/>
          <ac:picMkLst>
            <pc:docMk/>
            <pc:sldMk cId="1947472829" sldId="1033"/>
            <ac:picMk id="7" creationId="{5F1390CA-788D-92D4-B37A-A246B72B213B}"/>
          </ac:picMkLst>
        </pc:picChg>
        <pc:picChg chg="mod">
          <ac:chgData name="Andreas Koksrud" userId="9d9beba6-c052-407a-8599-c781a677a996" providerId="ADAL" clId="{267904F6-164A-446F-8964-DA69B112867B}" dt="2024-09-06T17:22:19.342" v="9670" actId="14100"/>
          <ac:picMkLst>
            <pc:docMk/>
            <pc:sldMk cId="1947472829" sldId="1033"/>
            <ac:picMk id="9" creationId="{77793A74-87B2-A42F-37E8-1AC87507715D}"/>
          </ac:picMkLst>
        </pc:picChg>
        <pc:picChg chg="add mod">
          <ac:chgData name="Andreas Koksrud" userId="9d9beba6-c052-407a-8599-c781a677a996" providerId="ADAL" clId="{267904F6-164A-446F-8964-DA69B112867B}" dt="2024-09-22T08:00:12.613" v="13187" actId="1076"/>
          <ac:picMkLst>
            <pc:docMk/>
            <pc:sldMk cId="1947472829" sldId="1033"/>
            <ac:picMk id="11" creationId="{F71561DF-EBA2-A07B-D2D2-ACFE3322301D}"/>
          </ac:picMkLst>
        </pc:picChg>
        <pc:picChg chg="add del mod">
          <ac:chgData name="Andreas Koksrud" userId="9d9beba6-c052-407a-8599-c781a677a996" providerId="ADAL" clId="{267904F6-164A-446F-8964-DA69B112867B}" dt="2024-09-22T07:59:20.730" v="13139" actId="478"/>
          <ac:picMkLst>
            <pc:docMk/>
            <pc:sldMk cId="1947472829" sldId="1033"/>
            <ac:picMk id="13" creationId="{0F1E9E10-48DD-BD12-EED0-7EE6EA7CA5B8}"/>
          </ac:picMkLst>
        </pc:picChg>
        <pc:picChg chg="add del mod">
          <ac:chgData name="Andreas Koksrud" userId="9d9beba6-c052-407a-8599-c781a677a996" providerId="ADAL" clId="{267904F6-164A-446F-8964-DA69B112867B}" dt="2024-09-22T08:00:06.680" v="13185" actId="478"/>
          <ac:picMkLst>
            <pc:docMk/>
            <pc:sldMk cId="1947472829" sldId="1033"/>
            <ac:picMk id="20" creationId="{CC1944B4-3D12-80F8-4E7A-F24FDCED9BAF}"/>
          </ac:picMkLst>
        </pc:picChg>
        <pc:picChg chg="add mod">
          <ac:chgData name="Andreas Koksrud" userId="9d9beba6-c052-407a-8599-c781a677a996" providerId="ADAL" clId="{267904F6-164A-446F-8964-DA69B112867B}" dt="2024-09-06T16:39:29.960" v="8304" actId="1076"/>
          <ac:picMkLst>
            <pc:docMk/>
            <pc:sldMk cId="1947472829" sldId="1033"/>
            <ac:picMk id="26" creationId="{E243317D-D2A4-8390-FE68-60FBA55043AC}"/>
          </ac:picMkLst>
        </pc:picChg>
        <pc:picChg chg="add mod">
          <ac:chgData name="Andreas Koksrud" userId="9d9beba6-c052-407a-8599-c781a677a996" providerId="ADAL" clId="{267904F6-164A-446F-8964-DA69B112867B}" dt="2024-09-06T16:39:28.774" v="8303" actId="1076"/>
          <ac:picMkLst>
            <pc:docMk/>
            <pc:sldMk cId="1947472829" sldId="1033"/>
            <ac:picMk id="28" creationId="{DC1BB95E-1242-B452-DF24-41CF3BAD0FB3}"/>
          </ac:picMkLst>
        </pc:picChg>
        <pc:picChg chg="add mod">
          <ac:chgData name="Andreas Koksrud" userId="9d9beba6-c052-407a-8599-c781a677a996" providerId="ADAL" clId="{267904F6-164A-446F-8964-DA69B112867B}" dt="2024-09-06T16:39:48.864" v="8307" actId="14100"/>
          <ac:picMkLst>
            <pc:docMk/>
            <pc:sldMk cId="1947472829" sldId="1033"/>
            <ac:picMk id="31" creationId="{7A2B9376-1960-5182-0FAC-99E44B52AA93}"/>
          </ac:picMkLst>
        </pc:picChg>
        <pc:cxnChg chg="add del mod ord">
          <ac:chgData name="Andreas Koksrud" userId="9d9beba6-c052-407a-8599-c781a677a996" providerId="ADAL" clId="{267904F6-164A-446F-8964-DA69B112867B}" dt="2024-09-22T08:00:10.334" v="13186" actId="478"/>
          <ac:cxnSpMkLst>
            <pc:docMk/>
            <pc:sldMk cId="1947472829" sldId="1033"/>
            <ac:cxnSpMk id="6" creationId="{482643EE-BA40-FB6A-4124-675B29B17B36}"/>
          </ac:cxnSpMkLst>
        </pc:cxnChg>
        <pc:cxnChg chg="add mod">
          <ac:chgData name="Andreas Koksrud" userId="9d9beba6-c052-407a-8599-c781a677a996" providerId="ADAL" clId="{267904F6-164A-446F-8964-DA69B112867B}" dt="2024-09-06T17:22:28.709" v="9672" actId="14100"/>
          <ac:cxnSpMkLst>
            <pc:docMk/>
            <pc:sldMk cId="1947472829" sldId="1033"/>
            <ac:cxnSpMk id="21" creationId="{38F66337-BD6B-7698-4D5E-7623DA710730}"/>
          </ac:cxnSpMkLst>
        </pc:cxnChg>
        <pc:cxnChg chg="add del mod">
          <ac:chgData name="Andreas Koksrud" userId="9d9beba6-c052-407a-8599-c781a677a996" providerId="ADAL" clId="{267904F6-164A-446F-8964-DA69B112867B}" dt="2024-09-22T08:01:11.340" v="13188" actId="478"/>
          <ac:cxnSpMkLst>
            <pc:docMk/>
            <pc:sldMk cId="1947472829" sldId="1033"/>
            <ac:cxnSpMk id="23" creationId="{79EB0D2A-E664-7E54-5323-EDE0856B2355}"/>
          </ac:cxnSpMkLst>
        </pc:cxnChg>
      </pc:sldChg>
      <pc:sldChg chg="addSp delSp modSp mod">
        <pc:chgData name="Andreas Koksrud" userId="9d9beba6-c052-407a-8599-c781a677a996" providerId="ADAL" clId="{267904F6-164A-446F-8964-DA69B112867B}" dt="2024-09-29T18:18:40.074" v="16386"/>
        <pc:sldMkLst>
          <pc:docMk/>
          <pc:sldMk cId="2174136788" sldId="1034"/>
        </pc:sldMkLst>
        <pc:spChg chg="mod">
          <ac:chgData name="Andreas Koksrud" userId="9d9beba6-c052-407a-8599-c781a677a996" providerId="ADAL" clId="{267904F6-164A-446F-8964-DA69B112867B}" dt="2024-09-29T18:17:22.515" v="16369"/>
          <ac:spMkLst>
            <pc:docMk/>
            <pc:sldMk cId="2174136788" sldId="1034"/>
            <ac:spMk id="3" creationId="{AEB67DE2-4419-6A35-1303-4FFA243B08DC}"/>
          </ac:spMkLst>
        </pc:spChg>
        <pc:spChg chg="del mod">
          <ac:chgData name="Andreas Koksrud" userId="9d9beba6-c052-407a-8599-c781a677a996" providerId="ADAL" clId="{267904F6-164A-446F-8964-DA69B112867B}" dt="2024-09-06T16:46:23.662" v="8378" actId="478"/>
          <ac:spMkLst>
            <pc:docMk/>
            <pc:sldMk cId="2174136788" sldId="1034"/>
            <ac:spMk id="8" creationId="{180A10C2-5446-4BB5-9DDF-263CA9F4DC00}"/>
          </ac:spMkLst>
        </pc:spChg>
        <pc:spChg chg="del">
          <ac:chgData name="Andreas Koksrud" userId="9d9beba6-c052-407a-8599-c781a677a996" providerId="ADAL" clId="{267904F6-164A-446F-8964-DA69B112867B}" dt="2024-09-06T16:46:26.646" v="8380" actId="478"/>
          <ac:spMkLst>
            <pc:docMk/>
            <pc:sldMk cId="2174136788" sldId="1034"/>
            <ac:spMk id="16" creationId="{339188E5-37DB-E3A5-28A7-48951F65FD19}"/>
          </ac:spMkLst>
        </pc:spChg>
        <pc:spChg chg="add mod ord">
          <ac:chgData name="Andreas Koksrud" userId="9d9beba6-c052-407a-8599-c781a677a996" providerId="ADAL" clId="{267904F6-164A-446F-8964-DA69B112867B}" dt="2024-09-06T16:57:44.181" v="8749" actId="20577"/>
          <ac:spMkLst>
            <pc:docMk/>
            <pc:sldMk cId="2174136788" sldId="1034"/>
            <ac:spMk id="18" creationId="{7848AA71-CB34-4960-830D-A63108CB00DB}"/>
          </ac:spMkLst>
        </pc:spChg>
        <pc:spChg chg="mod">
          <ac:chgData name="Andreas Koksrud" userId="9d9beba6-c052-407a-8599-c781a677a996" providerId="ADAL" clId="{267904F6-164A-446F-8964-DA69B112867B}" dt="2024-09-06T16:48:14.058" v="8398" actId="14100"/>
          <ac:spMkLst>
            <pc:docMk/>
            <pc:sldMk cId="2174136788" sldId="1034"/>
            <ac:spMk id="181" creationId="{00000000-0000-0000-0000-000000000000}"/>
          </ac:spMkLst>
        </pc:spChg>
        <pc:picChg chg="add mod">
          <ac:chgData name="Andreas Koksrud" userId="9d9beba6-c052-407a-8599-c781a677a996" providerId="ADAL" clId="{267904F6-164A-446F-8964-DA69B112867B}" dt="2024-09-29T18:18:40.074" v="16386"/>
          <ac:picMkLst>
            <pc:docMk/>
            <pc:sldMk cId="2174136788" sldId="1034"/>
            <ac:picMk id="4" creationId="{616F400B-A7FE-3276-101F-B5002049383E}"/>
          </ac:picMkLst>
        </pc:picChg>
        <pc:picChg chg="del mod">
          <ac:chgData name="Andreas Koksrud" userId="9d9beba6-c052-407a-8599-c781a677a996" providerId="ADAL" clId="{267904F6-164A-446F-8964-DA69B112867B}" dt="2024-09-06T16:44:38.792" v="8368" actId="478"/>
          <ac:picMkLst>
            <pc:docMk/>
            <pc:sldMk cId="2174136788" sldId="1034"/>
            <ac:picMk id="5" creationId="{D9B0EAC5-4B31-E4AC-6AFD-4011C14AB1C2}"/>
          </ac:picMkLst>
        </pc:picChg>
        <pc:picChg chg="add del mod">
          <ac:chgData name="Andreas Koksrud" userId="9d9beba6-c052-407a-8599-c781a677a996" providerId="ADAL" clId="{267904F6-164A-446F-8964-DA69B112867B}" dt="2024-09-06T16:46:27.475" v="8381" actId="478"/>
          <ac:picMkLst>
            <pc:docMk/>
            <pc:sldMk cId="2174136788" sldId="1034"/>
            <ac:picMk id="6" creationId="{EF18B9E3-EE15-0B6E-F5BA-008BEC839C3B}"/>
          </ac:picMkLst>
        </pc:picChg>
        <pc:picChg chg="del">
          <ac:chgData name="Andreas Koksrud" userId="9d9beba6-c052-407a-8599-c781a677a996" providerId="ADAL" clId="{267904F6-164A-446F-8964-DA69B112867B}" dt="2024-09-06T16:46:24.446" v="8379" actId="478"/>
          <ac:picMkLst>
            <pc:docMk/>
            <pc:sldMk cId="2174136788" sldId="1034"/>
            <ac:picMk id="7" creationId="{C63D7110-FA0E-436F-E3D5-9D6E5FE0A859}"/>
          </ac:picMkLst>
        </pc:picChg>
        <pc:picChg chg="add mod">
          <ac:chgData name="Andreas Koksrud" userId="9d9beba6-c052-407a-8599-c781a677a996" providerId="ADAL" clId="{267904F6-164A-446F-8964-DA69B112867B}" dt="2024-09-06T16:58:24.754" v="8761" actId="1076"/>
          <ac:picMkLst>
            <pc:docMk/>
            <pc:sldMk cId="2174136788" sldId="1034"/>
            <ac:picMk id="9" creationId="{FBC5D1D5-EE2A-FF7F-1A15-68B97DAC226C}"/>
          </ac:picMkLst>
        </pc:picChg>
        <pc:picChg chg="del mod modCrop">
          <ac:chgData name="Andreas Koksrud" userId="9d9beba6-c052-407a-8599-c781a677a996" providerId="ADAL" clId="{267904F6-164A-446F-8964-DA69B112867B}" dt="2024-09-06T16:58:15.233" v="8757" actId="478"/>
          <ac:picMkLst>
            <pc:docMk/>
            <pc:sldMk cId="2174136788" sldId="1034"/>
            <ac:picMk id="11" creationId="{99A820F8-B40A-29AB-B982-A12968B999C7}"/>
          </ac:picMkLst>
        </pc:picChg>
        <pc:picChg chg="mod">
          <ac:chgData name="Andreas Koksrud" userId="9d9beba6-c052-407a-8599-c781a677a996" providerId="ADAL" clId="{267904F6-164A-446F-8964-DA69B112867B}" dt="2024-09-06T16:58:38.111" v="8764" actId="1076"/>
          <ac:picMkLst>
            <pc:docMk/>
            <pc:sldMk cId="2174136788" sldId="1034"/>
            <ac:picMk id="13" creationId="{8DF7784F-972E-3BA0-2C60-1BFA5D0EA0A1}"/>
          </ac:picMkLst>
        </pc:picChg>
        <pc:picChg chg="add mod">
          <ac:chgData name="Andreas Koksrud" userId="9d9beba6-c052-407a-8599-c781a677a996" providerId="ADAL" clId="{267904F6-164A-446F-8964-DA69B112867B}" dt="2024-09-06T16:49:30.680" v="8439" actId="1038"/>
          <ac:picMkLst>
            <pc:docMk/>
            <pc:sldMk cId="2174136788" sldId="1034"/>
            <ac:picMk id="15" creationId="{B3151250-CD5A-3864-5FAE-6513F6E5F4CC}"/>
          </ac:picMkLst>
        </pc:picChg>
        <pc:picChg chg="add mod">
          <ac:chgData name="Andreas Koksrud" userId="9d9beba6-c052-407a-8599-c781a677a996" providerId="ADAL" clId="{267904F6-164A-446F-8964-DA69B112867B}" dt="2024-09-06T16:57:48.672" v="8756" actId="1035"/>
          <ac:picMkLst>
            <pc:docMk/>
            <pc:sldMk cId="2174136788" sldId="1034"/>
            <ac:picMk id="27" creationId="{EF18B9E3-EE15-0B6E-F5BA-008BEC839C3B}"/>
          </ac:picMkLst>
        </pc:picChg>
        <pc:picChg chg="add mod">
          <ac:chgData name="Andreas Koksrud" userId="9d9beba6-c052-407a-8599-c781a677a996" providerId="ADAL" clId="{267904F6-164A-446F-8964-DA69B112867B}" dt="2024-09-06T16:58:22.361" v="8760" actId="1076"/>
          <ac:picMkLst>
            <pc:docMk/>
            <pc:sldMk cId="2174136788" sldId="1034"/>
            <ac:picMk id="31" creationId="{432F3F53-BA94-690D-75BF-2C31599F3A4D}"/>
          </ac:picMkLst>
        </pc:picChg>
        <pc:cxnChg chg="mod">
          <ac:chgData name="Andreas Koksrud" userId="9d9beba6-c052-407a-8599-c781a677a996" providerId="ADAL" clId="{267904F6-164A-446F-8964-DA69B112867B}" dt="2024-09-06T16:58:45.977" v="8766" actId="14100"/>
          <ac:cxnSpMkLst>
            <pc:docMk/>
            <pc:sldMk cId="2174136788" sldId="1034"/>
            <ac:cxnSpMk id="14" creationId="{0D9927B7-D7BB-21A9-F38E-6C0936B35AA2}"/>
          </ac:cxnSpMkLst>
        </pc:cxnChg>
        <pc:cxnChg chg="add del mod ord">
          <ac:chgData name="Andreas Koksrud" userId="9d9beba6-c052-407a-8599-c781a677a996" providerId="ADAL" clId="{267904F6-164A-446F-8964-DA69B112867B}" dt="2024-09-06T16:58:32.140" v="8763" actId="14100"/>
          <ac:cxnSpMkLst>
            <pc:docMk/>
            <pc:sldMk cId="2174136788" sldId="1034"/>
            <ac:cxnSpMk id="17" creationId="{A15BB1B1-9746-6BAC-ABEB-9FE39548A124}"/>
          </ac:cxnSpMkLst>
        </pc:cxnChg>
        <pc:cxnChg chg="add mod">
          <ac:chgData name="Andreas Koksrud" userId="9d9beba6-c052-407a-8599-c781a677a996" providerId="ADAL" clId="{267904F6-164A-446F-8964-DA69B112867B}" dt="2024-09-06T16:57:38.239" v="8739" actId="14100"/>
          <ac:cxnSpMkLst>
            <pc:docMk/>
            <pc:sldMk cId="2174136788" sldId="1034"/>
            <ac:cxnSpMk id="21" creationId="{FE105A85-E684-FDDE-F384-C36EDF3BE32F}"/>
          </ac:cxnSpMkLst>
        </pc:cxnChg>
        <pc:cxnChg chg="add mod">
          <ac:chgData name="Andreas Koksrud" userId="9d9beba6-c052-407a-8599-c781a677a996" providerId="ADAL" clId="{267904F6-164A-446F-8964-DA69B112867B}" dt="2024-09-06T16:57:40.606" v="8740" actId="14100"/>
          <ac:cxnSpMkLst>
            <pc:docMk/>
            <pc:sldMk cId="2174136788" sldId="1034"/>
            <ac:cxnSpMk id="23" creationId="{850A6BFE-EB14-EB1F-6A2F-00BB82B9A96A}"/>
          </ac:cxnSpMkLst>
        </pc:cxnChg>
        <pc:cxnChg chg="add mod">
          <ac:chgData name="Andreas Koksrud" userId="9d9beba6-c052-407a-8599-c781a677a996" providerId="ADAL" clId="{267904F6-164A-446F-8964-DA69B112867B}" dt="2024-09-06T16:56:41.550" v="8730" actId="14100"/>
          <ac:cxnSpMkLst>
            <pc:docMk/>
            <pc:sldMk cId="2174136788" sldId="1034"/>
            <ac:cxnSpMk id="25" creationId="{2CDBBF24-D8DA-BDF4-EA84-F22ED2DB976D}"/>
          </ac:cxnSpMkLst>
        </pc:cxnChg>
      </pc:sldChg>
      <pc:sldChg chg="addSp delSp modSp mod">
        <pc:chgData name="Andreas Koksrud" userId="9d9beba6-c052-407a-8599-c781a677a996" providerId="ADAL" clId="{267904F6-164A-446F-8964-DA69B112867B}" dt="2024-09-29T18:18:38.420" v="16384"/>
        <pc:sldMkLst>
          <pc:docMk/>
          <pc:sldMk cId="3392110555" sldId="1036"/>
        </pc:sldMkLst>
        <pc:spChg chg="mod">
          <ac:chgData name="Andreas Koksrud" userId="9d9beba6-c052-407a-8599-c781a677a996" providerId="ADAL" clId="{267904F6-164A-446F-8964-DA69B112867B}" dt="2024-09-29T18:17:22.515" v="16369"/>
          <ac:spMkLst>
            <pc:docMk/>
            <pc:sldMk cId="3392110555" sldId="1036"/>
            <ac:spMk id="3" creationId="{AEB67DE2-4419-6A35-1303-4FFA243B08DC}"/>
          </ac:spMkLst>
        </pc:spChg>
        <pc:spChg chg="add mod">
          <ac:chgData name="Andreas Koksrud" userId="9d9beba6-c052-407a-8599-c781a677a996" providerId="ADAL" clId="{267904F6-164A-446F-8964-DA69B112867B}" dt="2024-09-06T17:10:25.453" v="9146" actId="20577"/>
          <ac:spMkLst>
            <pc:docMk/>
            <pc:sldMk cId="3392110555" sldId="1036"/>
            <ac:spMk id="15" creationId="{3A1DBECD-E0BB-E872-E7F1-BFF05131CA64}"/>
          </ac:spMkLst>
        </pc:spChg>
        <pc:spChg chg="add mod">
          <ac:chgData name="Andreas Koksrud" userId="9d9beba6-c052-407a-8599-c781a677a996" providerId="ADAL" clId="{267904F6-164A-446F-8964-DA69B112867B}" dt="2024-09-06T17:10:16.238" v="9135" actId="1076"/>
          <ac:spMkLst>
            <pc:docMk/>
            <pc:sldMk cId="3392110555" sldId="1036"/>
            <ac:spMk id="16" creationId="{339188E5-37DB-E3A5-28A7-48951F65FD19}"/>
          </ac:spMkLst>
        </pc:spChg>
        <pc:spChg chg="add mod">
          <ac:chgData name="Andreas Koksrud" userId="9d9beba6-c052-407a-8599-c781a677a996" providerId="ADAL" clId="{267904F6-164A-446F-8964-DA69B112867B}" dt="2024-09-06T17:10:37.902" v="9162" actId="20577"/>
          <ac:spMkLst>
            <pc:docMk/>
            <pc:sldMk cId="3392110555" sldId="1036"/>
            <ac:spMk id="18" creationId="{D2DDF42D-5B51-0099-63A9-F7FA84C65A80}"/>
          </ac:spMkLst>
        </pc:spChg>
        <pc:spChg chg="mod">
          <ac:chgData name="Andreas Koksrud" userId="9d9beba6-c052-407a-8599-c781a677a996" providerId="ADAL" clId="{267904F6-164A-446F-8964-DA69B112867B}" dt="2024-09-06T17:13:42.287" v="9241" actId="20577"/>
          <ac:spMkLst>
            <pc:docMk/>
            <pc:sldMk cId="3392110555" sldId="1036"/>
            <ac:spMk id="181" creationId="{00000000-0000-0000-0000-000000000000}"/>
          </ac:spMkLst>
        </pc:spChg>
        <pc:picChg chg="add mod">
          <ac:chgData name="Andreas Koksrud" userId="9d9beba6-c052-407a-8599-c781a677a996" providerId="ADAL" clId="{267904F6-164A-446F-8964-DA69B112867B}" dt="2024-09-29T18:18:38.420" v="16384"/>
          <ac:picMkLst>
            <pc:docMk/>
            <pc:sldMk cId="3392110555" sldId="1036"/>
            <ac:picMk id="4" creationId="{D54E82D2-1FEB-215D-8710-EC3A5885FEC1}"/>
          </ac:picMkLst>
        </pc:picChg>
        <pc:picChg chg="add mod">
          <ac:chgData name="Andreas Koksrud" userId="9d9beba6-c052-407a-8599-c781a677a996" providerId="ADAL" clId="{267904F6-164A-446F-8964-DA69B112867B}" dt="2024-09-06T17:10:00.375" v="9131" actId="1076"/>
          <ac:picMkLst>
            <pc:docMk/>
            <pc:sldMk cId="3392110555" sldId="1036"/>
            <ac:picMk id="5" creationId="{0B02106E-C229-85D6-0678-A33DB39E7C3A}"/>
          </ac:picMkLst>
        </pc:picChg>
        <pc:picChg chg="del mod">
          <ac:chgData name="Andreas Koksrud" userId="9d9beba6-c052-407a-8599-c781a677a996" providerId="ADAL" clId="{267904F6-164A-446F-8964-DA69B112867B}" dt="2024-09-06T17:07:40.086" v="9080" actId="478"/>
          <ac:picMkLst>
            <pc:docMk/>
            <pc:sldMk cId="3392110555" sldId="1036"/>
            <ac:picMk id="6" creationId="{548CAABC-06BE-732F-770A-C1F4727880A0}"/>
          </ac:picMkLst>
        </pc:picChg>
        <pc:picChg chg="add del mod">
          <ac:chgData name="Andreas Koksrud" userId="9d9beba6-c052-407a-8599-c781a677a996" providerId="ADAL" clId="{267904F6-164A-446F-8964-DA69B112867B}" dt="2024-09-06T17:09:25.463" v="9120" actId="478"/>
          <ac:picMkLst>
            <pc:docMk/>
            <pc:sldMk cId="3392110555" sldId="1036"/>
            <ac:picMk id="9" creationId="{681AFC40-863B-AF8E-5964-9AF412069D87}"/>
          </ac:picMkLst>
        </pc:picChg>
        <pc:picChg chg="add mod">
          <ac:chgData name="Andreas Koksrud" userId="9d9beba6-c052-407a-8599-c781a677a996" providerId="ADAL" clId="{267904F6-164A-446F-8964-DA69B112867B}" dt="2024-09-06T17:09:38.046" v="9123" actId="1076"/>
          <ac:picMkLst>
            <pc:docMk/>
            <pc:sldMk cId="3392110555" sldId="1036"/>
            <ac:picMk id="11" creationId="{E2B53966-16EC-6009-E38A-126AE1138445}"/>
          </ac:picMkLst>
        </pc:picChg>
        <pc:picChg chg="add mod">
          <ac:chgData name="Andreas Koksrud" userId="9d9beba6-c052-407a-8599-c781a677a996" providerId="ADAL" clId="{267904F6-164A-446F-8964-DA69B112867B}" dt="2024-09-06T17:10:56.938" v="9165" actId="14100"/>
          <ac:picMkLst>
            <pc:docMk/>
            <pc:sldMk cId="3392110555" sldId="1036"/>
            <ac:picMk id="20" creationId="{C7F6C538-0825-A283-B4CE-DD2C0C435C56}"/>
          </ac:picMkLst>
        </pc:picChg>
        <pc:picChg chg="add mod">
          <ac:chgData name="Andreas Koksrud" userId="9d9beba6-c052-407a-8599-c781a677a996" providerId="ADAL" clId="{267904F6-164A-446F-8964-DA69B112867B}" dt="2024-09-06T17:11:25.521" v="9171" actId="14100"/>
          <ac:picMkLst>
            <pc:docMk/>
            <pc:sldMk cId="3392110555" sldId="1036"/>
            <ac:picMk id="24" creationId="{7C98043E-4284-5E17-1494-8B25D8C39AC8}"/>
          </ac:picMkLst>
        </pc:picChg>
        <pc:picChg chg="add mod">
          <ac:chgData name="Andreas Koksrud" userId="9d9beba6-c052-407a-8599-c781a677a996" providerId="ADAL" clId="{267904F6-164A-446F-8964-DA69B112867B}" dt="2024-09-06T17:13:47.183" v="9243" actId="1076"/>
          <ac:picMkLst>
            <pc:docMk/>
            <pc:sldMk cId="3392110555" sldId="1036"/>
            <ac:picMk id="28" creationId="{4AA29CEF-49EA-6D2C-0E6D-50383CE9A31D}"/>
          </ac:picMkLst>
        </pc:picChg>
        <pc:cxnChg chg="add mod ord">
          <ac:chgData name="Andreas Koksrud" userId="9d9beba6-c052-407a-8599-c781a677a996" providerId="ADAL" clId="{267904F6-164A-446F-8964-DA69B112867B}" dt="2024-09-06T17:10:09.963" v="9133" actId="14100"/>
          <ac:cxnSpMkLst>
            <pc:docMk/>
            <pc:sldMk cId="3392110555" sldId="1036"/>
            <ac:cxnSpMk id="17" creationId="{A15BB1B1-9746-6BAC-ABEB-9FE39548A124}"/>
          </ac:cxnSpMkLst>
        </pc:cxnChg>
        <pc:cxnChg chg="add mod">
          <ac:chgData name="Andreas Koksrud" userId="9d9beba6-c052-407a-8599-c781a677a996" providerId="ADAL" clId="{267904F6-164A-446F-8964-DA69B112867B}" dt="2024-09-06T17:11:03.419" v="9167" actId="14100"/>
          <ac:cxnSpMkLst>
            <pc:docMk/>
            <pc:sldMk cId="3392110555" sldId="1036"/>
            <ac:cxnSpMk id="21" creationId="{30B39F66-DE5F-025A-D9CA-A2D7816DC6F4}"/>
          </ac:cxnSpMkLst>
        </pc:cxnChg>
        <pc:cxnChg chg="add mod">
          <ac:chgData name="Andreas Koksrud" userId="9d9beba6-c052-407a-8599-c781a677a996" providerId="ADAL" clId="{267904F6-164A-446F-8964-DA69B112867B}" dt="2024-09-06T17:11:30.941" v="9173" actId="14100"/>
          <ac:cxnSpMkLst>
            <pc:docMk/>
            <pc:sldMk cId="3392110555" sldId="1036"/>
            <ac:cxnSpMk id="25" creationId="{82DDF8C8-4574-5288-41E0-3C22D7AD9214}"/>
          </ac:cxnSpMkLst>
        </pc:cxnChg>
      </pc:sldChg>
      <pc:sldChg chg="addSp delSp modSp mod">
        <pc:chgData name="Andreas Koksrud" userId="9d9beba6-c052-407a-8599-c781a677a996" providerId="ADAL" clId="{267904F6-164A-446F-8964-DA69B112867B}" dt="2024-09-29T18:18:36.712" v="16382"/>
        <pc:sldMkLst>
          <pc:docMk/>
          <pc:sldMk cId="4211826044" sldId="1037"/>
        </pc:sldMkLst>
        <pc:spChg chg="mod">
          <ac:chgData name="Andreas Koksrud" userId="9d9beba6-c052-407a-8599-c781a677a996" providerId="ADAL" clId="{267904F6-164A-446F-8964-DA69B112867B}" dt="2024-09-29T18:17:22.515" v="16369"/>
          <ac:spMkLst>
            <pc:docMk/>
            <pc:sldMk cId="4211826044" sldId="1037"/>
            <ac:spMk id="3" creationId="{AEB67DE2-4419-6A35-1303-4FFA243B08DC}"/>
          </ac:spMkLst>
        </pc:spChg>
        <pc:spChg chg="add mod">
          <ac:chgData name="Andreas Koksrud" userId="9d9beba6-c052-407a-8599-c781a677a996" providerId="ADAL" clId="{267904F6-164A-446F-8964-DA69B112867B}" dt="2024-09-06T17:17:16.722" v="9468" actId="207"/>
          <ac:spMkLst>
            <pc:docMk/>
            <pc:sldMk cId="4211826044" sldId="1037"/>
            <ac:spMk id="12" creationId="{74572F38-352E-A823-A504-BB80697FDF0C}"/>
          </ac:spMkLst>
        </pc:spChg>
        <pc:spChg chg="add mod ord">
          <ac:chgData name="Andreas Koksrud" userId="9d9beba6-c052-407a-8599-c781a677a996" providerId="ADAL" clId="{267904F6-164A-446F-8964-DA69B112867B}" dt="2024-09-06T17:19:12.815" v="9539" actId="20577"/>
          <ac:spMkLst>
            <pc:docMk/>
            <pc:sldMk cId="4211826044" sldId="1037"/>
            <ac:spMk id="13" creationId="{9BA6C978-19CF-7181-4570-4FCE9A0BD06B}"/>
          </ac:spMkLst>
        </pc:spChg>
        <pc:spChg chg="add del mod">
          <ac:chgData name="Andreas Koksrud" userId="9d9beba6-c052-407a-8599-c781a677a996" providerId="ADAL" clId="{267904F6-164A-446F-8964-DA69B112867B}" dt="2024-09-06T17:19:06.419" v="9536" actId="478"/>
          <ac:spMkLst>
            <pc:docMk/>
            <pc:sldMk cId="4211826044" sldId="1037"/>
            <ac:spMk id="15" creationId="{D90D7F75-F172-4AEE-0CD8-9320A82497DD}"/>
          </ac:spMkLst>
        </pc:spChg>
        <pc:spChg chg="mod">
          <ac:chgData name="Andreas Koksrud" userId="9d9beba6-c052-407a-8599-c781a677a996" providerId="ADAL" clId="{267904F6-164A-446F-8964-DA69B112867B}" dt="2024-09-06T17:14:19.412" v="9263" actId="20577"/>
          <ac:spMkLst>
            <pc:docMk/>
            <pc:sldMk cId="4211826044" sldId="1037"/>
            <ac:spMk id="180" creationId="{00000000-0000-0000-0000-000000000000}"/>
          </ac:spMkLst>
        </pc:spChg>
        <pc:spChg chg="del mod">
          <ac:chgData name="Andreas Koksrud" userId="9d9beba6-c052-407a-8599-c781a677a996" providerId="ADAL" clId="{267904F6-164A-446F-8964-DA69B112867B}" dt="2024-09-06T17:19:03.597" v="9535" actId="478"/>
          <ac:spMkLst>
            <pc:docMk/>
            <pc:sldMk cId="4211826044" sldId="1037"/>
            <ac:spMk id="181" creationId="{00000000-0000-0000-0000-000000000000}"/>
          </ac:spMkLst>
        </pc:spChg>
        <pc:picChg chg="add mod">
          <ac:chgData name="Andreas Koksrud" userId="9d9beba6-c052-407a-8599-c781a677a996" providerId="ADAL" clId="{267904F6-164A-446F-8964-DA69B112867B}" dt="2024-09-29T18:18:36.712" v="16382"/>
          <ac:picMkLst>
            <pc:docMk/>
            <pc:sldMk cId="4211826044" sldId="1037"/>
            <ac:picMk id="4" creationId="{693EFD5F-104D-3F72-3431-01329BD7A1AB}"/>
          </ac:picMkLst>
        </pc:picChg>
        <pc:picChg chg="del">
          <ac:chgData name="Andreas Koksrud" userId="9d9beba6-c052-407a-8599-c781a677a996" providerId="ADAL" clId="{267904F6-164A-446F-8964-DA69B112867B}" dt="2024-09-05T10:18:28.567" v="6210" actId="478"/>
          <ac:picMkLst>
            <pc:docMk/>
            <pc:sldMk cId="4211826044" sldId="1037"/>
            <ac:picMk id="5" creationId="{5581ED08-5D01-3A23-650C-0C1EA265CFF1}"/>
          </ac:picMkLst>
        </pc:picChg>
        <pc:picChg chg="add mod">
          <ac:chgData name="Andreas Koksrud" userId="9d9beba6-c052-407a-8599-c781a677a996" providerId="ADAL" clId="{267904F6-164A-446F-8964-DA69B112867B}" dt="2024-09-06T17:19:27.622" v="9585" actId="1037"/>
          <ac:picMkLst>
            <pc:docMk/>
            <pc:sldMk cId="4211826044" sldId="1037"/>
            <ac:picMk id="5" creationId="{61EDD2F5-A2D3-410E-CADF-BD3DFEF9337B}"/>
          </ac:picMkLst>
        </pc:picChg>
        <pc:picChg chg="add mod">
          <ac:chgData name="Andreas Koksrud" userId="9d9beba6-c052-407a-8599-c781a677a996" providerId="ADAL" clId="{267904F6-164A-446F-8964-DA69B112867B}" dt="2024-09-06T17:15:36.173" v="9366" actId="1036"/>
          <ac:picMkLst>
            <pc:docMk/>
            <pc:sldMk cId="4211826044" sldId="1037"/>
            <ac:picMk id="7" creationId="{4E9F689C-B396-F332-4BA8-A60166739F8D}"/>
          </ac:picMkLst>
        </pc:picChg>
        <pc:picChg chg="add mod">
          <ac:chgData name="Andreas Koksrud" userId="9d9beba6-c052-407a-8599-c781a677a996" providerId="ADAL" clId="{267904F6-164A-446F-8964-DA69B112867B}" dt="2024-09-06T17:16:54.680" v="9465" actId="1076"/>
          <ac:picMkLst>
            <pc:docMk/>
            <pc:sldMk cId="4211826044" sldId="1037"/>
            <ac:picMk id="11" creationId="{7CF3E698-020D-8D36-80C7-1BD3A34B8737}"/>
          </ac:picMkLst>
        </pc:picChg>
        <pc:cxnChg chg="add mod">
          <ac:chgData name="Andreas Koksrud" userId="9d9beba6-c052-407a-8599-c781a677a996" providerId="ADAL" clId="{267904F6-164A-446F-8964-DA69B112867B}" dt="2024-09-06T17:15:52.883" v="9369" actId="14100"/>
          <ac:cxnSpMkLst>
            <pc:docMk/>
            <pc:sldMk cId="4211826044" sldId="1037"/>
            <ac:cxnSpMk id="8" creationId="{8F31DA23-1BAE-EAEC-6C79-03A0B4F56433}"/>
          </ac:cxnSpMkLst>
        </pc:cxnChg>
      </pc:sldChg>
      <pc:sldChg chg="addSp delSp modSp mod ord">
        <pc:chgData name="Andreas Koksrud" userId="9d9beba6-c052-407a-8599-c781a677a996" providerId="ADAL" clId="{267904F6-164A-446F-8964-DA69B112867B}" dt="2024-09-29T18:18:34.056" v="16379"/>
        <pc:sldMkLst>
          <pc:docMk/>
          <pc:sldMk cId="835930409" sldId="1038"/>
        </pc:sldMkLst>
        <pc:spChg chg="mod">
          <ac:chgData name="Andreas Koksrud" userId="9d9beba6-c052-407a-8599-c781a677a996" providerId="ADAL" clId="{267904F6-164A-446F-8964-DA69B112867B}" dt="2024-09-29T18:17:22.515" v="16369"/>
          <ac:spMkLst>
            <pc:docMk/>
            <pc:sldMk cId="835930409" sldId="1038"/>
            <ac:spMk id="3" creationId="{AEB67DE2-4419-6A35-1303-4FFA243B08DC}"/>
          </ac:spMkLst>
        </pc:spChg>
        <pc:spChg chg="add mod">
          <ac:chgData name="Andreas Koksrud" userId="9d9beba6-c052-407a-8599-c781a677a996" providerId="ADAL" clId="{267904F6-164A-446F-8964-DA69B112867B}" dt="2024-09-13T12:42:39.317" v="12525" actId="13926"/>
          <ac:spMkLst>
            <pc:docMk/>
            <pc:sldMk cId="835930409" sldId="1038"/>
            <ac:spMk id="7" creationId="{C51C24B9-EBAB-3B96-995C-E4969E4EEE43}"/>
          </ac:spMkLst>
        </pc:spChg>
        <pc:spChg chg="add mod">
          <ac:chgData name="Andreas Koksrud" userId="9d9beba6-c052-407a-8599-c781a677a996" providerId="ADAL" clId="{267904F6-164A-446F-8964-DA69B112867B}" dt="2024-09-13T12:46:20.245" v="12537" actId="14100"/>
          <ac:spMkLst>
            <pc:docMk/>
            <pc:sldMk cId="835930409" sldId="1038"/>
            <ac:spMk id="10" creationId="{1867BDB8-1CC8-07DF-138D-A919FCD9096B}"/>
          </ac:spMkLst>
        </pc:spChg>
        <pc:spChg chg="mod">
          <ac:chgData name="Andreas Koksrud" userId="9d9beba6-c052-407a-8599-c781a677a996" providerId="ADAL" clId="{267904F6-164A-446F-8964-DA69B112867B}" dt="2024-09-13T12:42:22.710" v="12470"/>
          <ac:spMkLst>
            <pc:docMk/>
            <pc:sldMk cId="835930409" sldId="1038"/>
            <ac:spMk id="180" creationId="{00000000-0000-0000-0000-000000000000}"/>
          </ac:spMkLst>
        </pc:spChg>
        <pc:picChg chg="add mod">
          <ac:chgData name="Andreas Koksrud" userId="9d9beba6-c052-407a-8599-c781a677a996" providerId="ADAL" clId="{267904F6-164A-446F-8964-DA69B112867B}" dt="2024-09-29T18:18:34.056" v="16379"/>
          <ac:picMkLst>
            <pc:docMk/>
            <pc:sldMk cId="835930409" sldId="1038"/>
            <ac:picMk id="5" creationId="{3A92763D-06D8-57F3-A9AE-DD82E2324CE0}"/>
          </ac:picMkLst>
        </pc:picChg>
        <pc:picChg chg="mod">
          <ac:chgData name="Andreas Koksrud" userId="9d9beba6-c052-407a-8599-c781a677a996" providerId="ADAL" clId="{267904F6-164A-446F-8964-DA69B112867B}" dt="2024-09-13T12:45:37.745" v="12527" actId="14100"/>
          <ac:picMkLst>
            <pc:docMk/>
            <pc:sldMk cId="835930409" sldId="1038"/>
            <ac:picMk id="6" creationId="{A3BF8CF0-7EF6-D1C7-AAD7-59A38092CBC2}"/>
          </ac:picMkLst>
        </pc:picChg>
        <pc:cxnChg chg="mod">
          <ac:chgData name="Andreas Koksrud" userId="9d9beba6-c052-407a-8599-c781a677a996" providerId="ADAL" clId="{267904F6-164A-446F-8964-DA69B112867B}" dt="2024-09-13T12:45:43.461" v="12529" actId="14100"/>
          <ac:cxnSpMkLst>
            <pc:docMk/>
            <pc:sldMk cId="835930409" sldId="1038"/>
            <ac:cxnSpMk id="4" creationId="{48A4BBA4-B039-50B7-1512-7DA24B89961F}"/>
          </ac:cxnSpMkLst>
        </pc:cxnChg>
        <pc:cxnChg chg="add del mod">
          <ac:chgData name="Andreas Koksrud" userId="9d9beba6-c052-407a-8599-c781a677a996" providerId="ADAL" clId="{267904F6-164A-446F-8964-DA69B112867B}" dt="2024-09-22T08:47:51.743" v="13222" actId="21"/>
          <ac:cxnSpMkLst>
            <pc:docMk/>
            <pc:sldMk cId="835930409" sldId="1038"/>
            <ac:cxnSpMk id="5" creationId="{1874E492-5F54-2590-99CA-D546913A21AD}"/>
          </ac:cxnSpMkLst>
        </pc:cxnChg>
      </pc:sldChg>
      <pc:sldChg chg="addSp modSp mod">
        <pc:chgData name="Andreas Koksrud" userId="9d9beba6-c052-407a-8599-c781a677a996" providerId="ADAL" clId="{267904F6-164A-446F-8964-DA69B112867B}" dt="2024-09-29T18:18:31.103" v="16376"/>
        <pc:sldMkLst>
          <pc:docMk/>
          <pc:sldMk cId="2180325670" sldId="1039"/>
        </pc:sldMkLst>
        <pc:spChg chg="mod">
          <ac:chgData name="Andreas Koksrud" userId="9d9beba6-c052-407a-8599-c781a677a996" providerId="ADAL" clId="{267904F6-164A-446F-8964-DA69B112867B}" dt="2024-09-29T18:17:22.515" v="16369"/>
          <ac:spMkLst>
            <pc:docMk/>
            <pc:sldMk cId="2180325670" sldId="1039"/>
            <ac:spMk id="3" creationId="{AEB67DE2-4419-6A35-1303-4FFA243B08DC}"/>
          </ac:spMkLst>
        </pc:spChg>
        <pc:spChg chg="add mod">
          <ac:chgData name="Andreas Koksrud" userId="9d9beba6-c052-407a-8599-c781a677a996" providerId="ADAL" clId="{267904F6-164A-446F-8964-DA69B112867B}" dt="2024-09-13T12:49:47.528" v="12580" actId="13926"/>
          <ac:spMkLst>
            <pc:docMk/>
            <pc:sldMk cId="2180325670" sldId="1039"/>
            <ac:spMk id="9" creationId="{D2350C88-03F8-1AEC-4A39-1A5D5934C9CE}"/>
          </ac:spMkLst>
        </pc:spChg>
        <pc:spChg chg="mod">
          <ac:chgData name="Andreas Koksrud" userId="9d9beba6-c052-407a-8599-c781a677a996" providerId="ADAL" clId="{267904F6-164A-446F-8964-DA69B112867B}" dt="2024-09-05T10:47:50.860" v="6330" actId="6549"/>
          <ac:spMkLst>
            <pc:docMk/>
            <pc:sldMk cId="2180325670" sldId="1039"/>
            <ac:spMk id="181" creationId="{00000000-0000-0000-0000-000000000000}"/>
          </ac:spMkLst>
        </pc:spChg>
        <pc:picChg chg="add mod">
          <ac:chgData name="Andreas Koksrud" userId="9d9beba6-c052-407a-8599-c781a677a996" providerId="ADAL" clId="{267904F6-164A-446F-8964-DA69B112867B}" dt="2024-09-29T18:18:31.103" v="16376"/>
          <ac:picMkLst>
            <pc:docMk/>
            <pc:sldMk cId="2180325670" sldId="1039"/>
            <ac:picMk id="4" creationId="{6ED36DB1-C570-7A05-16BD-22935B2552EE}"/>
          </ac:picMkLst>
        </pc:picChg>
        <pc:picChg chg="add mod">
          <ac:chgData name="Andreas Koksrud" userId="9d9beba6-c052-407a-8599-c781a677a996" providerId="ADAL" clId="{267904F6-164A-446F-8964-DA69B112867B}" dt="2024-09-05T10:47:58.752" v="6331" actId="1076"/>
          <ac:picMkLst>
            <pc:docMk/>
            <pc:sldMk cId="2180325670" sldId="1039"/>
            <ac:picMk id="5" creationId="{53587A43-55F7-A37C-8C73-E5F4128EB575}"/>
          </ac:picMkLst>
        </pc:picChg>
        <pc:picChg chg="mod">
          <ac:chgData name="Andreas Koksrud" userId="9d9beba6-c052-407a-8599-c781a677a996" providerId="ADAL" clId="{267904F6-164A-446F-8964-DA69B112867B}" dt="2024-09-05T10:47:48.831" v="6329" actId="1076"/>
          <ac:picMkLst>
            <pc:docMk/>
            <pc:sldMk cId="2180325670" sldId="1039"/>
            <ac:picMk id="8" creationId="{92279F5A-4E6F-EFB7-4788-CA1620B9D12E}"/>
          </ac:picMkLst>
        </pc:picChg>
        <pc:picChg chg="add mod">
          <ac:chgData name="Andreas Koksrud" userId="9d9beba6-c052-407a-8599-c781a677a996" providerId="ADAL" clId="{267904F6-164A-446F-8964-DA69B112867B}" dt="2024-09-13T12:49:57.262" v="12581" actId="1076"/>
          <ac:picMkLst>
            <pc:docMk/>
            <pc:sldMk cId="2180325670" sldId="1039"/>
            <ac:picMk id="11" creationId="{05BA75F7-6F67-65B1-1A84-CE6D84A38A7F}"/>
          </ac:picMkLst>
        </pc:picChg>
        <pc:cxnChg chg="mod">
          <ac:chgData name="Andreas Koksrud" userId="9d9beba6-c052-407a-8599-c781a677a996" providerId="ADAL" clId="{267904F6-164A-446F-8964-DA69B112867B}" dt="2024-09-08T19:45:32.204" v="10692" actId="14100"/>
          <ac:cxnSpMkLst>
            <pc:docMk/>
            <pc:sldMk cId="2180325670" sldId="1039"/>
            <ac:cxnSpMk id="7" creationId="{84E02731-ADC5-1910-407C-B1C622789F71}"/>
          </ac:cxnSpMkLst>
        </pc:cxnChg>
      </pc:sldChg>
      <pc:sldChg chg="addSp modSp mod">
        <pc:chgData name="Andreas Koksrud" userId="9d9beba6-c052-407a-8599-c781a677a996" providerId="ADAL" clId="{267904F6-164A-446F-8964-DA69B112867B}" dt="2024-09-29T18:18:49.244" v="16395"/>
        <pc:sldMkLst>
          <pc:docMk/>
          <pc:sldMk cId="3112639055" sldId="1040"/>
        </pc:sldMkLst>
        <pc:spChg chg="mod">
          <ac:chgData name="Andreas Koksrud" userId="9d9beba6-c052-407a-8599-c781a677a996" providerId="ADAL" clId="{267904F6-164A-446F-8964-DA69B112867B}" dt="2024-09-04T04:36:26.630" v="5582" actId="20577"/>
          <ac:spMkLst>
            <pc:docMk/>
            <pc:sldMk cId="3112639055" sldId="1040"/>
            <ac:spMk id="5" creationId="{FDB223CF-E02F-2C31-0808-643E8A2B1951}"/>
          </ac:spMkLst>
        </pc:spChg>
        <pc:spChg chg="mod">
          <ac:chgData name="Andreas Koksrud" userId="9d9beba6-c052-407a-8599-c781a677a996" providerId="ADAL" clId="{267904F6-164A-446F-8964-DA69B112867B}" dt="2024-09-04T04:36:32.550" v="5595" actId="20577"/>
          <ac:spMkLst>
            <pc:docMk/>
            <pc:sldMk cId="3112639055" sldId="1040"/>
            <ac:spMk id="6" creationId="{CA588530-5971-4674-8DC0-FBE9D79AC3DE}"/>
          </ac:spMkLst>
        </pc:spChg>
        <pc:spChg chg="mod">
          <ac:chgData name="Andreas Koksrud" userId="9d9beba6-c052-407a-8599-c781a677a996" providerId="ADAL" clId="{267904F6-164A-446F-8964-DA69B112867B}" dt="2024-09-03T17:06:12.697" v="5345" actId="1076"/>
          <ac:spMkLst>
            <pc:docMk/>
            <pc:sldMk cId="3112639055" sldId="1040"/>
            <ac:spMk id="7" creationId="{1CDDBDB4-0B45-9122-D416-185D4916F3DD}"/>
          </ac:spMkLst>
        </pc:spChg>
        <pc:spChg chg="add mod">
          <ac:chgData name="Andreas Koksrud" userId="9d9beba6-c052-407a-8599-c781a677a996" providerId="ADAL" clId="{267904F6-164A-446F-8964-DA69B112867B}" dt="2024-09-29T18:09:09.927" v="15656" actId="14100"/>
          <ac:spMkLst>
            <pc:docMk/>
            <pc:sldMk cId="3112639055" sldId="1040"/>
            <ac:spMk id="8" creationId="{3FFABA0D-BF4B-FADE-C910-B9205B9760BA}"/>
          </ac:spMkLst>
        </pc:spChg>
        <pc:spChg chg="add mod">
          <ac:chgData name="Andreas Koksrud" userId="9d9beba6-c052-407a-8599-c781a677a996" providerId="ADAL" clId="{267904F6-164A-446F-8964-DA69B112867B}" dt="2024-09-29T18:09:23.872" v="15704" actId="14100"/>
          <ac:spMkLst>
            <pc:docMk/>
            <pc:sldMk cId="3112639055" sldId="1040"/>
            <ac:spMk id="11" creationId="{F907E7B9-1708-3778-7238-7EF81F0A5EC8}"/>
          </ac:spMkLst>
        </pc:spChg>
        <pc:spChg chg="add mod">
          <ac:chgData name="Andreas Koksrud" userId="9d9beba6-c052-407a-8599-c781a677a996" providerId="ADAL" clId="{267904F6-164A-446F-8964-DA69B112867B}" dt="2024-09-03T17:08:25.430" v="5447" actId="1036"/>
          <ac:spMkLst>
            <pc:docMk/>
            <pc:sldMk cId="3112639055" sldId="1040"/>
            <ac:spMk id="18" creationId="{3C643422-744B-7E0A-1AD9-F0A757E6B2E4}"/>
          </ac:spMkLst>
        </pc:spChg>
        <pc:spChg chg="mod">
          <ac:chgData name="Andreas Koksrud" userId="9d9beba6-c052-407a-8599-c781a677a996" providerId="ADAL" clId="{267904F6-164A-446F-8964-DA69B112867B}" dt="2024-09-03T17:08:41.203" v="5461" actId="20577"/>
          <ac:spMkLst>
            <pc:docMk/>
            <pc:sldMk cId="3112639055" sldId="1040"/>
            <ac:spMk id="180" creationId="{00000000-0000-0000-0000-000000000000}"/>
          </ac:spMkLst>
        </pc:spChg>
        <pc:picChg chg="add mod">
          <ac:chgData name="Andreas Koksrud" userId="9d9beba6-c052-407a-8599-c781a677a996" providerId="ADAL" clId="{267904F6-164A-446F-8964-DA69B112867B}" dt="2024-09-29T18:18:49.244" v="16395"/>
          <ac:picMkLst>
            <pc:docMk/>
            <pc:sldMk cId="3112639055" sldId="1040"/>
            <ac:picMk id="13" creationId="{AFD6B3CD-FC9A-B6F5-589F-E8578A576098}"/>
          </ac:picMkLst>
        </pc:picChg>
        <pc:cxnChg chg="add mod">
          <ac:chgData name="Andreas Koksrud" userId="9d9beba6-c052-407a-8599-c781a677a996" providerId="ADAL" clId="{267904F6-164A-446F-8964-DA69B112867B}" dt="2024-09-03T17:07:35.095" v="5365" actId="1036"/>
          <ac:cxnSpMkLst>
            <pc:docMk/>
            <pc:sldMk cId="3112639055" sldId="1040"/>
            <ac:cxnSpMk id="2" creationId="{C40A8D55-00E9-2789-2B39-497283110CF9}"/>
          </ac:cxnSpMkLst>
        </pc:cxnChg>
        <pc:cxnChg chg="add mod">
          <ac:chgData name="Andreas Koksrud" userId="9d9beba6-c052-407a-8599-c781a677a996" providerId="ADAL" clId="{267904F6-164A-446F-8964-DA69B112867B}" dt="2024-09-29T18:09:23.872" v="15704" actId="14100"/>
          <ac:cxnSpMkLst>
            <pc:docMk/>
            <pc:sldMk cId="3112639055" sldId="1040"/>
            <ac:cxnSpMk id="10" creationId="{583BA452-96E0-298F-FE84-4870B2D6FF53}"/>
          </ac:cxnSpMkLst>
        </pc:cxnChg>
        <pc:cxnChg chg="add mod">
          <ac:chgData name="Andreas Koksrud" userId="9d9beba6-c052-407a-8599-c781a677a996" providerId="ADAL" clId="{267904F6-164A-446F-8964-DA69B112867B}" dt="2024-09-29T18:09:23.872" v="15704" actId="14100"/>
          <ac:cxnSpMkLst>
            <pc:docMk/>
            <pc:sldMk cId="3112639055" sldId="1040"/>
            <ac:cxnSpMk id="14" creationId="{77A97DBD-A8B8-182A-F887-F37FCE32E4C0}"/>
          </ac:cxnSpMkLst>
        </pc:cxnChg>
      </pc:sldChg>
      <pc:sldChg chg="addSp delSp modSp mod">
        <pc:chgData name="Andreas Koksrud" userId="9d9beba6-c052-407a-8599-c781a677a996" providerId="ADAL" clId="{267904F6-164A-446F-8964-DA69B112867B}" dt="2024-09-29T18:18:57.204" v="16399"/>
        <pc:sldMkLst>
          <pc:docMk/>
          <pc:sldMk cId="400240892" sldId="1041"/>
        </pc:sldMkLst>
        <pc:spChg chg="del mod">
          <ac:chgData name="Andreas Koksrud" userId="9d9beba6-c052-407a-8599-c781a677a996" providerId="ADAL" clId="{267904F6-164A-446F-8964-DA69B112867B}" dt="2024-09-03T15:43:26.682" v="3533" actId="478"/>
          <ac:spMkLst>
            <pc:docMk/>
            <pc:sldMk cId="400240892" sldId="1041"/>
            <ac:spMk id="3" creationId="{4384A2C6-F54D-1D3E-DDA3-6DBF926AB954}"/>
          </ac:spMkLst>
        </pc:spChg>
        <pc:spChg chg="add mod">
          <ac:chgData name="Andreas Koksrud" userId="9d9beba6-c052-407a-8599-c781a677a996" providerId="ADAL" clId="{267904F6-164A-446F-8964-DA69B112867B}" dt="2024-09-03T15:46:43.930" v="3685"/>
          <ac:spMkLst>
            <pc:docMk/>
            <pc:sldMk cId="400240892" sldId="1041"/>
            <ac:spMk id="5" creationId="{8C308093-F362-D64F-12C8-14918A6EDC64}"/>
          </ac:spMkLst>
        </pc:spChg>
        <pc:spChg chg="add mod">
          <ac:chgData name="Andreas Koksrud" userId="9d9beba6-c052-407a-8599-c781a677a996" providerId="ADAL" clId="{267904F6-164A-446F-8964-DA69B112867B}" dt="2024-09-03T15:44:44.884" v="3566" actId="1035"/>
          <ac:spMkLst>
            <pc:docMk/>
            <pc:sldMk cId="400240892" sldId="1041"/>
            <ac:spMk id="6" creationId="{583AD5EB-40B5-661E-3BC2-C961D02E52BD}"/>
          </ac:spMkLst>
        </pc:spChg>
        <pc:spChg chg="add mod">
          <ac:chgData name="Andreas Koksrud" userId="9d9beba6-c052-407a-8599-c781a677a996" providerId="ADAL" clId="{267904F6-164A-446F-8964-DA69B112867B}" dt="2024-09-03T15:44:38.021" v="3545" actId="1076"/>
          <ac:spMkLst>
            <pc:docMk/>
            <pc:sldMk cId="400240892" sldId="1041"/>
            <ac:spMk id="8" creationId="{EC34F5A6-39AC-B8EA-D57A-97BF293B4CD3}"/>
          </ac:spMkLst>
        </pc:spChg>
        <pc:spChg chg="add mod">
          <ac:chgData name="Andreas Koksrud" userId="9d9beba6-c052-407a-8599-c781a677a996" providerId="ADAL" clId="{267904F6-164A-446F-8964-DA69B112867B}" dt="2024-09-08T19:10:21.944" v="10093" actId="1076"/>
          <ac:spMkLst>
            <pc:docMk/>
            <pc:sldMk cId="400240892" sldId="1041"/>
            <ac:spMk id="12" creationId="{31139563-055D-5988-9126-2A188F225214}"/>
          </ac:spMkLst>
        </pc:spChg>
        <pc:spChg chg="mod">
          <ac:chgData name="Andreas Koksrud" userId="9d9beba6-c052-407a-8599-c781a677a996" providerId="ADAL" clId="{267904F6-164A-446F-8964-DA69B112867B}" dt="2024-09-03T15:41:19.959" v="3486" actId="20577"/>
          <ac:spMkLst>
            <pc:docMk/>
            <pc:sldMk cId="400240892" sldId="1041"/>
            <ac:spMk id="180" creationId="{00000000-0000-0000-0000-000000000000}"/>
          </ac:spMkLst>
        </pc:spChg>
        <pc:picChg chg="mod">
          <ac:chgData name="Andreas Koksrud" userId="9d9beba6-c052-407a-8599-c781a677a996" providerId="ADAL" clId="{267904F6-164A-446F-8964-DA69B112867B}" dt="2024-09-08T19:10:24.703" v="10094" actId="1076"/>
          <ac:picMkLst>
            <pc:docMk/>
            <pc:sldMk cId="400240892" sldId="1041"/>
            <ac:picMk id="3" creationId="{338822F4-B62F-DC52-6D9A-837448275E2B}"/>
          </ac:picMkLst>
        </pc:picChg>
        <pc:picChg chg="add mod">
          <ac:chgData name="Andreas Koksrud" userId="9d9beba6-c052-407a-8599-c781a677a996" providerId="ADAL" clId="{267904F6-164A-446F-8964-DA69B112867B}" dt="2024-09-29T18:18:57.204" v="16399"/>
          <ac:picMkLst>
            <pc:docMk/>
            <pc:sldMk cId="400240892" sldId="1041"/>
            <ac:picMk id="9" creationId="{E5B5C68C-44AB-7EBB-0340-F846454F8A31}"/>
          </ac:picMkLst>
        </pc:picChg>
        <pc:picChg chg="add mod ord">
          <ac:chgData name="Andreas Koksrud" userId="9d9beba6-c052-407a-8599-c781a677a996" providerId="ADAL" clId="{267904F6-164A-446F-8964-DA69B112867B}" dt="2024-09-03T15:45:35.224" v="3569" actId="167"/>
          <ac:picMkLst>
            <pc:docMk/>
            <pc:sldMk cId="400240892" sldId="1041"/>
            <ac:picMk id="10" creationId="{62B245AB-9298-56F6-C065-7F6FB670A7CB}"/>
          </ac:picMkLst>
        </pc:picChg>
        <pc:picChg chg="add mod">
          <ac:chgData name="Andreas Koksrud" userId="9d9beba6-c052-407a-8599-c781a677a996" providerId="ADAL" clId="{267904F6-164A-446F-8964-DA69B112867B}" dt="2024-09-03T15:47:03.181" v="3687" actId="1076"/>
          <ac:picMkLst>
            <pc:docMk/>
            <pc:sldMk cId="400240892" sldId="1041"/>
            <ac:picMk id="15" creationId="{46789BF2-DE38-45C7-D0DF-85D773634E6B}"/>
          </ac:picMkLst>
        </pc:picChg>
        <pc:cxnChg chg="del">
          <ac:chgData name="Andreas Koksrud" userId="9d9beba6-c052-407a-8599-c781a677a996" providerId="ADAL" clId="{267904F6-164A-446F-8964-DA69B112867B}" dt="2024-09-03T15:41:50.206" v="3491" actId="478"/>
          <ac:cxnSpMkLst>
            <pc:docMk/>
            <pc:sldMk cId="400240892" sldId="1041"/>
            <ac:cxnSpMk id="14" creationId="{FD37C567-66E8-B223-3CDF-32ACDFB03A55}"/>
          </ac:cxnSpMkLst>
        </pc:cxnChg>
        <pc:cxnChg chg="mod ord">
          <ac:chgData name="Andreas Koksrud" userId="9d9beba6-c052-407a-8599-c781a677a996" providerId="ADAL" clId="{267904F6-164A-446F-8964-DA69B112867B}" dt="2024-09-03T15:45:38.964" v="3570" actId="14100"/>
          <ac:cxnSpMkLst>
            <pc:docMk/>
            <pc:sldMk cId="400240892" sldId="1041"/>
            <ac:cxnSpMk id="16" creationId="{9E75C817-DD11-B346-3724-DC4188327E15}"/>
          </ac:cxnSpMkLst>
        </pc:cxnChg>
        <pc:cxnChg chg="del">
          <ac:chgData name="Andreas Koksrud" userId="9d9beba6-c052-407a-8599-c781a677a996" providerId="ADAL" clId="{267904F6-164A-446F-8964-DA69B112867B}" dt="2024-09-03T15:41:49.229" v="3490" actId="478"/>
          <ac:cxnSpMkLst>
            <pc:docMk/>
            <pc:sldMk cId="400240892" sldId="1041"/>
            <ac:cxnSpMk id="19" creationId="{E4D3BF94-7E27-622D-168F-AF56226F4CE8}"/>
          </ac:cxnSpMkLst>
        </pc:cxnChg>
      </pc:sldChg>
      <pc:sldChg chg="addSp delSp modSp mod">
        <pc:chgData name="Andreas Koksrud" userId="9d9beba6-c052-407a-8599-c781a677a996" providerId="ADAL" clId="{267904F6-164A-446F-8964-DA69B112867B}" dt="2024-09-29T18:18:58.069" v="16400"/>
        <pc:sldMkLst>
          <pc:docMk/>
          <pc:sldMk cId="3405457858" sldId="1042"/>
        </pc:sldMkLst>
        <pc:spChg chg="mod ord">
          <ac:chgData name="Andreas Koksrud" userId="9d9beba6-c052-407a-8599-c781a677a996" providerId="ADAL" clId="{267904F6-164A-446F-8964-DA69B112867B}" dt="2024-09-03T15:40:47.877" v="3409" actId="20577"/>
          <ac:spMkLst>
            <pc:docMk/>
            <pc:sldMk cId="3405457858" sldId="1042"/>
            <ac:spMk id="5" creationId="{150D8B4F-01CE-6B65-10C2-766144B7E7A7}"/>
          </ac:spMkLst>
        </pc:spChg>
        <pc:spChg chg="mod">
          <ac:chgData name="Andreas Koksrud" userId="9d9beba6-c052-407a-8599-c781a677a996" providerId="ADAL" clId="{267904F6-164A-446F-8964-DA69B112867B}" dt="2024-09-03T15:40:30.711" v="3402" actId="20577"/>
          <ac:spMkLst>
            <pc:docMk/>
            <pc:sldMk cId="3405457858" sldId="1042"/>
            <ac:spMk id="180" creationId="{00000000-0000-0000-0000-000000000000}"/>
          </ac:spMkLst>
        </pc:spChg>
        <pc:picChg chg="add mod">
          <ac:chgData name="Andreas Koksrud" userId="9d9beba6-c052-407a-8599-c781a677a996" providerId="ADAL" clId="{267904F6-164A-446F-8964-DA69B112867B}" dt="2024-09-29T18:18:58.069" v="16400"/>
          <ac:picMkLst>
            <pc:docMk/>
            <pc:sldMk cId="3405457858" sldId="1042"/>
            <ac:picMk id="3" creationId="{291AB399-12D2-9817-4132-625A01302442}"/>
          </ac:picMkLst>
        </pc:picChg>
        <pc:picChg chg="del">
          <ac:chgData name="Andreas Koksrud" userId="9d9beba6-c052-407a-8599-c781a677a996" providerId="ADAL" clId="{267904F6-164A-446F-8964-DA69B112867B}" dt="2024-09-03T15:39:00.261" v="3297" actId="478"/>
          <ac:picMkLst>
            <pc:docMk/>
            <pc:sldMk cId="3405457858" sldId="1042"/>
            <ac:picMk id="15" creationId="{7E68BB21-D0EF-8F36-5226-93CE30DC4BBE}"/>
          </ac:picMkLst>
        </pc:picChg>
        <pc:picChg chg="add mod">
          <ac:chgData name="Andreas Koksrud" userId="9d9beba6-c052-407a-8599-c781a677a996" providerId="ADAL" clId="{267904F6-164A-446F-8964-DA69B112867B}" dt="2024-09-03T15:39:39.119" v="3361" actId="1076"/>
          <ac:picMkLst>
            <pc:docMk/>
            <pc:sldMk cId="3405457858" sldId="1042"/>
            <ac:picMk id="16" creationId="{73B71AAA-1B4C-27A3-A49F-3159C99F9517}"/>
          </ac:picMkLst>
        </pc:picChg>
        <pc:cxnChg chg="add mod">
          <ac:chgData name="Andreas Koksrud" userId="9d9beba6-c052-407a-8599-c781a677a996" providerId="ADAL" clId="{267904F6-164A-446F-8964-DA69B112867B}" dt="2024-09-03T13:59:34.168" v="2359" actId="14100"/>
          <ac:cxnSpMkLst>
            <pc:docMk/>
            <pc:sldMk cId="3405457858" sldId="1042"/>
            <ac:cxnSpMk id="6" creationId="{2E46FD96-C660-230A-8076-0696B2B42884}"/>
          </ac:cxnSpMkLst>
        </pc:cxnChg>
        <pc:cxnChg chg="del">
          <ac:chgData name="Andreas Koksrud" userId="9d9beba6-c052-407a-8599-c781a677a996" providerId="ADAL" clId="{267904F6-164A-446F-8964-DA69B112867B}" dt="2024-09-03T15:39:01.264" v="3298" actId="478"/>
          <ac:cxnSpMkLst>
            <pc:docMk/>
            <pc:sldMk cId="3405457858" sldId="1042"/>
            <ac:cxnSpMk id="8" creationId="{738CFBED-E9AD-5403-985B-41956CC65A3C}"/>
          </ac:cxnSpMkLst>
        </pc:cxnChg>
        <pc:cxnChg chg="add mod">
          <ac:chgData name="Andreas Koksrud" userId="9d9beba6-c052-407a-8599-c781a677a996" providerId="ADAL" clId="{267904F6-164A-446F-8964-DA69B112867B}" dt="2024-09-03T13:59:46.993" v="2361" actId="14100"/>
          <ac:cxnSpMkLst>
            <pc:docMk/>
            <pc:sldMk cId="3405457858" sldId="1042"/>
            <ac:cxnSpMk id="10" creationId="{98103196-E228-8A19-CCE9-B4FA85618A8C}"/>
          </ac:cxnSpMkLst>
        </pc:cxnChg>
        <pc:cxnChg chg="mod">
          <ac:chgData name="Andreas Koksrud" userId="9d9beba6-c052-407a-8599-c781a677a996" providerId="ADAL" clId="{267904F6-164A-446F-8964-DA69B112867B}" dt="2024-09-03T15:40:52.062" v="3410" actId="14100"/>
          <ac:cxnSpMkLst>
            <pc:docMk/>
            <pc:sldMk cId="3405457858" sldId="1042"/>
            <ac:cxnSpMk id="14" creationId="{FD37C567-66E8-B223-3CDF-32ACDFB03A55}"/>
          </ac:cxnSpMkLst>
        </pc:cxnChg>
        <pc:cxnChg chg="add mod">
          <ac:chgData name="Andreas Koksrud" userId="9d9beba6-c052-407a-8599-c781a677a996" providerId="ADAL" clId="{267904F6-164A-446F-8964-DA69B112867B}" dt="2024-09-03T15:39:57.345" v="3364" actId="14100"/>
          <ac:cxnSpMkLst>
            <pc:docMk/>
            <pc:sldMk cId="3405457858" sldId="1042"/>
            <ac:cxnSpMk id="17" creationId="{F5CD7132-256F-45DA-0B2E-727B8C9EF22E}"/>
          </ac:cxnSpMkLst>
        </pc:cxnChg>
      </pc:sldChg>
      <pc:sldChg chg="addSp modSp mod">
        <pc:chgData name="Andreas Koksrud" userId="9d9beba6-c052-407a-8599-c781a677a996" providerId="ADAL" clId="{267904F6-164A-446F-8964-DA69B112867B}" dt="2024-09-29T18:18:44.439" v="16391"/>
        <pc:sldMkLst>
          <pc:docMk/>
          <pc:sldMk cId="1650318171" sldId="1043"/>
        </pc:sldMkLst>
        <pc:spChg chg="add mod">
          <ac:chgData name="Andreas Koksrud" userId="9d9beba6-c052-407a-8599-c781a677a996" providerId="ADAL" clId="{267904F6-164A-446F-8964-DA69B112867B}" dt="2024-09-06T16:20:53.814" v="7158" actId="1076"/>
          <ac:spMkLst>
            <pc:docMk/>
            <pc:sldMk cId="1650318171" sldId="1043"/>
            <ac:spMk id="3" creationId="{418BBB06-FBC1-1F8D-3BB0-26E3F3EBE321}"/>
          </ac:spMkLst>
        </pc:spChg>
        <pc:spChg chg="mod">
          <ac:chgData name="Andreas Koksrud" userId="9d9beba6-c052-407a-8599-c781a677a996" providerId="ADAL" clId="{267904F6-164A-446F-8964-DA69B112867B}" dt="2024-09-29T18:17:22.515" v="16369"/>
          <ac:spMkLst>
            <pc:docMk/>
            <pc:sldMk cId="1650318171" sldId="1043"/>
            <ac:spMk id="4" creationId="{99B9AFAD-6D20-4299-CD50-D8A4B3C2D385}"/>
          </ac:spMkLst>
        </pc:spChg>
        <pc:spChg chg="mod">
          <ac:chgData name="Andreas Koksrud" userId="9d9beba6-c052-407a-8599-c781a677a996" providerId="ADAL" clId="{267904F6-164A-446F-8964-DA69B112867B}" dt="2024-09-06T13:03:01.779" v="6703" actId="20577"/>
          <ac:spMkLst>
            <pc:docMk/>
            <pc:sldMk cId="1650318171" sldId="1043"/>
            <ac:spMk id="24" creationId="{9CF69559-D1DE-9D57-4F85-565EE524A0EB}"/>
          </ac:spMkLst>
        </pc:spChg>
        <pc:spChg chg="mod">
          <ac:chgData name="Andreas Koksrud" userId="9d9beba6-c052-407a-8599-c781a677a996" providerId="ADAL" clId="{267904F6-164A-446F-8964-DA69B112867B}" dt="2024-09-06T16:20:43.786" v="7156" actId="1582"/>
          <ac:spMkLst>
            <pc:docMk/>
            <pc:sldMk cId="1650318171" sldId="1043"/>
            <ac:spMk id="25" creationId="{7C6F6CF8-F6B0-D48C-4E4E-61C70ABE0FF0}"/>
          </ac:spMkLst>
        </pc:spChg>
        <pc:picChg chg="add mod">
          <ac:chgData name="Andreas Koksrud" userId="9d9beba6-c052-407a-8599-c781a677a996" providerId="ADAL" clId="{267904F6-164A-446F-8964-DA69B112867B}" dt="2024-09-05T09:59:01.280" v="6060" actId="1076"/>
          <ac:picMkLst>
            <pc:docMk/>
            <pc:sldMk cId="1650318171" sldId="1043"/>
            <ac:picMk id="6" creationId="{17D8BA37-7034-C40F-FD44-CC98E031292E}"/>
          </ac:picMkLst>
        </pc:picChg>
        <pc:picChg chg="add mod">
          <ac:chgData name="Andreas Koksrud" userId="9d9beba6-c052-407a-8599-c781a677a996" providerId="ADAL" clId="{267904F6-164A-446F-8964-DA69B112867B}" dt="2024-09-29T18:18:44.439" v="16391"/>
          <ac:picMkLst>
            <pc:docMk/>
            <pc:sldMk cId="1650318171" sldId="1043"/>
            <ac:picMk id="10" creationId="{8FAEB469-5A3F-3476-B676-6BBDB9079C4E}"/>
          </ac:picMkLst>
        </pc:picChg>
        <pc:picChg chg="mod modCrop">
          <ac:chgData name="Andreas Koksrud" userId="9d9beba6-c052-407a-8599-c781a677a996" providerId="ADAL" clId="{267904F6-164A-446F-8964-DA69B112867B}" dt="2024-09-06T16:19:05.454" v="7140" actId="732"/>
          <ac:picMkLst>
            <pc:docMk/>
            <pc:sldMk cId="1650318171" sldId="1043"/>
            <ac:picMk id="12" creationId="{ADF14A3F-75FF-0E6C-2560-6A4915DBDC53}"/>
          </ac:picMkLst>
        </pc:picChg>
        <pc:picChg chg="add mod">
          <ac:chgData name="Andreas Koksrud" userId="9d9beba6-c052-407a-8599-c781a677a996" providerId="ADAL" clId="{267904F6-164A-446F-8964-DA69B112867B}" dt="2024-09-06T16:19:16.914" v="7147" actId="1076"/>
          <ac:picMkLst>
            <pc:docMk/>
            <pc:sldMk cId="1650318171" sldId="1043"/>
            <ac:picMk id="13" creationId="{27AFFC3C-EFEE-A9F0-78BD-E53D0117A03A}"/>
          </ac:picMkLst>
        </pc:picChg>
        <pc:picChg chg="mod">
          <ac:chgData name="Andreas Koksrud" userId="9d9beba6-c052-407a-8599-c781a677a996" providerId="ADAL" clId="{267904F6-164A-446F-8964-DA69B112867B}" dt="2024-09-06T16:20:30.244" v="7153" actId="1076"/>
          <ac:picMkLst>
            <pc:docMk/>
            <pc:sldMk cId="1650318171" sldId="1043"/>
            <ac:picMk id="21" creationId="{6AB84081-6DC7-0CFB-1C39-30FD8A3B24FA}"/>
          </ac:picMkLst>
        </pc:picChg>
        <pc:cxnChg chg="add mod">
          <ac:chgData name="Andreas Koksrud" userId="9d9beba6-c052-407a-8599-c781a677a996" providerId="ADAL" clId="{267904F6-164A-446F-8964-DA69B112867B}" dt="2024-09-06T16:20:57.359" v="7159" actId="14100"/>
          <ac:cxnSpMkLst>
            <pc:docMk/>
            <pc:sldMk cId="1650318171" sldId="1043"/>
            <ac:cxnSpMk id="5" creationId="{F833C85F-68BD-A90E-521C-1D0AFBAA9288}"/>
          </ac:cxnSpMkLst>
        </pc:cxnChg>
        <pc:cxnChg chg="add mod">
          <ac:chgData name="Andreas Koksrud" userId="9d9beba6-c052-407a-8599-c781a677a996" providerId="ADAL" clId="{267904F6-164A-446F-8964-DA69B112867B}" dt="2024-09-05T09:59:10.895" v="6062" actId="14100"/>
          <ac:cxnSpMkLst>
            <pc:docMk/>
            <pc:sldMk cId="1650318171" sldId="1043"/>
            <ac:cxnSpMk id="9" creationId="{63CC984C-A5E5-A8BF-8FD3-578793986F67}"/>
          </ac:cxnSpMkLst>
        </pc:cxnChg>
        <pc:cxnChg chg="mod">
          <ac:chgData name="Andreas Koksrud" userId="9d9beba6-c052-407a-8599-c781a677a996" providerId="ADAL" clId="{267904F6-164A-446F-8964-DA69B112867B}" dt="2024-09-05T09:56:33.259" v="6058" actId="14100"/>
          <ac:cxnSpMkLst>
            <pc:docMk/>
            <pc:sldMk cId="1650318171" sldId="1043"/>
            <ac:cxnSpMk id="14" creationId="{5E62564F-5B58-6220-DA9D-75A1C5F55029}"/>
          </ac:cxnSpMkLst>
        </pc:cxnChg>
        <pc:cxnChg chg="add mod">
          <ac:chgData name="Andreas Koksrud" userId="9d9beba6-c052-407a-8599-c781a677a996" providerId="ADAL" clId="{267904F6-164A-446F-8964-DA69B112867B}" dt="2024-09-06T16:19:22.926" v="7149" actId="14100"/>
          <ac:cxnSpMkLst>
            <pc:docMk/>
            <pc:sldMk cId="1650318171" sldId="1043"/>
            <ac:cxnSpMk id="15" creationId="{A77B4E60-4A7F-9F0E-2AA5-98DE0999764D}"/>
          </ac:cxnSpMkLst>
        </pc:cxnChg>
        <pc:cxnChg chg="add mod">
          <ac:chgData name="Andreas Koksrud" userId="9d9beba6-c052-407a-8599-c781a677a996" providerId="ADAL" clId="{267904F6-164A-446F-8964-DA69B112867B}" dt="2024-09-06T16:19:29.867" v="7151" actId="14100"/>
          <ac:cxnSpMkLst>
            <pc:docMk/>
            <pc:sldMk cId="1650318171" sldId="1043"/>
            <ac:cxnSpMk id="17" creationId="{D1767CD1-12FF-605A-7B9A-F0D0CD48C758}"/>
          </ac:cxnSpMkLst>
        </pc:cxnChg>
      </pc:sldChg>
      <pc:sldChg chg="modSp">
        <pc:chgData name="Andreas Koksrud" userId="9d9beba6-c052-407a-8599-c781a677a996" providerId="ADAL" clId="{267904F6-164A-446F-8964-DA69B112867B}" dt="2024-09-29T18:17:22.515" v="16369"/>
        <pc:sldMkLst>
          <pc:docMk/>
          <pc:sldMk cId="3684540684" sldId="1044"/>
        </pc:sldMkLst>
        <pc:spChg chg="mod">
          <ac:chgData name="Andreas Koksrud" userId="9d9beba6-c052-407a-8599-c781a677a996" providerId="ADAL" clId="{267904F6-164A-446F-8964-DA69B112867B}" dt="2024-09-29T18:17:22.515" v="16369"/>
          <ac:spMkLst>
            <pc:docMk/>
            <pc:sldMk cId="3684540684" sldId="1044"/>
            <ac:spMk id="3" creationId="{50E6E05E-D759-39DF-4A3C-A48ED2CBDA8B}"/>
          </ac:spMkLst>
        </pc:spChg>
      </pc:sldChg>
      <pc:sldChg chg="addSp delSp modSp add mod">
        <pc:chgData name="Andreas Koksrud" userId="9d9beba6-c052-407a-8599-c781a677a996" providerId="ADAL" clId="{267904F6-164A-446F-8964-DA69B112867B}" dt="2024-09-29T18:19:00.508" v="16401"/>
        <pc:sldMkLst>
          <pc:docMk/>
          <pc:sldMk cId="1412894186" sldId="1045"/>
        </pc:sldMkLst>
        <pc:spChg chg="mod">
          <ac:chgData name="Andreas Koksrud" userId="9d9beba6-c052-407a-8599-c781a677a996" providerId="ADAL" clId="{267904F6-164A-446F-8964-DA69B112867B}" dt="2024-09-04T11:55:38.282" v="5824" actId="20577"/>
          <ac:spMkLst>
            <pc:docMk/>
            <pc:sldMk cId="1412894186" sldId="1045"/>
            <ac:spMk id="3" creationId="{5A9E3B6B-8E0E-D6F1-2A9E-5AF13DE2E6CB}"/>
          </ac:spMkLst>
        </pc:spChg>
        <pc:spChg chg="add mod">
          <ac:chgData name="Andreas Koksrud" userId="9d9beba6-c052-407a-8599-c781a677a996" providerId="ADAL" clId="{267904F6-164A-446F-8964-DA69B112867B}" dt="2024-09-04T11:56:26.531" v="5826" actId="14100"/>
          <ac:spMkLst>
            <pc:docMk/>
            <pc:sldMk cId="1412894186" sldId="1045"/>
            <ac:spMk id="5" creationId="{A1344406-76D7-8461-A920-DF7E26A1E45A}"/>
          </ac:spMkLst>
        </pc:spChg>
        <pc:spChg chg="add mod">
          <ac:chgData name="Andreas Koksrud" userId="9d9beba6-c052-407a-8599-c781a677a996" providerId="ADAL" clId="{267904F6-164A-446F-8964-DA69B112867B}" dt="2024-09-21T15:24:33.902" v="12770" actId="1076"/>
          <ac:spMkLst>
            <pc:docMk/>
            <pc:sldMk cId="1412894186" sldId="1045"/>
            <ac:spMk id="6" creationId="{A2FE60E3-BC7C-7BD4-DBBF-6DCDEF364337}"/>
          </ac:spMkLst>
        </pc:spChg>
        <pc:spChg chg="del mod">
          <ac:chgData name="Andreas Koksrud" userId="9d9beba6-c052-407a-8599-c781a677a996" providerId="ADAL" clId="{267904F6-164A-446F-8964-DA69B112867B}" dt="2024-09-03T14:55:21.735" v="3045" actId="478"/>
          <ac:spMkLst>
            <pc:docMk/>
            <pc:sldMk cId="1412894186" sldId="1045"/>
            <ac:spMk id="9" creationId="{1332ADAB-347F-B30A-F36B-957ADACDE929}"/>
          </ac:spMkLst>
        </pc:spChg>
        <pc:spChg chg="del">
          <ac:chgData name="Andreas Koksrud" userId="9d9beba6-c052-407a-8599-c781a677a996" providerId="ADAL" clId="{267904F6-164A-446F-8964-DA69B112867B}" dt="2024-09-03T14:46:25.900" v="2397" actId="478"/>
          <ac:spMkLst>
            <pc:docMk/>
            <pc:sldMk cId="1412894186" sldId="1045"/>
            <ac:spMk id="11" creationId="{877F6A3F-10BB-7A54-3A76-202C966E3A46}"/>
          </ac:spMkLst>
        </pc:spChg>
        <pc:spChg chg="add del mod">
          <ac:chgData name="Andreas Koksrud" userId="9d9beba6-c052-407a-8599-c781a677a996" providerId="ADAL" clId="{267904F6-164A-446F-8964-DA69B112867B}" dt="2024-09-03T15:30:53.656" v="3218" actId="478"/>
          <ac:spMkLst>
            <pc:docMk/>
            <pc:sldMk cId="1412894186" sldId="1045"/>
            <ac:spMk id="30" creationId="{C88B7211-1B1D-3A8E-145D-5B12728161E2}"/>
          </ac:spMkLst>
        </pc:spChg>
        <pc:spChg chg="add mod">
          <ac:chgData name="Andreas Koksrud" userId="9d9beba6-c052-407a-8599-c781a677a996" providerId="ADAL" clId="{267904F6-164A-446F-8964-DA69B112867B}" dt="2024-09-03T15:35:55.725" v="3247" actId="207"/>
          <ac:spMkLst>
            <pc:docMk/>
            <pc:sldMk cId="1412894186" sldId="1045"/>
            <ac:spMk id="47" creationId="{E73EBDE1-2D35-7655-0B90-DC5D0B8A8228}"/>
          </ac:spMkLst>
        </pc:spChg>
        <pc:spChg chg="mod">
          <ac:chgData name="Andreas Koksrud" userId="9d9beba6-c052-407a-8599-c781a677a996" providerId="ADAL" clId="{267904F6-164A-446F-8964-DA69B112867B}" dt="2024-09-03T14:46:20.846" v="2396" actId="20577"/>
          <ac:spMkLst>
            <pc:docMk/>
            <pc:sldMk cId="1412894186" sldId="1045"/>
            <ac:spMk id="180" creationId="{00000000-0000-0000-0000-000000000000}"/>
          </ac:spMkLst>
        </pc:spChg>
        <pc:picChg chg="add mod">
          <ac:chgData name="Andreas Koksrud" userId="9d9beba6-c052-407a-8599-c781a677a996" providerId="ADAL" clId="{267904F6-164A-446F-8964-DA69B112867B}" dt="2024-09-29T18:19:00.508" v="16401"/>
          <ac:picMkLst>
            <pc:docMk/>
            <pc:sldMk cId="1412894186" sldId="1045"/>
            <ac:picMk id="8" creationId="{44922C4B-3F35-E08D-3A7A-15A875F9FC7F}"/>
          </ac:picMkLst>
        </pc:picChg>
        <pc:picChg chg="add mod">
          <ac:chgData name="Andreas Koksrud" userId="9d9beba6-c052-407a-8599-c781a677a996" providerId="ADAL" clId="{267904F6-164A-446F-8964-DA69B112867B}" dt="2024-09-03T14:57:18.359" v="3213" actId="1076"/>
          <ac:picMkLst>
            <pc:docMk/>
            <pc:sldMk cId="1412894186" sldId="1045"/>
            <ac:picMk id="10" creationId="{8C2FD0B4-7879-AC7D-DB51-821ABA8E93D1}"/>
          </ac:picMkLst>
        </pc:picChg>
        <pc:picChg chg="add mod">
          <ac:chgData name="Andreas Koksrud" userId="9d9beba6-c052-407a-8599-c781a677a996" providerId="ADAL" clId="{267904F6-164A-446F-8964-DA69B112867B}" dt="2024-09-03T14:57:18.359" v="3213" actId="1076"/>
          <ac:picMkLst>
            <pc:docMk/>
            <pc:sldMk cId="1412894186" sldId="1045"/>
            <ac:picMk id="13" creationId="{133F996D-2423-67C7-620D-CF91CE079A75}"/>
          </ac:picMkLst>
        </pc:picChg>
        <pc:picChg chg="add del mod">
          <ac:chgData name="Andreas Koksrud" userId="9d9beba6-c052-407a-8599-c781a677a996" providerId="ADAL" clId="{267904F6-164A-446F-8964-DA69B112867B}" dt="2024-09-03T14:48:25.894" v="2425" actId="478"/>
          <ac:picMkLst>
            <pc:docMk/>
            <pc:sldMk cId="1412894186" sldId="1045"/>
            <ac:picMk id="17" creationId="{28A15E0E-6AF4-B59D-BD7E-5F1046B43FFB}"/>
          </ac:picMkLst>
        </pc:picChg>
        <pc:picChg chg="add mod ord">
          <ac:chgData name="Andreas Koksrud" userId="9d9beba6-c052-407a-8599-c781a677a996" providerId="ADAL" clId="{267904F6-164A-446F-8964-DA69B112867B}" dt="2024-09-03T14:57:18.359" v="3213" actId="1076"/>
          <ac:picMkLst>
            <pc:docMk/>
            <pc:sldMk cId="1412894186" sldId="1045"/>
            <ac:picMk id="21" creationId="{1B41037F-FBED-FC8D-7C83-E534B8FCF426}"/>
          </ac:picMkLst>
        </pc:picChg>
        <pc:picChg chg="del">
          <ac:chgData name="Andreas Koksrud" userId="9d9beba6-c052-407a-8599-c781a677a996" providerId="ADAL" clId="{267904F6-164A-446F-8964-DA69B112867B}" dt="2024-09-03T14:46:58.666" v="2400" actId="478"/>
          <ac:picMkLst>
            <pc:docMk/>
            <pc:sldMk cId="1412894186" sldId="1045"/>
            <ac:picMk id="23" creationId="{FFC95476-A16C-CF1E-EEBA-9DC42B469EA3}"/>
          </ac:picMkLst>
        </pc:picChg>
        <pc:picChg chg="add mod">
          <ac:chgData name="Andreas Koksrud" userId="9d9beba6-c052-407a-8599-c781a677a996" providerId="ADAL" clId="{267904F6-164A-446F-8964-DA69B112867B}" dt="2024-09-03T15:34:15.701" v="3235" actId="1076"/>
          <ac:picMkLst>
            <pc:docMk/>
            <pc:sldMk cId="1412894186" sldId="1045"/>
            <ac:picMk id="24" creationId="{86558842-E66C-0557-7AB2-8EF8C60DBA7A}"/>
          </ac:picMkLst>
        </pc:picChg>
        <pc:picChg chg="add mod">
          <ac:chgData name="Andreas Koksrud" userId="9d9beba6-c052-407a-8599-c781a677a996" providerId="ADAL" clId="{267904F6-164A-446F-8964-DA69B112867B}" dt="2024-09-03T15:34:23.202" v="3237" actId="1076"/>
          <ac:picMkLst>
            <pc:docMk/>
            <pc:sldMk cId="1412894186" sldId="1045"/>
            <ac:picMk id="29" creationId="{E6491B50-74D0-7434-65FF-C7B845E7D2BD}"/>
          </ac:picMkLst>
        </pc:picChg>
        <pc:picChg chg="add mod">
          <ac:chgData name="Andreas Koksrud" userId="9d9beba6-c052-407a-8599-c781a677a996" providerId="ADAL" clId="{267904F6-164A-446F-8964-DA69B112867B}" dt="2024-09-03T15:37:55.323" v="3293" actId="1035"/>
          <ac:picMkLst>
            <pc:docMk/>
            <pc:sldMk cId="1412894186" sldId="1045"/>
            <ac:picMk id="32" creationId="{D403346A-4711-FCCB-54D6-854E0EFB5641}"/>
          </ac:picMkLst>
        </pc:picChg>
        <pc:picChg chg="add mod">
          <ac:chgData name="Andreas Koksrud" userId="9d9beba6-c052-407a-8599-c781a677a996" providerId="ADAL" clId="{267904F6-164A-446F-8964-DA69B112867B}" dt="2024-09-03T15:33:55.776" v="3234" actId="14100"/>
          <ac:picMkLst>
            <pc:docMk/>
            <pc:sldMk cId="1412894186" sldId="1045"/>
            <ac:picMk id="40" creationId="{19ED2AF1-B2F5-0EE1-3C29-A2C403C88407}"/>
          </ac:picMkLst>
        </pc:picChg>
        <pc:picChg chg="add mod">
          <ac:chgData name="Andreas Koksrud" userId="9d9beba6-c052-407a-8599-c781a677a996" providerId="ADAL" clId="{267904F6-164A-446F-8964-DA69B112867B}" dt="2024-09-04T11:56:38.284" v="5828" actId="1076"/>
          <ac:picMkLst>
            <pc:docMk/>
            <pc:sldMk cId="1412894186" sldId="1045"/>
            <ac:picMk id="46" creationId="{D2A8875C-4212-DA16-7237-B314D2DDACFA}"/>
          </ac:picMkLst>
        </pc:picChg>
        <pc:picChg chg="add mod">
          <ac:chgData name="Andreas Koksrud" userId="9d9beba6-c052-407a-8599-c781a677a996" providerId="ADAL" clId="{267904F6-164A-446F-8964-DA69B112867B}" dt="2024-09-03T15:36:19.192" v="3250" actId="1076"/>
          <ac:picMkLst>
            <pc:docMk/>
            <pc:sldMk cId="1412894186" sldId="1045"/>
            <ac:picMk id="49" creationId="{C11A4833-644F-48ED-DC54-A2C17B31AD15}"/>
          </ac:picMkLst>
        </pc:picChg>
        <pc:cxnChg chg="del">
          <ac:chgData name="Andreas Koksrud" userId="9d9beba6-c052-407a-8599-c781a677a996" providerId="ADAL" clId="{267904F6-164A-446F-8964-DA69B112867B}" dt="2024-09-03T14:47:06.967" v="2405" actId="478"/>
          <ac:cxnSpMkLst>
            <pc:docMk/>
            <pc:sldMk cId="1412894186" sldId="1045"/>
            <ac:cxnSpMk id="5" creationId="{9F32EF8B-D942-C23F-43FB-BCB3ADEBE100}"/>
          </ac:cxnSpMkLst>
        </pc:cxnChg>
        <pc:cxnChg chg="del">
          <ac:chgData name="Andreas Koksrud" userId="9d9beba6-c052-407a-8599-c781a677a996" providerId="ADAL" clId="{267904F6-164A-446F-8964-DA69B112867B}" dt="2024-09-03T14:47:04.608" v="2403" actId="478"/>
          <ac:cxnSpMkLst>
            <pc:docMk/>
            <pc:sldMk cId="1412894186" sldId="1045"/>
            <ac:cxnSpMk id="8" creationId="{DB8069F1-7B58-AE34-8A01-D60A5ADB97ED}"/>
          </ac:cxnSpMkLst>
        </pc:cxnChg>
        <pc:cxnChg chg="mod ord">
          <ac:chgData name="Andreas Koksrud" userId="9d9beba6-c052-407a-8599-c781a677a996" providerId="ADAL" clId="{267904F6-164A-446F-8964-DA69B112867B}" dt="2024-09-03T14:57:18.359" v="3213" actId="1076"/>
          <ac:cxnSpMkLst>
            <pc:docMk/>
            <pc:sldMk cId="1412894186" sldId="1045"/>
            <ac:cxnSpMk id="14" creationId="{FD37C567-66E8-B223-3CDF-32ACDFB03A55}"/>
          </ac:cxnSpMkLst>
        </pc:cxnChg>
        <pc:cxnChg chg="add mod">
          <ac:chgData name="Andreas Koksrud" userId="9d9beba6-c052-407a-8599-c781a677a996" providerId="ADAL" clId="{267904F6-164A-446F-8964-DA69B112867B}" dt="2024-09-03T14:57:18.359" v="3213" actId="1076"/>
          <ac:cxnSpMkLst>
            <pc:docMk/>
            <pc:sldMk cId="1412894186" sldId="1045"/>
            <ac:cxnSpMk id="18" creationId="{55979E7A-7A41-3CA5-0A5E-315CDBE9D32E}"/>
          </ac:cxnSpMkLst>
        </pc:cxnChg>
        <pc:cxnChg chg="add mod">
          <ac:chgData name="Andreas Koksrud" userId="9d9beba6-c052-407a-8599-c781a677a996" providerId="ADAL" clId="{267904F6-164A-446F-8964-DA69B112867B}" dt="2024-09-03T15:34:20.907" v="3236" actId="14100"/>
          <ac:cxnSpMkLst>
            <pc:docMk/>
            <pc:sldMk cId="1412894186" sldId="1045"/>
            <ac:cxnSpMk id="25" creationId="{386FFBE2-89E3-4FF9-5840-24D7BDBA3B9A}"/>
          </ac:cxnSpMkLst>
        </pc:cxnChg>
        <pc:cxnChg chg="del">
          <ac:chgData name="Andreas Koksrud" userId="9d9beba6-c052-407a-8599-c781a677a996" providerId="ADAL" clId="{267904F6-164A-446F-8964-DA69B112867B}" dt="2024-09-03T14:47:05.767" v="2404" actId="478"/>
          <ac:cxnSpMkLst>
            <pc:docMk/>
            <pc:sldMk cId="1412894186" sldId="1045"/>
            <ac:cxnSpMk id="27" creationId="{8E85B74E-B8E4-6C62-5221-572C72C4BA6D}"/>
          </ac:cxnSpMkLst>
        </pc:cxnChg>
        <pc:cxnChg chg="add mod">
          <ac:chgData name="Andreas Koksrud" userId="9d9beba6-c052-407a-8599-c781a677a996" providerId="ADAL" clId="{267904F6-164A-446F-8964-DA69B112867B}" dt="2024-09-03T15:38:05.094" v="3295" actId="14100"/>
          <ac:cxnSpMkLst>
            <pc:docMk/>
            <pc:sldMk cId="1412894186" sldId="1045"/>
            <ac:cxnSpMk id="33" creationId="{BB620CAA-6921-0C91-67D0-927C84A2380B}"/>
          </ac:cxnSpMkLst>
        </pc:cxnChg>
        <pc:cxnChg chg="add mod">
          <ac:chgData name="Andreas Koksrud" userId="9d9beba6-c052-407a-8599-c781a677a996" providerId="ADAL" clId="{267904F6-164A-446F-8964-DA69B112867B}" dt="2024-09-04T11:56:29.477" v="5827" actId="14100"/>
          <ac:cxnSpMkLst>
            <pc:docMk/>
            <pc:sldMk cId="1412894186" sldId="1045"/>
            <ac:cxnSpMk id="37" creationId="{05D9458F-2075-2F1E-E375-5E9E6AE804E8}"/>
          </ac:cxnSpMkLst>
        </pc:cxnChg>
        <pc:cxnChg chg="add mod">
          <ac:chgData name="Andreas Koksrud" userId="9d9beba6-c052-407a-8599-c781a677a996" providerId="ADAL" clId="{267904F6-164A-446F-8964-DA69B112867B}" dt="2024-09-03T15:34:37.656" v="3240" actId="14100"/>
          <ac:cxnSpMkLst>
            <pc:docMk/>
            <pc:sldMk cId="1412894186" sldId="1045"/>
            <ac:cxnSpMk id="43" creationId="{EA948263-E154-EC92-D905-9E8199BE019D}"/>
          </ac:cxnSpMkLst>
        </pc:cxnChg>
        <pc:cxnChg chg="add mod">
          <ac:chgData name="Andreas Koksrud" userId="9d9beba6-c052-407a-8599-c781a677a996" providerId="ADAL" clId="{267904F6-164A-446F-8964-DA69B112867B}" dt="2024-09-03T15:36:26.663" v="3252" actId="14100"/>
          <ac:cxnSpMkLst>
            <pc:docMk/>
            <pc:sldMk cId="1412894186" sldId="1045"/>
            <ac:cxnSpMk id="50" creationId="{FC875C6D-E8E3-00F1-F830-2F2E5089C3AE}"/>
          </ac:cxnSpMkLst>
        </pc:cxnChg>
        <pc:cxnChg chg="add mod">
          <ac:chgData name="Andreas Koksrud" userId="9d9beba6-c052-407a-8599-c781a677a996" providerId="ADAL" clId="{267904F6-164A-446F-8964-DA69B112867B}" dt="2024-09-03T15:38:01.102" v="3294" actId="14100"/>
          <ac:cxnSpMkLst>
            <pc:docMk/>
            <pc:sldMk cId="1412894186" sldId="1045"/>
            <ac:cxnSpMk id="52" creationId="{06635C0D-5A95-0F55-0316-DEAC8E0EC968}"/>
          </ac:cxnSpMkLst>
        </pc:cxnChg>
      </pc:sldChg>
      <pc:sldChg chg="addSp delSp modSp add mod">
        <pc:chgData name="Andreas Koksrud" userId="9d9beba6-c052-407a-8599-c781a677a996" providerId="ADAL" clId="{267904F6-164A-446F-8964-DA69B112867B}" dt="2024-09-29T18:18:56.391" v="16398"/>
        <pc:sldMkLst>
          <pc:docMk/>
          <pc:sldMk cId="1071966877" sldId="1046"/>
        </pc:sldMkLst>
        <pc:spChg chg="del mod">
          <ac:chgData name="Andreas Koksrud" userId="9d9beba6-c052-407a-8599-c781a677a996" providerId="ADAL" clId="{267904F6-164A-446F-8964-DA69B112867B}" dt="2024-09-03T16:46:39.364" v="4150" actId="478"/>
          <ac:spMkLst>
            <pc:docMk/>
            <pc:sldMk cId="1071966877" sldId="1046"/>
            <ac:spMk id="3" creationId="{4384A2C6-F54D-1D3E-DDA3-6DBF926AB954}"/>
          </ac:spMkLst>
        </pc:spChg>
        <pc:spChg chg="add mod">
          <ac:chgData name="Andreas Koksrud" userId="9d9beba6-c052-407a-8599-c781a677a996" providerId="ADAL" clId="{267904F6-164A-446F-8964-DA69B112867B}" dt="2024-09-06T13:00:57.565" v="6695" actId="20577"/>
          <ac:spMkLst>
            <pc:docMk/>
            <pc:sldMk cId="1071966877" sldId="1046"/>
            <ac:spMk id="5" creationId="{505A3283-4B3C-5923-55E0-B286F3132295}"/>
          </ac:spMkLst>
        </pc:spChg>
        <pc:spChg chg="add mod ord">
          <ac:chgData name="Andreas Koksrud" userId="9d9beba6-c052-407a-8599-c781a677a996" providerId="ADAL" clId="{267904F6-164A-446F-8964-DA69B112867B}" dt="2024-09-21T15:30:10.212" v="12804" actId="167"/>
          <ac:spMkLst>
            <pc:docMk/>
            <pc:sldMk cId="1071966877" sldId="1046"/>
            <ac:spMk id="6" creationId="{AD93A1DB-7485-E1FF-28C9-17222A32C989}"/>
          </ac:spMkLst>
        </pc:spChg>
        <pc:spChg chg="add mod">
          <ac:chgData name="Andreas Koksrud" userId="9d9beba6-c052-407a-8599-c781a677a996" providerId="ADAL" clId="{267904F6-164A-446F-8964-DA69B112867B}" dt="2024-09-03T16:26:34.908" v="4141" actId="404"/>
          <ac:spMkLst>
            <pc:docMk/>
            <pc:sldMk cId="1071966877" sldId="1046"/>
            <ac:spMk id="7" creationId="{5B000B3B-FCE9-A97B-F593-0ED993A20E4E}"/>
          </ac:spMkLst>
        </pc:spChg>
        <pc:spChg chg="add mod">
          <ac:chgData name="Andreas Koksrud" userId="9d9beba6-c052-407a-8599-c781a677a996" providerId="ADAL" clId="{267904F6-164A-446F-8964-DA69B112867B}" dt="2024-09-21T15:29:06.672" v="12803" actId="1076"/>
          <ac:spMkLst>
            <pc:docMk/>
            <pc:sldMk cId="1071966877" sldId="1046"/>
            <ac:spMk id="10" creationId="{79E5B35D-E1D0-AF2B-C4D5-15ABCC757B50}"/>
          </ac:spMkLst>
        </pc:spChg>
        <pc:spChg chg="add mod">
          <ac:chgData name="Andreas Koksrud" userId="9d9beba6-c052-407a-8599-c781a677a996" providerId="ADAL" clId="{267904F6-164A-446F-8964-DA69B112867B}" dt="2024-09-03T16:26:41.322" v="4142" actId="14100"/>
          <ac:spMkLst>
            <pc:docMk/>
            <pc:sldMk cId="1071966877" sldId="1046"/>
            <ac:spMk id="17" creationId="{7F8AC2AD-8600-B7F9-3405-13B3F8A43182}"/>
          </ac:spMkLst>
        </pc:spChg>
        <pc:spChg chg="add mod">
          <ac:chgData name="Andreas Koksrud" userId="9d9beba6-c052-407a-8599-c781a677a996" providerId="ADAL" clId="{267904F6-164A-446F-8964-DA69B112867B}" dt="2024-09-03T16:26:28.950" v="4138" actId="404"/>
          <ac:spMkLst>
            <pc:docMk/>
            <pc:sldMk cId="1071966877" sldId="1046"/>
            <ac:spMk id="22" creationId="{B1D87E0E-E163-136C-50EF-3353BEB5CE4F}"/>
          </ac:spMkLst>
        </pc:spChg>
        <pc:spChg chg="add mod">
          <ac:chgData name="Andreas Koksrud" userId="9d9beba6-c052-407a-8599-c781a677a996" providerId="ADAL" clId="{267904F6-164A-446F-8964-DA69B112867B}" dt="2024-09-05T09:05:47.223" v="5950" actId="1036"/>
          <ac:spMkLst>
            <pc:docMk/>
            <pc:sldMk cId="1071966877" sldId="1046"/>
            <ac:spMk id="34" creationId="{3A1CF6D8-F588-D165-D9CC-BB832925A285}"/>
          </ac:spMkLst>
        </pc:spChg>
        <pc:spChg chg="mod">
          <ac:chgData name="Andreas Koksrud" userId="9d9beba6-c052-407a-8599-c781a677a996" providerId="ADAL" clId="{267904F6-164A-446F-8964-DA69B112867B}" dt="2024-09-03T15:47:47.504" v="3692" actId="20577"/>
          <ac:spMkLst>
            <pc:docMk/>
            <pc:sldMk cId="1071966877" sldId="1046"/>
            <ac:spMk id="180" creationId="{00000000-0000-0000-0000-000000000000}"/>
          </ac:spMkLst>
        </pc:spChg>
        <pc:picChg chg="add mod">
          <ac:chgData name="Andreas Koksrud" userId="9d9beba6-c052-407a-8599-c781a677a996" providerId="ADAL" clId="{267904F6-164A-446F-8964-DA69B112867B}" dt="2024-09-29T18:18:56.391" v="16398"/>
          <ac:picMkLst>
            <pc:docMk/>
            <pc:sldMk cId="1071966877" sldId="1046"/>
            <ac:picMk id="11" creationId="{8B33903B-1A6B-0112-870F-40C71E364DE7}"/>
          </ac:picMkLst>
        </pc:picChg>
        <pc:cxnChg chg="add mod">
          <ac:chgData name="Andreas Koksrud" userId="9d9beba6-c052-407a-8599-c781a677a996" providerId="ADAL" clId="{267904F6-164A-446F-8964-DA69B112867B}" dt="2024-09-03T16:26:34.908" v="4141" actId="404"/>
          <ac:cxnSpMkLst>
            <pc:docMk/>
            <pc:sldMk cId="1071966877" sldId="1046"/>
            <ac:cxnSpMk id="8" creationId="{C56B8C0F-8251-B32F-FD76-3702DE57A20E}"/>
          </ac:cxnSpMkLst>
        </pc:cxnChg>
        <pc:cxnChg chg="del mod">
          <ac:chgData name="Andreas Koksrud" userId="9d9beba6-c052-407a-8599-c781a677a996" providerId="ADAL" clId="{267904F6-164A-446F-8964-DA69B112867B}" dt="2024-09-06T13:01:11.437" v="6696" actId="478"/>
          <ac:cxnSpMkLst>
            <pc:docMk/>
            <pc:sldMk cId="1071966877" sldId="1046"/>
            <ac:cxnSpMk id="14" creationId="{FD37C567-66E8-B223-3CDF-32ACDFB03A55}"/>
          </ac:cxnSpMkLst>
        </pc:cxnChg>
        <pc:cxnChg chg="del">
          <ac:chgData name="Andreas Koksrud" userId="9d9beba6-c052-407a-8599-c781a677a996" providerId="ADAL" clId="{267904F6-164A-446F-8964-DA69B112867B}" dt="2024-09-03T15:47:54.529" v="3693" actId="478"/>
          <ac:cxnSpMkLst>
            <pc:docMk/>
            <pc:sldMk cId="1071966877" sldId="1046"/>
            <ac:cxnSpMk id="16" creationId="{9E75C817-DD11-B346-3724-DC4188327E15}"/>
          </ac:cxnSpMkLst>
        </pc:cxnChg>
        <pc:cxnChg chg="add mod">
          <ac:chgData name="Andreas Koksrud" userId="9d9beba6-c052-407a-8599-c781a677a996" providerId="ADAL" clId="{267904F6-164A-446F-8964-DA69B112867B}" dt="2024-09-03T16:26:45.648" v="4143" actId="14100"/>
          <ac:cxnSpMkLst>
            <pc:docMk/>
            <pc:sldMk cId="1071966877" sldId="1046"/>
            <ac:cxnSpMk id="18" creationId="{BA53B13F-2011-F361-A43A-57F25857EE40}"/>
          </ac:cxnSpMkLst>
        </pc:cxnChg>
        <pc:cxnChg chg="add mod">
          <ac:chgData name="Andreas Koksrud" userId="9d9beba6-c052-407a-8599-c781a677a996" providerId="ADAL" clId="{267904F6-164A-446F-8964-DA69B112867B}" dt="2024-09-03T16:26:51.818" v="4144" actId="14100"/>
          <ac:cxnSpMkLst>
            <pc:docMk/>
            <pc:sldMk cId="1071966877" sldId="1046"/>
            <ac:cxnSpMk id="23" creationId="{46A09FA6-BCCB-EDB1-B325-44655456F0C1}"/>
          </ac:cxnSpMkLst>
        </pc:cxnChg>
        <pc:cxnChg chg="add mod">
          <ac:chgData name="Andreas Koksrud" userId="9d9beba6-c052-407a-8599-c781a677a996" providerId="ADAL" clId="{267904F6-164A-446F-8964-DA69B112867B}" dt="2024-09-03T16:49:25.055" v="4216" actId="14100"/>
          <ac:cxnSpMkLst>
            <pc:docMk/>
            <pc:sldMk cId="1071966877" sldId="1046"/>
            <ac:cxnSpMk id="33" creationId="{3958A235-3EEF-4DDB-4BCF-C190247EEBD8}"/>
          </ac:cxnSpMkLst>
        </pc:cxnChg>
      </pc:sldChg>
      <pc:sldChg chg="addSp delSp modSp mod">
        <pc:chgData name="Andreas Koksrud" userId="9d9beba6-c052-407a-8599-c781a677a996" providerId="ADAL" clId="{267904F6-164A-446F-8964-DA69B112867B}" dt="2024-09-29T18:19:07.841" v="16406"/>
        <pc:sldMkLst>
          <pc:docMk/>
          <pc:sldMk cId="1859925297" sldId="1048"/>
        </pc:sldMkLst>
        <pc:spChg chg="add mod">
          <ac:chgData name="Andreas Koksrud" userId="9d9beba6-c052-407a-8599-c781a677a996" providerId="ADAL" clId="{267904F6-164A-446F-8964-DA69B112867B}" dt="2024-09-08T18:59:39.079" v="9807" actId="1076"/>
          <ac:spMkLst>
            <pc:docMk/>
            <pc:sldMk cId="1859925297" sldId="1048"/>
            <ac:spMk id="3" creationId="{399173B7-40FD-7F7A-F789-BFACFFEC1D06}"/>
          </ac:spMkLst>
        </pc:spChg>
        <pc:spChg chg="add mod">
          <ac:chgData name="Andreas Koksrud" userId="9d9beba6-c052-407a-8599-c781a677a996" providerId="ADAL" clId="{267904F6-164A-446F-8964-DA69B112867B}" dt="2024-09-21T15:22:30.375" v="12743" actId="1076"/>
          <ac:spMkLst>
            <pc:docMk/>
            <pc:sldMk cId="1859925297" sldId="1048"/>
            <ac:spMk id="3" creationId="{DB0CB2E5-785D-2702-E3E0-92F5E4C12572}"/>
          </ac:spMkLst>
        </pc:spChg>
        <pc:spChg chg="add del mod">
          <ac:chgData name="Andreas Koksrud" userId="9d9beba6-c052-407a-8599-c781a677a996" providerId="ADAL" clId="{267904F6-164A-446F-8964-DA69B112867B}" dt="2024-09-08T19:03:23.129" v="9859" actId="478"/>
          <ac:spMkLst>
            <pc:docMk/>
            <pc:sldMk cId="1859925297" sldId="1048"/>
            <ac:spMk id="4" creationId="{A3652986-3593-F979-F2D4-9A21F4F1ABE0}"/>
          </ac:spMkLst>
        </pc:spChg>
        <pc:spChg chg="mod">
          <ac:chgData name="Andreas Koksrud" userId="9d9beba6-c052-407a-8599-c781a677a996" providerId="ADAL" clId="{267904F6-164A-446F-8964-DA69B112867B}" dt="2024-09-08T19:08:37.423" v="9962" actId="20577"/>
          <ac:spMkLst>
            <pc:docMk/>
            <pc:sldMk cId="1859925297" sldId="1048"/>
            <ac:spMk id="5" creationId="{B369A2B1-F9F4-366B-0FB5-12E0EEA13082}"/>
          </ac:spMkLst>
        </pc:spChg>
        <pc:spChg chg="add mod">
          <ac:chgData name="Andreas Koksrud" userId="9d9beba6-c052-407a-8599-c781a677a996" providerId="ADAL" clId="{267904F6-164A-446F-8964-DA69B112867B}" dt="2024-09-08T19:08:19.438" v="9886" actId="1035"/>
          <ac:spMkLst>
            <pc:docMk/>
            <pc:sldMk cId="1859925297" sldId="1048"/>
            <ac:spMk id="6" creationId="{1116CFCC-250F-B283-1E1D-50EBEDB62315}"/>
          </ac:spMkLst>
        </pc:spChg>
        <pc:spChg chg="mod">
          <ac:chgData name="Andreas Koksrud" userId="9d9beba6-c052-407a-8599-c781a677a996" providerId="ADAL" clId="{267904F6-164A-446F-8964-DA69B112867B}" dt="2024-09-08T19:08:19.438" v="9886" actId="1035"/>
          <ac:spMkLst>
            <pc:docMk/>
            <pc:sldMk cId="1859925297" sldId="1048"/>
            <ac:spMk id="11" creationId="{C721C041-8862-0D84-2115-A62F64AE6AC1}"/>
          </ac:spMkLst>
        </pc:spChg>
        <pc:picChg chg="add mod">
          <ac:chgData name="Andreas Koksrud" userId="9d9beba6-c052-407a-8599-c781a677a996" providerId="ADAL" clId="{267904F6-164A-446F-8964-DA69B112867B}" dt="2024-09-29T18:19:07.841" v="16406"/>
          <ac:picMkLst>
            <pc:docMk/>
            <pc:sldMk cId="1859925297" sldId="1048"/>
            <ac:picMk id="4" creationId="{33D1FD94-B4D3-7515-3502-E36902FDE08D}"/>
          </ac:picMkLst>
        </pc:picChg>
        <pc:picChg chg="add del">
          <ac:chgData name="Andreas Koksrud" userId="9d9beba6-c052-407a-8599-c781a677a996" providerId="ADAL" clId="{267904F6-164A-446F-8964-DA69B112867B}" dt="2024-09-08T18:59:44.451" v="9809" actId="478"/>
          <ac:picMkLst>
            <pc:docMk/>
            <pc:sldMk cId="1859925297" sldId="1048"/>
            <ac:picMk id="13" creationId="{53C9511D-2F85-6991-19B8-A5A4B5622953}"/>
          </ac:picMkLst>
        </pc:picChg>
      </pc:sldChg>
      <pc:sldChg chg="del">
        <pc:chgData name="Andreas Koksrud" userId="9d9beba6-c052-407a-8599-c781a677a996" providerId="ADAL" clId="{267904F6-164A-446F-8964-DA69B112867B}" dt="2024-09-05T09:03:25.947" v="5946" actId="47"/>
        <pc:sldMkLst>
          <pc:docMk/>
          <pc:sldMk cId="3806701195" sldId="1049"/>
        </pc:sldMkLst>
      </pc:sldChg>
      <pc:sldChg chg="addSp delSp modSp mod">
        <pc:chgData name="Andreas Koksrud" userId="9d9beba6-c052-407a-8599-c781a677a996" providerId="ADAL" clId="{267904F6-164A-446F-8964-DA69B112867B}" dt="2024-09-29T18:18:47.503" v="16393"/>
        <pc:sldMkLst>
          <pc:docMk/>
          <pc:sldMk cId="1831509774" sldId="1050"/>
        </pc:sldMkLst>
        <pc:spChg chg="mod">
          <ac:chgData name="Andreas Koksrud" userId="9d9beba6-c052-407a-8599-c781a677a996" providerId="ADAL" clId="{267904F6-164A-446F-8964-DA69B112867B}" dt="2024-09-29T18:17:22.515" v="16369"/>
          <ac:spMkLst>
            <pc:docMk/>
            <pc:sldMk cId="1831509774" sldId="1050"/>
            <ac:spMk id="4" creationId="{C9FF8FE2-F07B-41C2-BAF8-C948892DF32C}"/>
          </ac:spMkLst>
        </pc:spChg>
        <pc:spChg chg="add mod">
          <ac:chgData name="Andreas Koksrud" userId="9d9beba6-c052-407a-8599-c781a677a996" providerId="ADAL" clId="{267904F6-164A-446F-8964-DA69B112867B}" dt="2024-09-22T07:33:57.690" v="12881" actId="207"/>
          <ac:spMkLst>
            <pc:docMk/>
            <pc:sldMk cId="1831509774" sldId="1050"/>
            <ac:spMk id="5" creationId="{DB9859C5-7A42-F7A5-C318-B658FEC60126}"/>
          </ac:spMkLst>
        </pc:spChg>
        <pc:spChg chg="mod">
          <ac:chgData name="Andreas Koksrud" userId="9d9beba6-c052-407a-8599-c781a677a996" providerId="ADAL" clId="{267904F6-164A-446F-8964-DA69B112867B}" dt="2024-09-22T07:50:43.282" v="13138" actId="20577"/>
          <ac:spMkLst>
            <pc:docMk/>
            <pc:sldMk cId="1831509774" sldId="1050"/>
            <ac:spMk id="11" creationId="{62FA55CE-01F5-4692-0488-ACAD670507AE}"/>
          </ac:spMkLst>
        </pc:spChg>
        <pc:picChg chg="add mod">
          <ac:chgData name="Andreas Koksrud" userId="9d9beba6-c052-407a-8599-c781a677a996" providerId="ADAL" clId="{267904F6-164A-446F-8964-DA69B112867B}" dt="2024-09-29T18:18:47.503" v="16393"/>
          <ac:picMkLst>
            <pc:docMk/>
            <pc:sldMk cId="1831509774" sldId="1050"/>
            <ac:picMk id="3" creationId="{183C9310-ECCE-95C6-3968-E99EF31D5A70}"/>
          </ac:picMkLst>
        </pc:picChg>
        <pc:picChg chg="add mod ord">
          <ac:chgData name="Andreas Koksrud" userId="9d9beba6-c052-407a-8599-c781a677a996" providerId="ADAL" clId="{267904F6-164A-446F-8964-DA69B112867B}" dt="2024-09-22T07:49:58.825" v="13120" actId="167"/>
          <ac:picMkLst>
            <pc:docMk/>
            <pc:sldMk cId="1831509774" sldId="1050"/>
            <ac:picMk id="15" creationId="{6099BE34-2F60-01F8-796C-55FF2B9CA296}"/>
          </ac:picMkLst>
        </pc:picChg>
        <pc:picChg chg="del mod">
          <ac:chgData name="Andreas Koksrud" userId="9d9beba6-c052-407a-8599-c781a677a996" providerId="ADAL" clId="{267904F6-164A-446F-8964-DA69B112867B}" dt="2024-09-22T07:49:46.459" v="13116" actId="478"/>
          <ac:picMkLst>
            <pc:docMk/>
            <pc:sldMk cId="1831509774" sldId="1050"/>
            <ac:picMk id="19" creationId="{B812BEAF-A7EB-25FB-A2E9-03119B97C9B7}"/>
          </ac:picMkLst>
        </pc:picChg>
        <pc:picChg chg="mod">
          <ac:chgData name="Andreas Koksrud" userId="9d9beba6-c052-407a-8599-c781a677a996" providerId="ADAL" clId="{267904F6-164A-446F-8964-DA69B112867B}" dt="2024-09-05T09:45:54.468" v="5993" actId="14826"/>
          <ac:picMkLst>
            <pc:docMk/>
            <pc:sldMk cId="1831509774" sldId="1050"/>
            <ac:picMk id="30" creationId="{D3C53F3A-43B7-D508-BD7D-97CDDE563CC7}"/>
          </ac:picMkLst>
        </pc:picChg>
        <pc:cxnChg chg="add mod">
          <ac:chgData name="Andreas Koksrud" userId="9d9beba6-c052-407a-8599-c781a677a996" providerId="ADAL" clId="{267904F6-164A-446F-8964-DA69B112867B}" dt="2024-09-22T07:34:08.498" v="12884" actId="14100"/>
          <ac:cxnSpMkLst>
            <pc:docMk/>
            <pc:sldMk cId="1831509774" sldId="1050"/>
            <ac:cxnSpMk id="6" creationId="{E7EFC139-0E04-5F77-CC59-97E398884238}"/>
          </ac:cxnSpMkLst>
        </pc:cxnChg>
        <pc:cxnChg chg="del">
          <ac:chgData name="Andreas Koksrud" userId="9d9beba6-c052-407a-8599-c781a677a996" providerId="ADAL" clId="{267904F6-164A-446F-8964-DA69B112867B}" dt="2024-09-22T07:50:20.918" v="13123" actId="478"/>
          <ac:cxnSpMkLst>
            <pc:docMk/>
            <pc:sldMk cId="1831509774" sldId="1050"/>
            <ac:cxnSpMk id="7" creationId="{5F3CDCDE-890D-BC1A-4E92-246088DBAD25}"/>
          </ac:cxnSpMkLst>
        </pc:cxnChg>
        <pc:cxnChg chg="mod">
          <ac:chgData name="Andreas Koksrud" userId="9d9beba6-c052-407a-8599-c781a677a996" providerId="ADAL" clId="{267904F6-164A-446F-8964-DA69B112867B}" dt="2024-09-22T07:50:13.743" v="13122" actId="14100"/>
          <ac:cxnSpMkLst>
            <pc:docMk/>
            <pc:sldMk cId="1831509774" sldId="1050"/>
            <ac:cxnSpMk id="13" creationId="{BB4F7C16-274D-0BC5-9FFE-1330F6DF4FA9}"/>
          </ac:cxnSpMkLst>
        </pc:cxnChg>
      </pc:sldChg>
      <pc:sldChg chg="addSp modSp add mod">
        <pc:chgData name="Andreas Koksrud" userId="9d9beba6-c052-407a-8599-c781a677a996" providerId="ADAL" clId="{267904F6-164A-446F-8964-DA69B112867B}" dt="2024-09-29T18:18:32.873" v="16378"/>
        <pc:sldMkLst>
          <pc:docMk/>
          <pc:sldMk cId="3034514062" sldId="1051"/>
        </pc:sldMkLst>
        <pc:spChg chg="mod">
          <ac:chgData name="Andreas Koksrud" userId="9d9beba6-c052-407a-8599-c781a677a996" providerId="ADAL" clId="{267904F6-164A-446F-8964-DA69B112867B}" dt="2024-09-29T18:17:22.515" v="16369"/>
          <ac:spMkLst>
            <pc:docMk/>
            <pc:sldMk cId="3034514062" sldId="1051"/>
            <ac:spMk id="3" creationId="{AEB67DE2-4419-6A35-1303-4FFA243B08DC}"/>
          </ac:spMkLst>
        </pc:spChg>
        <pc:spChg chg="add mod">
          <ac:chgData name="Andreas Koksrud" userId="9d9beba6-c052-407a-8599-c781a677a996" providerId="ADAL" clId="{267904F6-164A-446F-8964-DA69B112867B}" dt="2024-09-22T08:47:44.486" v="13220" actId="14100"/>
          <ac:spMkLst>
            <pc:docMk/>
            <pc:sldMk cId="3034514062" sldId="1051"/>
            <ac:spMk id="4" creationId="{AD8D309C-B635-4A3A-47DA-F4ABD1FF2F50}"/>
          </ac:spMkLst>
        </pc:spChg>
        <pc:spChg chg="mod">
          <ac:chgData name="Andreas Koksrud" userId="9d9beba6-c052-407a-8599-c781a677a996" providerId="ADAL" clId="{267904F6-164A-446F-8964-DA69B112867B}" dt="2024-09-22T08:47:27.705" v="13217" actId="20577"/>
          <ac:spMkLst>
            <pc:docMk/>
            <pc:sldMk cId="3034514062" sldId="1051"/>
            <ac:spMk id="181" creationId="{00000000-0000-0000-0000-000000000000}"/>
          </ac:spMkLst>
        </pc:spChg>
        <pc:picChg chg="add mod modCrop">
          <ac:chgData name="Andreas Koksrud" userId="9d9beba6-c052-407a-8599-c781a677a996" providerId="ADAL" clId="{267904F6-164A-446F-8964-DA69B112867B}" dt="2024-09-08T19:39:38.974" v="10690" actId="1076"/>
          <ac:picMkLst>
            <pc:docMk/>
            <pc:sldMk cId="3034514062" sldId="1051"/>
            <ac:picMk id="5" creationId="{1EB56045-D552-C39C-BC16-522D78705856}"/>
          </ac:picMkLst>
        </pc:picChg>
        <pc:picChg chg="add mod">
          <ac:chgData name="Andreas Koksrud" userId="9d9beba6-c052-407a-8599-c781a677a996" providerId="ADAL" clId="{267904F6-164A-446F-8964-DA69B112867B}" dt="2024-09-05T10:43:24.834" v="6310" actId="1076"/>
          <ac:picMkLst>
            <pc:docMk/>
            <pc:sldMk cId="3034514062" sldId="1051"/>
            <ac:picMk id="6" creationId="{8E40799D-55D1-83E4-AAF8-1B2DF4238B46}"/>
          </ac:picMkLst>
        </pc:picChg>
        <pc:picChg chg="mod">
          <ac:chgData name="Andreas Koksrud" userId="9d9beba6-c052-407a-8599-c781a677a996" providerId="ADAL" clId="{267904F6-164A-446F-8964-DA69B112867B}" dt="2024-09-08T19:39:42.291" v="10691" actId="1076"/>
          <ac:picMkLst>
            <pc:docMk/>
            <pc:sldMk cId="3034514062" sldId="1051"/>
            <ac:picMk id="7" creationId="{01814438-6CC5-9FBA-B2FD-A8D2FB1DA1CF}"/>
          </ac:picMkLst>
        </pc:picChg>
        <pc:picChg chg="add mod">
          <ac:chgData name="Andreas Koksrud" userId="9d9beba6-c052-407a-8599-c781a677a996" providerId="ADAL" clId="{267904F6-164A-446F-8964-DA69B112867B}" dt="2024-09-29T18:18:32.873" v="16378"/>
          <ac:picMkLst>
            <pc:docMk/>
            <pc:sldMk cId="3034514062" sldId="1051"/>
            <ac:picMk id="8" creationId="{7421EF8C-F0FB-094E-1CEA-AEF20E2C4397}"/>
          </ac:picMkLst>
        </pc:picChg>
        <pc:picChg chg="mod">
          <ac:chgData name="Andreas Koksrud" userId="9d9beba6-c052-407a-8599-c781a677a996" providerId="ADAL" clId="{267904F6-164A-446F-8964-DA69B112867B}" dt="2024-09-22T08:47:22.794" v="13214" actId="1076"/>
          <ac:picMkLst>
            <pc:docMk/>
            <pc:sldMk cId="3034514062" sldId="1051"/>
            <ac:picMk id="9" creationId="{9396002D-3E4B-63C0-EF9D-E090B4EFCA34}"/>
          </ac:picMkLst>
        </pc:picChg>
        <pc:cxnChg chg="add mod">
          <ac:chgData name="Andreas Koksrud" userId="9d9beba6-c052-407a-8599-c781a677a996" providerId="ADAL" clId="{267904F6-164A-446F-8964-DA69B112867B}" dt="2024-09-22T08:48:00.868" v="13225" actId="14100"/>
          <ac:cxnSpMkLst>
            <pc:docMk/>
            <pc:sldMk cId="3034514062" sldId="1051"/>
            <ac:cxnSpMk id="6" creationId="{1874E492-5F54-2590-99CA-D546913A21AD}"/>
          </ac:cxnSpMkLst>
        </pc:cxnChg>
      </pc:sldChg>
      <pc:sldChg chg="addSp delSp modSp add mod">
        <pc:chgData name="Andreas Koksrud" userId="9d9beba6-c052-407a-8599-c781a677a996" providerId="ADAL" clId="{267904F6-164A-446F-8964-DA69B112867B}" dt="2024-09-29T18:18:32.057" v="16377"/>
        <pc:sldMkLst>
          <pc:docMk/>
          <pc:sldMk cId="3025200122" sldId="1052"/>
        </pc:sldMkLst>
        <pc:spChg chg="mod">
          <ac:chgData name="Andreas Koksrud" userId="9d9beba6-c052-407a-8599-c781a677a996" providerId="ADAL" clId="{267904F6-164A-446F-8964-DA69B112867B}" dt="2024-09-29T18:17:22.515" v="16369"/>
          <ac:spMkLst>
            <pc:docMk/>
            <pc:sldMk cId="3025200122" sldId="1052"/>
            <ac:spMk id="3" creationId="{AEB67DE2-4419-6A35-1303-4FFA243B08DC}"/>
          </ac:spMkLst>
        </pc:spChg>
        <pc:spChg chg="mod">
          <ac:chgData name="Andreas Koksrud" userId="9d9beba6-c052-407a-8599-c781a677a996" providerId="ADAL" clId="{267904F6-164A-446F-8964-DA69B112867B}" dt="2024-09-05T10:54:50.263" v="6368" actId="20577"/>
          <ac:spMkLst>
            <pc:docMk/>
            <pc:sldMk cId="3025200122" sldId="1052"/>
            <ac:spMk id="180" creationId="{00000000-0000-0000-0000-000000000000}"/>
          </ac:spMkLst>
        </pc:spChg>
        <pc:spChg chg="mod">
          <ac:chgData name="Andreas Koksrud" userId="9d9beba6-c052-407a-8599-c781a677a996" providerId="ADAL" clId="{267904F6-164A-446F-8964-DA69B112867B}" dt="2024-09-05T10:55:20.520" v="6428" actId="20577"/>
          <ac:spMkLst>
            <pc:docMk/>
            <pc:sldMk cId="3025200122" sldId="1052"/>
            <ac:spMk id="181" creationId="{00000000-0000-0000-0000-000000000000}"/>
          </ac:spMkLst>
        </pc:spChg>
        <pc:picChg chg="add mod">
          <ac:chgData name="Andreas Koksrud" userId="9d9beba6-c052-407a-8599-c781a677a996" providerId="ADAL" clId="{267904F6-164A-446F-8964-DA69B112867B}" dt="2024-09-29T18:18:32.057" v="16377"/>
          <ac:picMkLst>
            <pc:docMk/>
            <pc:sldMk cId="3025200122" sldId="1052"/>
            <ac:picMk id="4" creationId="{797F9295-4F55-930A-BC22-4877EED00514}"/>
          </ac:picMkLst>
        </pc:picChg>
        <pc:picChg chg="del">
          <ac:chgData name="Andreas Koksrud" userId="9d9beba6-c052-407a-8599-c781a677a996" providerId="ADAL" clId="{267904F6-164A-446F-8964-DA69B112867B}" dt="2024-09-05T10:54:52.105" v="6369" actId="478"/>
          <ac:picMkLst>
            <pc:docMk/>
            <pc:sldMk cId="3025200122" sldId="1052"/>
            <ac:picMk id="5" creationId="{53587A43-55F7-A37C-8C73-E5F4128EB575}"/>
          </ac:picMkLst>
        </pc:picChg>
        <pc:picChg chg="del">
          <ac:chgData name="Andreas Koksrud" userId="9d9beba6-c052-407a-8599-c781a677a996" providerId="ADAL" clId="{267904F6-164A-446F-8964-DA69B112867B}" dt="2024-09-05T10:54:53.484" v="6370" actId="478"/>
          <ac:picMkLst>
            <pc:docMk/>
            <pc:sldMk cId="3025200122" sldId="1052"/>
            <ac:picMk id="8" creationId="{92279F5A-4E6F-EFB7-4788-CA1620B9D12E}"/>
          </ac:picMkLst>
        </pc:picChg>
        <pc:picChg chg="del">
          <ac:chgData name="Andreas Koksrud" userId="9d9beba6-c052-407a-8599-c781a677a996" providerId="ADAL" clId="{267904F6-164A-446F-8964-DA69B112867B}" dt="2024-09-05T10:54:55.965" v="6372" actId="478"/>
          <ac:picMkLst>
            <pc:docMk/>
            <pc:sldMk cId="3025200122" sldId="1052"/>
            <ac:picMk id="10" creationId="{91622DA3-D276-A522-617F-0451B4F8D0AA}"/>
          </ac:picMkLst>
        </pc:picChg>
        <pc:cxnChg chg="del">
          <ac:chgData name="Andreas Koksrud" userId="9d9beba6-c052-407a-8599-c781a677a996" providerId="ADAL" clId="{267904F6-164A-446F-8964-DA69B112867B}" dt="2024-09-05T10:54:56.794" v="6373" actId="478"/>
          <ac:cxnSpMkLst>
            <pc:docMk/>
            <pc:sldMk cId="3025200122" sldId="1052"/>
            <ac:cxnSpMk id="11" creationId="{F10A3689-ECA2-84E9-2EC4-DA7ED94BFB4D}"/>
          </ac:cxnSpMkLst>
        </pc:cxnChg>
      </pc:sldChg>
      <pc:sldChg chg="addSp delSp modSp add mod ord">
        <pc:chgData name="Andreas Koksrud" userId="9d9beba6-c052-407a-8599-c781a677a996" providerId="ADAL" clId="{267904F6-164A-446F-8964-DA69B112867B}" dt="2024-09-29T18:18:41.730" v="16388"/>
        <pc:sldMkLst>
          <pc:docMk/>
          <pc:sldMk cId="1271568684" sldId="1053"/>
        </pc:sldMkLst>
        <pc:spChg chg="mod">
          <ac:chgData name="Andreas Koksrud" userId="9d9beba6-c052-407a-8599-c781a677a996" providerId="ADAL" clId="{267904F6-164A-446F-8964-DA69B112867B}" dt="2024-09-29T18:17:22.515" v="16369"/>
          <ac:spMkLst>
            <pc:docMk/>
            <pc:sldMk cId="1271568684" sldId="1053"/>
            <ac:spMk id="3" creationId="{AEB67DE2-4419-6A35-1303-4FFA243B08DC}"/>
          </ac:spMkLst>
        </pc:spChg>
        <pc:spChg chg="add mod">
          <ac:chgData name="Andreas Koksrud" userId="9d9beba6-c052-407a-8599-c781a677a996" providerId="ADAL" clId="{267904F6-164A-446F-8964-DA69B112867B}" dt="2024-09-13T12:28:22.252" v="12292" actId="207"/>
          <ac:spMkLst>
            <pc:docMk/>
            <pc:sldMk cId="1271568684" sldId="1053"/>
            <ac:spMk id="4" creationId="{5EE2890B-EE37-9696-CD4B-EF2CA9206A12}"/>
          </ac:spMkLst>
        </pc:spChg>
        <pc:spChg chg="del">
          <ac:chgData name="Andreas Koksrud" userId="9d9beba6-c052-407a-8599-c781a677a996" providerId="ADAL" clId="{267904F6-164A-446F-8964-DA69B112867B}" dt="2024-09-06T16:28:59.262" v="7492" actId="478"/>
          <ac:spMkLst>
            <pc:docMk/>
            <pc:sldMk cId="1271568684" sldId="1053"/>
            <ac:spMk id="8" creationId="{7892CC6C-10D9-5ECE-C3A1-96F012209A53}"/>
          </ac:spMkLst>
        </pc:spChg>
        <pc:spChg chg="mod">
          <ac:chgData name="Andreas Koksrud" userId="9d9beba6-c052-407a-8599-c781a677a996" providerId="ADAL" clId="{267904F6-164A-446F-8964-DA69B112867B}" dt="2024-09-06T16:30:46.050" v="7849" actId="6549"/>
          <ac:spMkLst>
            <pc:docMk/>
            <pc:sldMk cId="1271568684" sldId="1053"/>
            <ac:spMk id="181" creationId="{00000000-0000-0000-0000-000000000000}"/>
          </ac:spMkLst>
        </pc:spChg>
        <pc:picChg chg="add mod">
          <ac:chgData name="Andreas Koksrud" userId="9d9beba6-c052-407a-8599-c781a677a996" providerId="ADAL" clId="{267904F6-164A-446F-8964-DA69B112867B}" dt="2024-09-29T18:18:41.730" v="16388"/>
          <ac:picMkLst>
            <pc:docMk/>
            <pc:sldMk cId="1271568684" sldId="1053"/>
            <ac:picMk id="5" creationId="{2F38E87C-F6C0-0E02-DD8B-9741EBB2555F}"/>
          </ac:picMkLst>
        </pc:picChg>
        <pc:picChg chg="del">
          <ac:chgData name="Andreas Koksrud" userId="9d9beba6-c052-407a-8599-c781a677a996" providerId="ADAL" clId="{267904F6-164A-446F-8964-DA69B112867B}" dt="2024-09-06T16:29:00.159" v="7493" actId="478"/>
          <ac:picMkLst>
            <pc:docMk/>
            <pc:sldMk cId="1271568684" sldId="1053"/>
            <ac:picMk id="5" creationId="{8E08E3BB-3F46-7C5B-D65A-CD4480E7AB03}"/>
          </ac:picMkLst>
        </pc:picChg>
        <pc:picChg chg="add mod">
          <ac:chgData name="Andreas Koksrud" userId="9d9beba6-c052-407a-8599-c781a677a996" providerId="ADAL" clId="{267904F6-164A-446F-8964-DA69B112867B}" dt="2024-09-06T16:27:38.313" v="7399" actId="14100"/>
          <ac:picMkLst>
            <pc:docMk/>
            <pc:sldMk cId="1271568684" sldId="1053"/>
            <ac:picMk id="7" creationId="{15A75A7D-C767-FAB7-0CD7-C310C06ADF88}"/>
          </ac:picMkLst>
        </pc:picChg>
        <pc:picChg chg="del">
          <ac:chgData name="Andreas Koksrud" userId="9d9beba6-c052-407a-8599-c781a677a996" providerId="ADAL" clId="{267904F6-164A-446F-8964-DA69B112867B}" dt="2024-09-06T16:27:20.043" v="7396" actId="478"/>
          <ac:picMkLst>
            <pc:docMk/>
            <pc:sldMk cId="1271568684" sldId="1053"/>
            <ac:picMk id="9" creationId="{77793A74-87B2-A42F-37E8-1AC87507715D}"/>
          </ac:picMkLst>
        </pc:picChg>
        <pc:picChg chg="add mod">
          <ac:chgData name="Andreas Koksrud" userId="9d9beba6-c052-407a-8599-c781a677a996" providerId="ADAL" clId="{267904F6-164A-446F-8964-DA69B112867B}" dt="2024-09-06T16:29:11.646" v="7498" actId="14100"/>
          <ac:picMkLst>
            <pc:docMk/>
            <pc:sldMk cId="1271568684" sldId="1053"/>
            <ac:picMk id="11" creationId="{A64BBD0B-8216-880E-E9B5-34BA34406013}"/>
          </ac:picMkLst>
        </pc:picChg>
        <pc:cxnChg chg="del">
          <ac:chgData name="Andreas Koksrud" userId="9d9beba6-c052-407a-8599-c781a677a996" providerId="ADAL" clId="{267904F6-164A-446F-8964-DA69B112867B}" dt="2024-09-06T16:29:01.291" v="7494" actId="478"/>
          <ac:cxnSpMkLst>
            <pc:docMk/>
            <pc:sldMk cId="1271568684" sldId="1053"/>
            <ac:cxnSpMk id="6" creationId="{482643EE-BA40-FB6A-4124-675B29B17B36}"/>
          </ac:cxnSpMkLst>
        </pc:cxnChg>
      </pc:sldChg>
      <pc:sldChg chg="addSp delSp modSp add mod">
        <pc:chgData name="Andreas Koksrud" userId="9d9beba6-c052-407a-8599-c781a677a996" providerId="ADAL" clId="{267904F6-164A-446F-8964-DA69B112867B}" dt="2024-09-29T18:18:39.232" v="16385"/>
        <pc:sldMkLst>
          <pc:docMk/>
          <pc:sldMk cId="1889327200" sldId="1054"/>
        </pc:sldMkLst>
        <pc:spChg chg="mod">
          <ac:chgData name="Andreas Koksrud" userId="9d9beba6-c052-407a-8599-c781a677a996" providerId="ADAL" clId="{267904F6-164A-446F-8964-DA69B112867B}" dt="2024-09-29T18:17:47.635" v="16371" actId="14100"/>
          <ac:spMkLst>
            <pc:docMk/>
            <pc:sldMk cId="1889327200" sldId="1054"/>
            <ac:spMk id="2" creationId="{0E0A0551-72DF-0801-B2A0-F36EBAA01C31}"/>
          </ac:spMkLst>
        </pc:spChg>
        <pc:spChg chg="mod">
          <ac:chgData name="Andreas Koksrud" userId="9d9beba6-c052-407a-8599-c781a677a996" providerId="ADAL" clId="{267904F6-164A-446F-8964-DA69B112867B}" dt="2024-09-29T18:17:47.635" v="16371" actId="14100"/>
          <ac:spMkLst>
            <pc:docMk/>
            <pc:sldMk cId="1889327200" sldId="1054"/>
            <ac:spMk id="3" creationId="{AEB67DE2-4419-6A35-1303-4FFA243B08DC}"/>
          </ac:spMkLst>
        </pc:spChg>
        <pc:spChg chg="add del mod">
          <ac:chgData name="Andreas Koksrud" userId="9d9beba6-c052-407a-8599-c781a677a996" providerId="ADAL" clId="{267904F6-164A-446F-8964-DA69B112867B}" dt="2024-09-06T16:49:44.065" v="8441" actId="478"/>
          <ac:spMkLst>
            <pc:docMk/>
            <pc:sldMk cId="1889327200" sldId="1054"/>
            <ac:spMk id="5" creationId="{B168C98D-BE2C-6819-4BAD-2569CDDA318B}"/>
          </ac:spMkLst>
        </pc:spChg>
        <pc:spChg chg="mod">
          <ac:chgData name="Andreas Koksrud" userId="9d9beba6-c052-407a-8599-c781a677a996" providerId="ADAL" clId="{267904F6-164A-446F-8964-DA69B112867B}" dt="2024-09-29T18:17:47.635" v="16371" actId="14100"/>
          <ac:spMkLst>
            <pc:docMk/>
            <pc:sldMk cId="1889327200" sldId="1054"/>
            <ac:spMk id="8" creationId="{180A10C2-5446-4BB5-9DDF-263CA9F4DC00}"/>
          </ac:spMkLst>
        </pc:spChg>
        <pc:spChg chg="del mod">
          <ac:chgData name="Andreas Koksrud" userId="9d9beba6-c052-407a-8599-c781a677a996" providerId="ADAL" clId="{267904F6-164A-446F-8964-DA69B112867B}" dt="2024-09-06T16:59:37.066" v="8767" actId="21"/>
          <ac:spMkLst>
            <pc:docMk/>
            <pc:sldMk cId="1889327200" sldId="1054"/>
            <ac:spMk id="16" creationId="{339188E5-37DB-E3A5-28A7-48951F65FD19}"/>
          </ac:spMkLst>
        </pc:spChg>
        <pc:spChg chg="mod">
          <ac:chgData name="Andreas Koksrud" userId="9d9beba6-c052-407a-8599-c781a677a996" providerId="ADAL" clId="{267904F6-164A-446F-8964-DA69B112867B}" dt="2024-09-29T18:17:53.020" v="16373" actId="14100"/>
          <ac:spMkLst>
            <pc:docMk/>
            <pc:sldMk cId="1889327200" sldId="1054"/>
            <ac:spMk id="27" creationId="{0C9B3328-F0DF-A0EE-C007-2C5C8B84351B}"/>
          </ac:spMkLst>
        </pc:spChg>
        <pc:spChg chg="mod">
          <ac:chgData name="Andreas Koksrud" userId="9d9beba6-c052-407a-8599-c781a677a996" providerId="ADAL" clId="{267904F6-164A-446F-8964-DA69B112867B}" dt="2024-09-29T18:17:50.883" v="16372" actId="14100"/>
          <ac:spMkLst>
            <pc:docMk/>
            <pc:sldMk cId="1889327200" sldId="1054"/>
            <ac:spMk id="34" creationId="{617DB6D2-8B05-D6A3-90A9-E9984734374A}"/>
          </ac:spMkLst>
        </pc:spChg>
        <pc:spChg chg="del">
          <ac:chgData name="Andreas Koksrud" userId="9d9beba6-c052-407a-8599-c781a677a996" providerId="ADAL" clId="{267904F6-164A-446F-8964-DA69B112867B}" dt="2024-09-13T12:34:15.499" v="12293" actId="478"/>
          <ac:spMkLst>
            <pc:docMk/>
            <pc:sldMk cId="1889327200" sldId="1054"/>
            <ac:spMk id="45" creationId="{E5833D1F-15B4-6430-5672-D5B1B843F725}"/>
          </ac:spMkLst>
        </pc:spChg>
        <pc:spChg chg="mod">
          <ac:chgData name="Andreas Koksrud" userId="9d9beba6-c052-407a-8599-c781a677a996" providerId="ADAL" clId="{267904F6-164A-446F-8964-DA69B112867B}" dt="2024-09-29T18:17:47.635" v="16371" actId="14100"/>
          <ac:spMkLst>
            <pc:docMk/>
            <pc:sldMk cId="1889327200" sldId="1054"/>
            <ac:spMk id="124" creationId="{84E04E4E-021A-44EA-A21F-D749783987DC}"/>
          </ac:spMkLst>
        </pc:spChg>
        <pc:spChg chg="mod">
          <ac:chgData name="Andreas Koksrud" userId="9d9beba6-c052-407a-8599-c781a677a996" providerId="ADAL" clId="{267904F6-164A-446F-8964-DA69B112867B}" dt="2024-09-29T18:17:47.635" v="16371" actId="14100"/>
          <ac:spMkLst>
            <pc:docMk/>
            <pc:sldMk cId="1889327200" sldId="1054"/>
            <ac:spMk id="180" creationId="{00000000-0000-0000-0000-000000000000}"/>
          </ac:spMkLst>
        </pc:spChg>
        <pc:spChg chg="del">
          <ac:chgData name="Andreas Koksrud" userId="9d9beba6-c052-407a-8599-c781a677a996" providerId="ADAL" clId="{267904F6-164A-446F-8964-DA69B112867B}" dt="2024-09-06T16:49:42.350" v="8440" actId="478"/>
          <ac:spMkLst>
            <pc:docMk/>
            <pc:sldMk cId="1889327200" sldId="1054"/>
            <ac:spMk id="181" creationId="{00000000-0000-0000-0000-000000000000}"/>
          </ac:spMkLst>
        </pc:spChg>
        <pc:picChg chg="add mod">
          <ac:chgData name="Andreas Koksrud" userId="9d9beba6-c052-407a-8599-c781a677a996" providerId="ADAL" clId="{267904F6-164A-446F-8964-DA69B112867B}" dt="2024-09-29T18:17:47.635" v="16371" actId="14100"/>
          <ac:picMkLst>
            <pc:docMk/>
            <pc:sldMk cId="1889327200" sldId="1054"/>
            <ac:picMk id="5" creationId="{1024A109-9523-56FA-9534-DF59249F5040}"/>
          </ac:picMkLst>
        </pc:picChg>
        <pc:picChg chg="del">
          <ac:chgData name="Andreas Koksrud" userId="9d9beba6-c052-407a-8599-c781a677a996" providerId="ADAL" clId="{267904F6-164A-446F-8964-DA69B112867B}" dt="2024-09-06T16:57:13.183" v="8731" actId="21"/>
          <ac:picMkLst>
            <pc:docMk/>
            <pc:sldMk cId="1889327200" sldId="1054"/>
            <ac:picMk id="6" creationId="{EF18B9E3-EE15-0B6E-F5BA-008BEC839C3B}"/>
          </ac:picMkLst>
        </pc:picChg>
        <pc:picChg chg="del">
          <ac:chgData name="Andreas Koksrud" userId="9d9beba6-c052-407a-8599-c781a677a996" providerId="ADAL" clId="{267904F6-164A-446F-8964-DA69B112867B}" dt="2024-09-06T16:54:36.881" v="8686" actId="478"/>
          <ac:picMkLst>
            <pc:docMk/>
            <pc:sldMk cId="1889327200" sldId="1054"/>
            <ac:picMk id="7" creationId="{C63D7110-FA0E-436F-E3D5-9D6E5FE0A859}"/>
          </ac:picMkLst>
        </pc:picChg>
        <pc:picChg chg="mod">
          <ac:chgData name="Andreas Koksrud" userId="9d9beba6-c052-407a-8599-c781a677a996" providerId="ADAL" clId="{267904F6-164A-446F-8964-DA69B112867B}" dt="2024-09-29T18:17:47.635" v="16371" actId="14100"/>
          <ac:picMkLst>
            <pc:docMk/>
            <pc:sldMk cId="1889327200" sldId="1054"/>
            <ac:picMk id="7" creationId="{DAC0C2CC-95F0-1CFF-260C-BD6D830D7B4E}"/>
          </ac:picMkLst>
        </pc:picChg>
        <pc:picChg chg="del">
          <ac:chgData name="Andreas Koksrud" userId="9d9beba6-c052-407a-8599-c781a677a996" providerId="ADAL" clId="{267904F6-164A-446F-8964-DA69B112867B}" dt="2024-09-06T16:49:45.088" v="8442" actId="478"/>
          <ac:picMkLst>
            <pc:docMk/>
            <pc:sldMk cId="1889327200" sldId="1054"/>
            <ac:picMk id="9" creationId="{FBC5D1D5-EE2A-FF7F-1A15-68B97DAC226C}"/>
          </ac:picMkLst>
        </pc:picChg>
        <pc:picChg chg="add mod">
          <ac:chgData name="Andreas Koksrud" userId="9d9beba6-c052-407a-8599-c781a677a996" providerId="ADAL" clId="{267904F6-164A-446F-8964-DA69B112867B}" dt="2024-09-29T18:17:47.635" v="16371" actId="14100"/>
          <ac:picMkLst>
            <pc:docMk/>
            <pc:sldMk cId="1889327200" sldId="1054"/>
            <ac:picMk id="10" creationId="{9673614F-FED5-9875-838D-F1B119CC0DF4}"/>
          </ac:picMkLst>
        </pc:picChg>
        <pc:picChg chg="del">
          <ac:chgData name="Andreas Koksrud" userId="9d9beba6-c052-407a-8599-c781a677a996" providerId="ADAL" clId="{267904F6-164A-446F-8964-DA69B112867B}" dt="2024-09-06T16:49:48.704" v="8444" actId="478"/>
          <ac:picMkLst>
            <pc:docMk/>
            <pc:sldMk cId="1889327200" sldId="1054"/>
            <ac:picMk id="11" creationId="{99A820F8-B40A-29AB-B982-A12968B999C7}"/>
          </ac:picMkLst>
        </pc:picChg>
        <pc:picChg chg="add del mod">
          <ac:chgData name="Andreas Koksrud" userId="9d9beba6-c052-407a-8599-c781a677a996" providerId="ADAL" clId="{267904F6-164A-446F-8964-DA69B112867B}" dt="2024-09-06T16:51:02.226" v="8613" actId="478"/>
          <ac:picMkLst>
            <pc:docMk/>
            <pc:sldMk cId="1889327200" sldId="1054"/>
            <ac:picMk id="12" creationId="{3A8E25DF-32FF-0B79-E34A-3E943C41E418}"/>
          </ac:picMkLst>
        </pc:picChg>
        <pc:picChg chg="mod">
          <ac:chgData name="Andreas Koksrud" userId="9d9beba6-c052-407a-8599-c781a677a996" providerId="ADAL" clId="{267904F6-164A-446F-8964-DA69B112867B}" dt="2024-09-29T18:17:47.635" v="16371" actId="14100"/>
          <ac:picMkLst>
            <pc:docMk/>
            <pc:sldMk cId="1889327200" sldId="1054"/>
            <ac:picMk id="12" creationId="{E294D77F-E1BA-D1C5-A7B9-CFEE5B6E282E}"/>
          </ac:picMkLst>
        </pc:picChg>
        <pc:picChg chg="add mod">
          <ac:chgData name="Andreas Koksrud" userId="9d9beba6-c052-407a-8599-c781a677a996" providerId="ADAL" clId="{267904F6-164A-446F-8964-DA69B112867B}" dt="2024-09-29T18:17:47.635" v="16371" actId="14100"/>
          <ac:picMkLst>
            <pc:docMk/>
            <pc:sldMk cId="1889327200" sldId="1054"/>
            <ac:picMk id="13" creationId="{2807E262-921A-3A0B-45A8-C9CDBA27C453}"/>
          </ac:picMkLst>
        </pc:picChg>
        <pc:picChg chg="del">
          <ac:chgData name="Andreas Koksrud" userId="9d9beba6-c052-407a-8599-c781a677a996" providerId="ADAL" clId="{267904F6-164A-446F-8964-DA69B112867B}" dt="2024-09-06T16:49:50.213" v="8446" actId="478"/>
          <ac:picMkLst>
            <pc:docMk/>
            <pc:sldMk cId="1889327200" sldId="1054"/>
            <ac:picMk id="13" creationId="{8DF7784F-972E-3BA0-2C60-1BFA5D0EA0A1}"/>
          </ac:picMkLst>
        </pc:picChg>
        <pc:picChg chg="add mod">
          <ac:chgData name="Andreas Koksrud" userId="9d9beba6-c052-407a-8599-c781a677a996" providerId="ADAL" clId="{267904F6-164A-446F-8964-DA69B112867B}" dt="2024-09-29T18:18:39.232" v="16385"/>
          <ac:picMkLst>
            <pc:docMk/>
            <pc:sldMk cId="1889327200" sldId="1054"/>
            <ac:picMk id="15" creationId="{5BA09165-4E49-AEA7-CA2E-B36AD1B1AD51}"/>
          </ac:picMkLst>
        </pc:picChg>
        <pc:picChg chg="mod">
          <ac:chgData name="Andreas Koksrud" userId="9d9beba6-c052-407a-8599-c781a677a996" providerId="ADAL" clId="{267904F6-164A-446F-8964-DA69B112867B}" dt="2024-09-29T18:17:47.635" v="16371" actId="14100"/>
          <ac:picMkLst>
            <pc:docMk/>
            <pc:sldMk cId="1889327200" sldId="1054"/>
            <ac:picMk id="16" creationId="{D23964F5-9FDA-6D8F-CFB6-38CF808E6A6E}"/>
          </ac:picMkLst>
        </pc:picChg>
        <pc:picChg chg="add mod">
          <ac:chgData name="Andreas Koksrud" userId="9d9beba6-c052-407a-8599-c781a677a996" providerId="ADAL" clId="{267904F6-164A-446F-8964-DA69B112867B}" dt="2024-09-06T16:51:15.534" v="8616" actId="14100"/>
          <ac:picMkLst>
            <pc:docMk/>
            <pc:sldMk cId="1889327200" sldId="1054"/>
            <ac:picMk id="18" creationId="{5B65EF07-8702-2063-3EEE-EE320B7392D9}"/>
          </ac:picMkLst>
        </pc:picChg>
        <pc:picChg chg="add mod">
          <ac:chgData name="Andreas Koksrud" userId="9d9beba6-c052-407a-8599-c781a677a996" providerId="ADAL" clId="{267904F6-164A-446F-8964-DA69B112867B}" dt="2024-09-06T16:52:14.269" v="8675" actId="1036"/>
          <ac:picMkLst>
            <pc:docMk/>
            <pc:sldMk cId="1889327200" sldId="1054"/>
            <ac:picMk id="21" creationId="{324E2652-051B-56CE-12F3-F14AA05300F6}"/>
          </ac:picMkLst>
        </pc:picChg>
        <pc:picChg chg="del mod modCrop">
          <ac:chgData name="Andreas Koksrud" userId="9d9beba6-c052-407a-8599-c781a677a996" providerId="ADAL" clId="{267904F6-164A-446F-8964-DA69B112867B}" dt="2024-09-08T19:31:57.283" v="10487" actId="478"/>
          <ac:picMkLst>
            <pc:docMk/>
            <pc:sldMk cId="1889327200" sldId="1054"/>
            <ac:picMk id="23" creationId="{33C6A604-8365-0882-2B7E-E85112E602BD}"/>
          </ac:picMkLst>
        </pc:picChg>
        <pc:picChg chg="del mod">
          <ac:chgData name="Andreas Koksrud" userId="9d9beba6-c052-407a-8599-c781a677a996" providerId="ADAL" clId="{267904F6-164A-446F-8964-DA69B112867B}" dt="2024-09-08T19:32:25.644" v="10490" actId="478"/>
          <ac:picMkLst>
            <pc:docMk/>
            <pc:sldMk cId="1889327200" sldId="1054"/>
            <ac:picMk id="25" creationId="{CBC3E091-9CF8-AAF6-C94B-380CA6C310B8}"/>
          </ac:picMkLst>
        </pc:picChg>
        <pc:picChg chg="add mod">
          <ac:chgData name="Andreas Koksrud" userId="9d9beba6-c052-407a-8599-c781a677a996" providerId="ADAL" clId="{267904F6-164A-446F-8964-DA69B112867B}" dt="2024-09-06T16:54:41.194" v="8688" actId="1076"/>
          <ac:picMkLst>
            <pc:docMk/>
            <pc:sldMk cId="1889327200" sldId="1054"/>
            <ac:picMk id="28" creationId="{42E58959-E430-7E9F-4E80-9E7E6B038EDB}"/>
          </ac:picMkLst>
        </pc:picChg>
        <pc:picChg chg="add mod">
          <ac:chgData name="Andreas Koksrud" userId="9d9beba6-c052-407a-8599-c781a677a996" providerId="ADAL" clId="{267904F6-164A-446F-8964-DA69B112867B}" dt="2024-09-06T16:54:51.500" v="8692" actId="14100"/>
          <ac:picMkLst>
            <pc:docMk/>
            <pc:sldMk cId="1889327200" sldId="1054"/>
            <ac:picMk id="30" creationId="{68DCB281-78BE-DF2B-09FB-7E179EBE0D1B}"/>
          </ac:picMkLst>
        </pc:picChg>
        <pc:picChg chg="del">
          <ac:chgData name="Andreas Koksrud" userId="9d9beba6-c052-407a-8599-c781a677a996" providerId="ADAL" clId="{267904F6-164A-446F-8964-DA69B112867B}" dt="2024-09-08T19:33:36.627" v="10495" actId="478"/>
          <ac:picMkLst>
            <pc:docMk/>
            <pc:sldMk cId="1889327200" sldId="1054"/>
            <ac:picMk id="31" creationId="{811BC6EE-60C1-CD93-28BE-147099B16A09}"/>
          </ac:picMkLst>
        </pc:picChg>
        <pc:picChg chg="add mod">
          <ac:chgData name="Andreas Koksrud" userId="9d9beba6-c052-407a-8599-c781a677a996" providerId="ADAL" clId="{267904F6-164A-446F-8964-DA69B112867B}" dt="2024-09-06T16:54:57.752" v="8695" actId="1076"/>
          <ac:picMkLst>
            <pc:docMk/>
            <pc:sldMk cId="1889327200" sldId="1054"/>
            <ac:picMk id="32" creationId="{731DB840-02A2-25A8-E5A1-FC0597D3F275}"/>
          </ac:picMkLst>
        </pc:picChg>
        <pc:picChg chg="add mod">
          <ac:chgData name="Andreas Koksrud" userId="9d9beba6-c052-407a-8599-c781a677a996" providerId="ADAL" clId="{267904F6-164A-446F-8964-DA69B112867B}" dt="2024-09-06T16:55:27.407" v="8701" actId="1076"/>
          <ac:picMkLst>
            <pc:docMk/>
            <pc:sldMk cId="1889327200" sldId="1054"/>
            <ac:picMk id="37" creationId="{A327B99C-8D46-E300-269C-0B795913628D}"/>
          </ac:picMkLst>
        </pc:picChg>
        <pc:picChg chg="del mod modCrop">
          <ac:chgData name="Andreas Koksrud" userId="9d9beba6-c052-407a-8599-c781a677a996" providerId="ADAL" clId="{267904F6-164A-446F-8964-DA69B112867B}" dt="2024-09-13T12:34:16.353" v="12294" actId="478"/>
          <ac:picMkLst>
            <pc:docMk/>
            <pc:sldMk cId="1889327200" sldId="1054"/>
            <ac:picMk id="48" creationId="{0E067FC7-D418-96C5-B894-EC54998E3E1E}"/>
          </ac:picMkLst>
        </pc:picChg>
        <pc:cxnChg chg="mod">
          <ac:chgData name="Andreas Koksrud" userId="9d9beba6-c052-407a-8599-c781a677a996" providerId="ADAL" clId="{267904F6-164A-446F-8964-DA69B112867B}" dt="2024-09-29T18:17:47.635" v="16371" actId="14100"/>
          <ac:cxnSpMkLst>
            <pc:docMk/>
            <pc:sldMk cId="1889327200" sldId="1054"/>
            <ac:cxnSpMk id="9" creationId="{8471E704-0263-1927-DFCA-B0F3AFD77F2B}"/>
          </ac:cxnSpMkLst>
        </pc:cxnChg>
        <pc:cxnChg chg="del">
          <ac:chgData name="Andreas Koksrud" userId="9d9beba6-c052-407a-8599-c781a677a996" providerId="ADAL" clId="{267904F6-164A-446F-8964-DA69B112867B}" dt="2024-09-06T16:49:49.586" v="8445" actId="478"/>
          <ac:cxnSpMkLst>
            <pc:docMk/>
            <pc:sldMk cId="1889327200" sldId="1054"/>
            <ac:cxnSpMk id="14" creationId="{0D9927B7-D7BB-21A9-F38E-6C0936B35AA2}"/>
          </ac:cxnSpMkLst>
        </pc:cxnChg>
        <pc:cxnChg chg="del mod ord">
          <ac:chgData name="Andreas Koksrud" userId="9d9beba6-c052-407a-8599-c781a677a996" providerId="ADAL" clId="{267904F6-164A-446F-8964-DA69B112867B}" dt="2024-09-06T17:07:00.874" v="9076" actId="21"/>
          <ac:cxnSpMkLst>
            <pc:docMk/>
            <pc:sldMk cId="1889327200" sldId="1054"/>
            <ac:cxnSpMk id="17" creationId="{A15BB1B1-9746-6BAC-ABEB-9FE39548A124}"/>
          </ac:cxnSpMkLst>
        </pc:cxnChg>
        <pc:cxnChg chg="add del mod">
          <ac:chgData name="Andreas Koksrud" userId="9d9beba6-c052-407a-8599-c781a677a996" providerId="ADAL" clId="{267904F6-164A-446F-8964-DA69B112867B}" dt="2024-09-06T16:51:47.310" v="8624" actId="478"/>
          <ac:cxnSpMkLst>
            <pc:docMk/>
            <pc:sldMk cId="1889327200" sldId="1054"/>
            <ac:cxnSpMk id="19" creationId="{08F613BA-8021-CF01-B53D-6AD138C08741}"/>
          </ac:cxnSpMkLst>
        </pc:cxnChg>
        <pc:cxnChg chg="add mod">
          <ac:chgData name="Andreas Koksrud" userId="9d9beba6-c052-407a-8599-c781a677a996" providerId="ADAL" clId="{267904F6-164A-446F-8964-DA69B112867B}" dt="2024-09-29T18:17:47.635" v="16371" actId="14100"/>
          <ac:cxnSpMkLst>
            <pc:docMk/>
            <pc:sldMk cId="1889327200" sldId="1054"/>
            <ac:cxnSpMk id="22" creationId="{29A75A74-57D3-4375-477D-3500D5E16FAF}"/>
          </ac:cxnSpMkLst>
        </pc:cxnChg>
        <pc:cxnChg chg="add mod ord">
          <ac:chgData name="Andreas Koksrud" userId="9d9beba6-c052-407a-8599-c781a677a996" providerId="ADAL" clId="{267904F6-164A-446F-8964-DA69B112867B}" dt="2024-09-29T18:17:47.635" v="16371" actId="14100"/>
          <ac:cxnSpMkLst>
            <pc:docMk/>
            <pc:sldMk cId="1889327200" sldId="1054"/>
            <ac:cxnSpMk id="33" creationId="{3FBE79D5-8528-2FF4-F59B-5C7B199048AE}"/>
          </ac:cxnSpMkLst>
        </pc:cxnChg>
        <pc:cxnChg chg="add mod">
          <ac:chgData name="Andreas Koksrud" userId="9d9beba6-c052-407a-8599-c781a677a996" providerId="ADAL" clId="{267904F6-164A-446F-8964-DA69B112867B}" dt="2024-09-06T16:55:10.093" v="8698" actId="571"/>
          <ac:cxnSpMkLst>
            <pc:docMk/>
            <pc:sldMk cId="1889327200" sldId="1054"/>
            <ac:cxnSpMk id="35" creationId="{5EE5554A-409A-358A-0280-12C62FCBAC88}"/>
          </ac:cxnSpMkLst>
        </pc:cxnChg>
        <pc:cxnChg chg="mod ord">
          <ac:chgData name="Andreas Koksrud" userId="9d9beba6-c052-407a-8599-c781a677a996" providerId="ADAL" clId="{267904F6-164A-446F-8964-DA69B112867B}" dt="2024-09-29T18:17:47.635" v="16371" actId="14100"/>
          <ac:cxnSpMkLst>
            <pc:docMk/>
            <pc:sldMk cId="1889327200" sldId="1054"/>
            <ac:cxnSpMk id="36" creationId="{FDBCBEF1-58A8-A812-8FB1-33E9D9F2292D}"/>
          </ac:cxnSpMkLst>
        </pc:cxnChg>
        <pc:cxnChg chg="del mod">
          <ac:chgData name="Andreas Koksrud" userId="9d9beba6-c052-407a-8599-c781a677a996" providerId="ADAL" clId="{267904F6-164A-446F-8964-DA69B112867B}" dt="2024-09-13T12:34:17.116" v="12295" actId="478"/>
          <ac:cxnSpMkLst>
            <pc:docMk/>
            <pc:sldMk cId="1889327200" sldId="1054"/>
            <ac:cxnSpMk id="49" creationId="{A7A5AFDE-8748-3A83-59C3-228AC0FEB725}"/>
          </ac:cxnSpMkLst>
        </pc:cxnChg>
      </pc:sldChg>
      <pc:sldChg chg="addSp delSp modSp add mod">
        <pc:chgData name="Andreas Koksrud" userId="9d9beba6-c052-407a-8599-c781a677a996" providerId="ADAL" clId="{267904F6-164A-446F-8964-DA69B112867B}" dt="2024-09-29T18:18:34.955" v="16380"/>
        <pc:sldMkLst>
          <pc:docMk/>
          <pc:sldMk cId="3079092685" sldId="1055"/>
        </pc:sldMkLst>
        <pc:spChg chg="mod">
          <ac:chgData name="Andreas Koksrud" userId="9d9beba6-c052-407a-8599-c781a677a996" providerId="ADAL" clId="{267904F6-164A-446F-8964-DA69B112867B}" dt="2024-09-29T18:17:22.515" v="16369"/>
          <ac:spMkLst>
            <pc:docMk/>
            <pc:sldMk cId="3079092685" sldId="1055"/>
            <ac:spMk id="3" creationId="{AEB67DE2-4419-6A35-1303-4FFA243B08DC}"/>
          </ac:spMkLst>
        </pc:spChg>
        <pc:spChg chg="mod">
          <ac:chgData name="Andreas Koksrud" userId="9d9beba6-c052-407a-8599-c781a677a996" providerId="ADAL" clId="{267904F6-164A-446F-8964-DA69B112867B}" dt="2024-09-29T18:18:07.437" v="16374" actId="14100"/>
          <ac:spMkLst>
            <pc:docMk/>
            <pc:sldMk cId="3079092685" sldId="1055"/>
            <ac:spMk id="6" creationId="{C9EDCB52-19F7-8070-2D0F-55F7ED455CD2}"/>
          </ac:spMkLst>
        </pc:spChg>
        <pc:spChg chg="add del mod">
          <ac:chgData name="Andreas Koksrud" userId="9d9beba6-c052-407a-8599-c781a677a996" providerId="ADAL" clId="{267904F6-164A-446F-8964-DA69B112867B}" dt="2024-09-06T17:19:43.037" v="9588" actId="478"/>
          <ac:spMkLst>
            <pc:docMk/>
            <pc:sldMk cId="3079092685" sldId="1055"/>
            <ac:spMk id="6" creationId="{F988AB12-186A-4A0E-7122-EF20ED278CAD}"/>
          </ac:spMkLst>
        </pc:spChg>
        <pc:spChg chg="add mod">
          <ac:chgData name="Andreas Koksrud" userId="9d9beba6-c052-407a-8599-c781a677a996" providerId="ADAL" clId="{267904F6-164A-446F-8964-DA69B112867B}" dt="2024-09-06T17:24:20.891" v="9800" actId="20577"/>
          <ac:spMkLst>
            <pc:docMk/>
            <pc:sldMk cId="3079092685" sldId="1055"/>
            <ac:spMk id="9" creationId="{B2DA24EF-7FF1-F9B1-988F-B7110363BB17}"/>
          </ac:spMkLst>
        </pc:spChg>
        <pc:spChg chg="mod">
          <ac:chgData name="Andreas Koksrud" userId="9d9beba6-c052-407a-8599-c781a677a996" providerId="ADAL" clId="{267904F6-164A-446F-8964-DA69B112867B}" dt="2024-09-06T17:19:48.639" v="9592" actId="1076"/>
          <ac:spMkLst>
            <pc:docMk/>
            <pc:sldMk cId="3079092685" sldId="1055"/>
            <ac:spMk id="12" creationId="{74572F38-352E-A823-A504-BB80697FDF0C}"/>
          </ac:spMkLst>
        </pc:spChg>
        <pc:spChg chg="add mod">
          <ac:chgData name="Andreas Koksrud" userId="9d9beba6-c052-407a-8599-c781a677a996" providerId="ADAL" clId="{267904F6-164A-446F-8964-DA69B112867B}" dt="2024-09-06T17:23:59.898" v="9743" actId="14100"/>
          <ac:spMkLst>
            <pc:docMk/>
            <pc:sldMk cId="3079092685" sldId="1055"/>
            <ac:spMk id="16" creationId="{C64D0783-B8E0-D7D9-EC7F-2B22B3E3C86B}"/>
          </ac:spMkLst>
        </pc:spChg>
        <pc:spChg chg="mod">
          <ac:chgData name="Andreas Koksrud" userId="9d9beba6-c052-407a-8599-c781a677a996" providerId="ADAL" clId="{267904F6-164A-446F-8964-DA69B112867B}" dt="2024-09-06T17:17:47.804" v="9515" actId="20577"/>
          <ac:spMkLst>
            <pc:docMk/>
            <pc:sldMk cId="3079092685" sldId="1055"/>
            <ac:spMk id="180" creationId="{00000000-0000-0000-0000-000000000000}"/>
          </ac:spMkLst>
        </pc:spChg>
        <pc:spChg chg="del">
          <ac:chgData name="Andreas Koksrud" userId="9d9beba6-c052-407a-8599-c781a677a996" providerId="ADAL" clId="{267904F6-164A-446F-8964-DA69B112867B}" dt="2024-09-06T17:19:41.047" v="9587" actId="478"/>
          <ac:spMkLst>
            <pc:docMk/>
            <pc:sldMk cId="3079092685" sldId="1055"/>
            <ac:spMk id="181" creationId="{00000000-0000-0000-0000-000000000000}"/>
          </ac:spMkLst>
        </pc:spChg>
        <pc:picChg chg="add mod">
          <ac:chgData name="Andreas Koksrud" userId="9d9beba6-c052-407a-8599-c781a677a996" providerId="ADAL" clId="{267904F6-164A-446F-8964-DA69B112867B}" dt="2024-09-29T18:18:34.955" v="16380"/>
          <ac:picMkLst>
            <pc:docMk/>
            <pc:sldMk cId="3079092685" sldId="1055"/>
            <ac:picMk id="4" creationId="{F3B72AE6-C504-7647-1004-6217844E5365}"/>
          </ac:picMkLst>
        </pc:picChg>
        <pc:picChg chg="del">
          <ac:chgData name="Andreas Koksrud" userId="9d9beba6-c052-407a-8599-c781a677a996" providerId="ADAL" clId="{267904F6-164A-446F-8964-DA69B112867B}" dt="2024-09-06T17:19:37.496" v="9586" actId="478"/>
          <ac:picMkLst>
            <pc:docMk/>
            <pc:sldMk cId="3079092685" sldId="1055"/>
            <ac:picMk id="5" creationId="{61EDD2F5-A2D3-410E-CADF-BD3DFEF9337B}"/>
          </ac:picMkLst>
        </pc:picChg>
        <pc:picChg chg="del">
          <ac:chgData name="Andreas Koksrud" userId="9d9beba6-c052-407a-8599-c781a677a996" providerId="ADAL" clId="{267904F6-164A-446F-8964-DA69B112867B}" dt="2024-09-06T17:19:46.137" v="9590" actId="478"/>
          <ac:picMkLst>
            <pc:docMk/>
            <pc:sldMk cId="3079092685" sldId="1055"/>
            <ac:picMk id="7" creationId="{4E9F689C-B396-F332-4BA8-A60166739F8D}"/>
          </ac:picMkLst>
        </pc:picChg>
        <pc:picChg chg="del">
          <ac:chgData name="Andreas Koksrud" userId="9d9beba6-c052-407a-8599-c781a677a996" providerId="ADAL" clId="{267904F6-164A-446F-8964-DA69B112867B}" dt="2024-09-06T17:19:46.988" v="9591" actId="478"/>
          <ac:picMkLst>
            <pc:docMk/>
            <pc:sldMk cId="3079092685" sldId="1055"/>
            <ac:picMk id="11" creationId="{7CF3E698-020D-8D36-80C7-1BD3A34B8737}"/>
          </ac:picMkLst>
        </pc:picChg>
        <pc:picChg chg="add mod">
          <ac:chgData name="Andreas Koksrud" userId="9d9beba6-c052-407a-8599-c781a677a996" providerId="ADAL" clId="{267904F6-164A-446F-8964-DA69B112867B}" dt="2024-09-06T17:23:12.716" v="9675" actId="1076"/>
          <ac:picMkLst>
            <pc:docMk/>
            <pc:sldMk cId="3079092685" sldId="1055"/>
            <ac:picMk id="13" creationId="{62F26CA1-1446-D9BF-C0CF-DCC7CB88467E}"/>
          </ac:picMkLst>
        </pc:picChg>
        <pc:picChg chg="add mod">
          <ac:chgData name="Andreas Koksrud" userId="9d9beba6-c052-407a-8599-c781a677a996" providerId="ADAL" clId="{267904F6-164A-446F-8964-DA69B112867B}" dt="2024-09-06T17:23:51.318" v="9741" actId="1076"/>
          <ac:picMkLst>
            <pc:docMk/>
            <pc:sldMk cId="3079092685" sldId="1055"/>
            <ac:picMk id="15" creationId="{33E2FC05-AA44-86A3-10A4-25A2660C8478}"/>
          </ac:picMkLst>
        </pc:picChg>
        <pc:picChg chg="add mod">
          <ac:chgData name="Andreas Koksrud" userId="9d9beba6-c052-407a-8599-c781a677a996" providerId="ADAL" clId="{267904F6-164A-446F-8964-DA69B112867B}" dt="2024-09-06T17:25:08.217" v="9803" actId="14100"/>
          <ac:picMkLst>
            <pc:docMk/>
            <pc:sldMk cId="3079092685" sldId="1055"/>
            <ac:picMk id="18" creationId="{48F101A1-3F10-9E90-AFAB-595E7E76A5B2}"/>
          </ac:picMkLst>
        </pc:picChg>
        <pc:cxnChg chg="mod">
          <ac:chgData name="Andreas Koksrud" userId="9d9beba6-c052-407a-8599-c781a677a996" providerId="ADAL" clId="{267904F6-164A-446F-8964-DA69B112867B}" dt="2024-09-06T17:19:45.225" v="9589" actId="1076"/>
          <ac:cxnSpMkLst>
            <pc:docMk/>
            <pc:sldMk cId="3079092685" sldId="1055"/>
            <ac:cxnSpMk id="8" creationId="{8F31DA23-1BAE-EAEC-6C79-03A0B4F56433}"/>
          </ac:cxnSpMkLst>
        </pc:cxnChg>
      </pc:sldChg>
      <pc:sldChg chg="addSp modSp mod">
        <pc:chgData name="Andreas Koksrud" userId="9d9beba6-c052-407a-8599-c781a677a996" providerId="ADAL" clId="{267904F6-164A-446F-8964-DA69B112867B}" dt="2024-09-29T18:18:37.600" v="16383"/>
        <pc:sldMkLst>
          <pc:docMk/>
          <pc:sldMk cId="3434126760" sldId="1056"/>
        </pc:sldMkLst>
        <pc:spChg chg="mod">
          <ac:chgData name="Andreas Koksrud" userId="9d9beba6-c052-407a-8599-c781a677a996" providerId="ADAL" clId="{267904F6-164A-446F-8964-DA69B112867B}" dt="2024-09-29T18:17:22.515" v="16369"/>
          <ac:spMkLst>
            <pc:docMk/>
            <pc:sldMk cId="3434126760" sldId="1056"/>
            <ac:spMk id="3" creationId="{AEB67DE2-4419-6A35-1303-4FFA243B08DC}"/>
          </ac:spMkLst>
        </pc:spChg>
        <pc:spChg chg="add mod">
          <ac:chgData name="Andreas Koksrud" userId="9d9beba6-c052-407a-8599-c781a677a996" providerId="ADAL" clId="{267904F6-164A-446F-8964-DA69B112867B}" dt="2024-09-13T12:41:04.872" v="12468" actId="13926"/>
          <ac:spMkLst>
            <pc:docMk/>
            <pc:sldMk cId="3434126760" sldId="1056"/>
            <ac:spMk id="5" creationId="{C6D01659-1315-8E2C-1C45-C8A546D039D7}"/>
          </ac:spMkLst>
        </pc:spChg>
        <pc:picChg chg="add mod">
          <ac:chgData name="Andreas Koksrud" userId="9d9beba6-c052-407a-8599-c781a677a996" providerId="ADAL" clId="{267904F6-164A-446F-8964-DA69B112867B}" dt="2024-09-29T18:18:37.600" v="16383"/>
          <ac:picMkLst>
            <pc:docMk/>
            <pc:sldMk cId="3434126760" sldId="1056"/>
            <ac:picMk id="4" creationId="{21B67A91-84B8-C4BE-124C-2BFDBF12821B}"/>
          </ac:picMkLst>
        </pc:picChg>
      </pc:sldChg>
      <pc:sldChg chg="addSp modSp mod">
        <pc:chgData name="Andreas Koksrud" userId="9d9beba6-c052-407a-8599-c781a677a996" providerId="ADAL" clId="{267904F6-164A-446F-8964-DA69B112867B}" dt="2024-09-29T18:18:35.860" v="16381"/>
        <pc:sldMkLst>
          <pc:docMk/>
          <pc:sldMk cId="369305814" sldId="1057"/>
        </pc:sldMkLst>
        <pc:spChg chg="mod">
          <ac:chgData name="Andreas Koksrud" userId="9d9beba6-c052-407a-8599-c781a677a996" providerId="ADAL" clId="{267904F6-164A-446F-8964-DA69B112867B}" dt="2024-09-29T18:17:22.515" v="16369"/>
          <ac:spMkLst>
            <pc:docMk/>
            <pc:sldMk cId="369305814" sldId="1057"/>
            <ac:spMk id="3" creationId="{AEB67DE2-4419-6A35-1303-4FFA243B08DC}"/>
          </ac:spMkLst>
        </pc:spChg>
        <pc:spChg chg="add mod">
          <ac:chgData name="Andreas Koksrud" userId="9d9beba6-c052-407a-8599-c781a677a996" providerId="ADAL" clId="{267904F6-164A-446F-8964-DA69B112867B}" dt="2024-09-13T12:39:26.557" v="12344" actId="13926"/>
          <ac:spMkLst>
            <pc:docMk/>
            <pc:sldMk cId="369305814" sldId="1057"/>
            <ac:spMk id="5" creationId="{3B006967-3918-C146-5936-796B5F5CE6AE}"/>
          </ac:spMkLst>
        </pc:spChg>
        <pc:spChg chg="mod">
          <ac:chgData name="Andreas Koksrud" userId="9d9beba6-c052-407a-8599-c781a677a996" providerId="ADAL" clId="{267904F6-164A-446F-8964-DA69B112867B}" dt="2024-09-13T12:39:01.965" v="12297"/>
          <ac:spMkLst>
            <pc:docMk/>
            <pc:sldMk cId="369305814" sldId="1057"/>
            <ac:spMk id="180" creationId="{00000000-0000-0000-0000-000000000000}"/>
          </ac:spMkLst>
        </pc:spChg>
        <pc:picChg chg="add mod">
          <ac:chgData name="Andreas Koksrud" userId="9d9beba6-c052-407a-8599-c781a677a996" providerId="ADAL" clId="{267904F6-164A-446F-8964-DA69B112867B}" dt="2024-09-29T18:18:35.860" v="16381"/>
          <ac:picMkLst>
            <pc:docMk/>
            <pc:sldMk cId="369305814" sldId="1057"/>
            <ac:picMk id="4" creationId="{2620FFE8-B2FD-3C0E-E226-20D0870DFA39}"/>
          </ac:picMkLst>
        </pc:picChg>
      </pc:sldChg>
      <pc:sldChg chg="modSp">
        <pc:chgData name="Andreas Koksrud" userId="9d9beba6-c052-407a-8599-c781a677a996" providerId="ADAL" clId="{267904F6-164A-446F-8964-DA69B112867B}" dt="2024-09-29T18:17:22.515" v="16369"/>
        <pc:sldMkLst>
          <pc:docMk/>
          <pc:sldMk cId="3824588438" sldId="1058"/>
        </pc:sldMkLst>
        <pc:spChg chg="mod">
          <ac:chgData name="Andreas Koksrud" userId="9d9beba6-c052-407a-8599-c781a677a996" providerId="ADAL" clId="{267904F6-164A-446F-8964-DA69B112867B}" dt="2024-09-29T18:17:22.515" v="16369"/>
          <ac:spMkLst>
            <pc:docMk/>
            <pc:sldMk cId="3824588438" sldId="1058"/>
            <ac:spMk id="3" creationId="{50E6E05E-D759-39DF-4A3C-A48ED2CBDA8B}"/>
          </ac:spMkLst>
        </pc:spChg>
      </pc:sldChg>
      <pc:sldChg chg="modSp">
        <pc:chgData name="Andreas Koksrud" userId="9d9beba6-c052-407a-8599-c781a677a996" providerId="ADAL" clId="{267904F6-164A-446F-8964-DA69B112867B}" dt="2024-09-29T18:17:22.515" v="16369"/>
        <pc:sldMkLst>
          <pc:docMk/>
          <pc:sldMk cId="2110742668" sldId="1059"/>
        </pc:sldMkLst>
        <pc:spChg chg="mod">
          <ac:chgData name="Andreas Koksrud" userId="9d9beba6-c052-407a-8599-c781a677a996" providerId="ADAL" clId="{267904F6-164A-446F-8964-DA69B112867B}" dt="2024-09-29T18:17:22.515" v="16369"/>
          <ac:spMkLst>
            <pc:docMk/>
            <pc:sldMk cId="2110742668" sldId="1059"/>
            <ac:spMk id="3" creationId="{50E6E05E-D759-39DF-4A3C-A48ED2CBDA8B}"/>
          </ac:spMkLst>
        </pc:spChg>
      </pc:sldChg>
      <pc:sldChg chg="addSp delSp modSp mod">
        <pc:chgData name="Andreas Koksrud" userId="9d9beba6-c052-407a-8599-c781a677a996" providerId="ADAL" clId="{267904F6-164A-446F-8964-DA69B112867B}" dt="2024-09-29T18:19:01.810" v="16402"/>
        <pc:sldMkLst>
          <pc:docMk/>
          <pc:sldMk cId="3287255161" sldId="1060"/>
        </pc:sldMkLst>
        <pc:spChg chg="add del mod">
          <ac:chgData name="Andreas Koksrud" userId="9d9beba6-c052-407a-8599-c781a677a996" providerId="ADAL" clId="{267904F6-164A-446F-8964-DA69B112867B}" dt="2024-09-22T07:29:51.929" v="12823" actId="478"/>
          <ac:spMkLst>
            <pc:docMk/>
            <pc:sldMk cId="3287255161" sldId="1060"/>
            <ac:spMk id="3" creationId="{F763B608-503A-2C51-CE66-766E754C081D}"/>
          </ac:spMkLst>
        </pc:spChg>
        <pc:spChg chg="mod">
          <ac:chgData name="Andreas Koksrud" userId="9d9beba6-c052-407a-8599-c781a677a996" providerId="ADAL" clId="{267904F6-164A-446F-8964-DA69B112867B}" dt="2024-09-22T07:29:43.122" v="12820" actId="20577"/>
          <ac:spMkLst>
            <pc:docMk/>
            <pc:sldMk cId="3287255161" sldId="1060"/>
            <ac:spMk id="9" creationId="{1332ADAB-347F-B30A-F36B-957ADACDE929}"/>
          </ac:spMkLst>
        </pc:spChg>
        <pc:picChg chg="add mod">
          <ac:chgData name="Andreas Koksrud" userId="9d9beba6-c052-407a-8599-c781a677a996" providerId="ADAL" clId="{267904F6-164A-446F-8964-DA69B112867B}" dt="2024-09-29T18:19:01.810" v="16402"/>
          <ac:picMkLst>
            <pc:docMk/>
            <pc:sldMk cId="3287255161" sldId="1060"/>
            <ac:picMk id="3" creationId="{2EB3C4A6-B935-DD02-C6EC-9211132D27EB}"/>
          </ac:picMkLst>
        </pc:picChg>
        <pc:picChg chg="mod modCrop">
          <ac:chgData name="Andreas Koksrud" userId="9d9beba6-c052-407a-8599-c781a677a996" providerId="ADAL" clId="{267904F6-164A-446F-8964-DA69B112867B}" dt="2024-09-22T07:31:07.881" v="12829" actId="732"/>
          <ac:picMkLst>
            <pc:docMk/>
            <pc:sldMk cId="3287255161" sldId="1060"/>
            <ac:picMk id="6" creationId="{3A4883CB-701E-C98E-7334-7B48E10C9795}"/>
          </ac:picMkLst>
        </pc:picChg>
        <pc:picChg chg="add mod">
          <ac:chgData name="Andreas Koksrud" userId="9d9beba6-c052-407a-8599-c781a677a996" providerId="ADAL" clId="{267904F6-164A-446F-8964-DA69B112867B}" dt="2024-09-22T07:31:32.312" v="12831" actId="1076"/>
          <ac:picMkLst>
            <pc:docMk/>
            <pc:sldMk cId="3287255161" sldId="1060"/>
            <ac:picMk id="8" creationId="{9DBA21DB-82E7-B7E0-C3B7-C1B4294904EF}"/>
          </ac:picMkLst>
        </pc:picChg>
        <pc:cxnChg chg="add del mod">
          <ac:chgData name="Andreas Koksrud" userId="9d9beba6-c052-407a-8599-c781a677a996" providerId="ADAL" clId="{267904F6-164A-446F-8964-DA69B112867B}" dt="2024-09-22T07:29:53.198" v="12824" actId="478"/>
          <ac:cxnSpMkLst>
            <pc:docMk/>
            <pc:sldMk cId="3287255161" sldId="1060"/>
            <ac:cxnSpMk id="5" creationId="{E5917AA7-30E7-1002-BEAC-48EDCD78533E}"/>
          </ac:cxnSpMkLst>
        </pc:cxnChg>
        <pc:cxnChg chg="mod">
          <ac:chgData name="Andreas Koksrud" userId="9d9beba6-c052-407a-8599-c781a677a996" providerId="ADAL" clId="{267904F6-164A-446F-8964-DA69B112867B}" dt="2024-09-22T07:30:43.368" v="12828" actId="1076"/>
          <ac:cxnSpMkLst>
            <pc:docMk/>
            <pc:sldMk cId="3287255161" sldId="1060"/>
            <ac:cxnSpMk id="12" creationId="{EE97F0F7-C77F-FB9C-D049-955D7C3BD72A}"/>
          </ac:cxnSpMkLst>
        </pc:cxnChg>
        <pc:cxnChg chg="del">
          <ac:chgData name="Andreas Koksrud" userId="9d9beba6-c052-407a-8599-c781a677a996" providerId="ADAL" clId="{267904F6-164A-446F-8964-DA69B112867B}" dt="2024-09-22T07:30:37.254" v="12826" actId="478"/>
          <ac:cxnSpMkLst>
            <pc:docMk/>
            <pc:sldMk cId="3287255161" sldId="1060"/>
            <ac:cxnSpMk id="13" creationId="{1B30605C-96F1-4CF3-7358-66EE1D248EAE}"/>
          </ac:cxnSpMkLst>
        </pc:cxnChg>
        <pc:cxnChg chg="del">
          <ac:chgData name="Andreas Koksrud" userId="9d9beba6-c052-407a-8599-c781a677a996" providerId="ADAL" clId="{267904F6-164A-446F-8964-DA69B112867B}" dt="2024-09-22T07:30:35.769" v="12825" actId="478"/>
          <ac:cxnSpMkLst>
            <pc:docMk/>
            <pc:sldMk cId="3287255161" sldId="1060"/>
            <ac:cxnSpMk id="15" creationId="{77558ECF-E18F-1951-4E91-5CAB9C3E0012}"/>
          </ac:cxnSpMkLst>
        </pc:cxnChg>
      </pc:sldChg>
      <pc:sldChg chg="addSp modSp mod">
        <pc:chgData name="Andreas Koksrud" userId="9d9beba6-c052-407a-8599-c781a677a996" providerId="ADAL" clId="{267904F6-164A-446F-8964-DA69B112867B}" dt="2024-09-29T18:18:30.038" v="16375"/>
        <pc:sldMkLst>
          <pc:docMk/>
          <pc:sldMk cId="1761467169" sldId="1061"/>
        </pc:sldMkLst>
        <pc:spChg chg="mod">
          <ac:chgData name="Andreas Koksrud" userId="9d9beba6-c052-407a-8599-c781a677a996" providerId="ADAL" clId="{267904F6-164A-446F-8964-DA69B112867B}" dt="2024-09-29T18:17:22.515" v="16369"/>
          <ac:spMkLst>
            <pc:docMk/>
            <pc:sldMk cId="1761467169" sldId="1061"/>
            <ac:spMk id="3" creationId="{AEB67DE2-4419-6A35-1303-4FFA243B08DC}"/>
          </ac:spMkLst>
        </pc:spChg>
        <pc:spChg chg="mod">
          <ac:chgData name="Andreas Koksrud" userId="9d9beba6-c052-407a-8599-c781a677a996" providerId="ADAL" clId="{267904F6-164A-446F-8964-DA69B112867B}" dt="2024-09-22T09:00:25.943" v="13236" actId="20577"/>
          <ac:spMkLst>
            <pc:docMk/>
            <pc:sldMk cId="1761467169" sldId="1061"/>
            <ac:spMk id="180" creationId="{00000000-0000-0000-0000-000000000000}"/>
          </ac:spMkLst>
        </pc:spChg>
        <pc:picChg chg="add mod">
          <ac:chgData name="Andreas Koksrud" userId="9d9beba6-c052-407a-8599-c781a677a996" providerId="ADAL" clId="{267904F6-164A-446F-8964-DA69B112867B}" dt="2024-09-29T18:18:30.038" v="16375"/>
          <ac:picMkLst>
            <pc:docMk/>
            <pc:sldMk cId="1761467169" sldId="1061"/>
            <ac:picMk id="4" creationId="{FF4D4D91-D78A-BDA4-81FD-600AADD28CBF}"/>
          </ac:picMkLst>
        </pc:picChg>
      </pc:sldChg>
      <pc:sldChg chg="add del">
        <pc:chgData name="Andreas Koksrud" userId="9d9beba6-c052-407a-8599-c781a677a996" providerId="ADAL" clId="{267904F6-164A-446F-8964-DA69B112867B}" dt="2024-09-28T19:53:03.183" v="14280" actId="47"/>
        <pc:sldMkLst>
          <pc:docMk/>
          <pc:sldMk cId="1803537540" sldId="1062"/>
        </pc:sldMkLst>
      </pc:sldChg>
      <pc:sldChg chg="add del">
        <pc:chgData name="Andreas Koksrud" userId="9d9beba6-c052-407a-8599-c781a677a996" providerId="ADAL" clId="{267904F6-164A-446F-8964-DA69B112867B}" dt="2024-09-28T19:53:07.221" v="14281" actId="47"/>
        <pc:sldMkLst>
          <pc:docMk/>
          <pc:sldMk cId="3211870603" sldId="1063"/>
        </pc:sldMkLst>
      </pc:sldChg>
      <pc:sldChg chg="modSp add mod">
        <pc:chgData name="Andreas Koksrud" userId="9d9beba6-c052-407a-8599-c781a677a996" providerId="ADAL" clId="{267904F6-164A-446F-8964-DA69B112867B}" dt="2024-09-28T19:53:20.043" v="14284" actId="6549"/>
        <pc:sldMkLst>
          <pc:docMk/>
          <pc:sldMk cId="2136593960" sldId="1064"/>
        </pc:sldMkLst>
        <pc:spChg chg="mod">
          <ac:chgData name="Andreas Koksrud" userId="9d9beba6-c052-407a-8599-c781a677a996" providerId="ADAL" clId="{267904F6-164A-446F-8964-DA69B112867B}" dt="2024-09-28T19:53:20.043" v="14284" actId="6549"/>
          <ac:spMkLst>
            <pc:docMk/>
            <pc:sldMk cId="2136593960" sldId="1064"/>
            <ac:spMk id="180" creationId="{00000000-0000-0000-0000-000000000000}"/>
          </ac:spMkLst>
        </pc:spChg>
      </pc:sldChg>
      <pc:sldChg chg="modSp add">
        <pc:chgData name="Andreas Koksrud" userId="9d9beba6-c052-407a-8599-c781a677a996" providerId="ADAL" clId="{267904F6-164A-446F-8964-DA69B112867B}" dt="2024-09-30T20:10:37.109" v="17222"/>
        <pc:sldMkLst>
          <pc:docMk/>
          <pc:sldMk cId="451527966" sldId="1065"/>
        </pc:sldMkLst>
        <pc:spChg chg="mod">
          <ac:chgData name="Andreas Koksrud" userId="9d9beba6-c052-407a-8599-c781a677a996" providerId="ADAL" clId="{267904F6-164A-446F-8964-DA69B112867B}" dt="2024-09-30T20:10:37.109" v="17222"/>
          <ac:spMkLst>
            <pc:docMk/>
            <pc:sldMk cId="451527966" sldId="1065"/>
            <ac:spMk id="181" creationId="{00000000-0000-0000-0000-000000000000}"/>
          </ac:spMkLst>
        </pc:spChg>
      </pc:sldChg>
      <pc:sldChg chg="delSp modSp add mod">
        <pc:chgData name="Andreas Koksrud" userId="9d9beba6-c052-407a-8599-c781a677a996" providerId="ADAL" clId="{267904F6-164A-446F-8964-DA69B112867B}" dt="2024-09-30T20:18:36.301" v="17438"/>
        <pc:sldMkLst>
          <pc:docMk/>
          <pc:sldMk cId="1613799897" sldId="1066"/>
        </pc:sldMkLst>
        <pc:spChg chg="mod">
          <ac:chgData name="Andreas Koksrud" userId="9d9beba6-c052-407a-8599-c781a677a996" providerId="ADAL" clId="{267904F6-164A-446F-8964-DA69B112867B}" dt="2024-09-30T20:15:13.265" v="17241" actId="20577"/>
          <ac:spMkLst>
            <pc:docMk/>
            <pc:sldMk cId="1613799897" sldId="1066"/>
            <ac:spMk id="180" creationId="{00000000-0000-0000-0000-000000000000}"/>
          </ac:spMkLst>
        </pc:spChg>
        <pc:spChg chg="mod">
          <ac:chgData name="Andreas Koksrud" userId="9d9beba6-c052-407a-8599-c781a677a996" providerId="ADAL" clId="{267904F6-164A-446F-8964-DA69B112867B}" dt="2024-09-30T20:18:36.301" v="17438"/>
          <ac:spMkLst>
            <pc:docMk/>
            <pc:sldMk cId="1613799897" sldId="1066"/>
            <ac:spMk id="181" creationId="{00000000-0000-0000-0000-000000000000}"/>
          </ac:spMkLst>
        </pc:spChg>
        <pc:picChg chg="del">
          <ac:chgData name="Andreas Koksrud" userId="9d9beba6-c052-407a-8599-c781a677a996" providerId="ADAL" clId="{267904F6-164A-446F-8964-DA69B112867B}" dt="2024-09-30T20:15:37.847" v="17296" actId="478"/>
          <ac:picMkLst>
            <pc:docMk/>
            <pc:sldMk cId="1613799897" sldId="1066"/>
            <ac:picMk id="3" creationId="{DB5CD4E5-3BE7-7364-A4E7-78C03845C8B7}"/>
          </ac:picMkLst>
        </pc:picChg>
        <pc:picChg chg="del">
          <ac:chgData name="Andreas Koksrud" userId="9d9beba6-c052-407a-8599-c781a677a996" providerId="ADAL" clId="{267904F6-164A-446F-8964-DA69B112867B}" dt="2024-09-30T20:15:39.411" v="17298" actId="478"/>
          <ac:picMkLst>
            <pc:docMk/>
            <pc:sldMk cId="1613799897" sldId="1066"/>
            <ac:picMk id="5" creationId="{B8E71810-4EDE-0AEC-C566-A7C61933617F}"/>
          </ac:picMkLst>
        </pc:picChg>
        <pc:picChg chg="del">
          <ac:chgData name="Andreas Koksrud" userId="9d9beba6-c052-407a-8599-c781a677a996" providerId="ADAL" clId="{267904F6-164A-446F-8964-DA69B112867B}" dt="2024-09-30T20:15:38.783" v="17297" actId="478"/>
          <ac:picMkLst>
            <pc:docMk/>
            <pc:sldMk cId="1613799897" sldId="1066"/>
            <ac:picMk id="8" creationId="{38535E0A-82FC-5025-B447-3260C3BD6DAA}"/>
          </ac:picMkLst>
        </pc:picChg>
      </pc:sldChg>
      <pc:sldChg chg="modSp add mod">
        <pc:chgData name="Andreas Koksrud" userId="9d9beba6-c052-407a-8599-c781a677a996" providerId="ADAL" clId="{267904F6-164A-446F-8964-DA69B112867B}" dt="2024-09-30T20:18:34.355" v="17437"/>
        <pc:sldMkLst>
          <pc:docMk/>
          <pc:sldMk cId="2863027163" sldId="1067"/>
        </pc:sldMkLst>
        <pc:spChg chg="mod">
          <ac:chgData name="Andreas Koksrud" userId="9d9beba6-c052-407a-8599-c781a677a996" providerId="ADAL" clId="{267904F6-164A-446F-8964-DA69B112867B}" dt="2024-09-30T20:15:54.193" v="17310" actId="20577"/>
          <ac:spMkLst>
            <pc:docMk/>
            <pc:sldMk cId="2863027163" sldId="1067"/>
            <ac:spMk id="180" creationId="{00000000-0000-0000-0000-000000000000}"/>
          </ac:spMkLst>
        </pc:spChg>
        <pc:spChg chg="mod">
          <ac:chgData name="Andreas Koksrud" userId="9d9beba6-c052-407a-8599-c781a677a996" providerId="ADAL" clId="{267904F6-164A-446F-8964-DA69B112867B}" dt="2024-09-30T20:18:34.355" v="17437"/>
          <ac:spMkLst>
            <pc:docMk/>
            <pc:sldMk cId="2863027163" sldId="1067"/>
            <ac:spMk id="181" creationId="{00000000-0000-0000-0000-000000000000}"/>
          </ac:spMkLst>
        </pc:spChg>
      </pc:sldChg>
      <pc:sldChg chg="modSp add mod">
        <pc:chgData name="Andreas Koksrud" userId="9d9beba6-c052-407a-8599-c781a677a996" providerId="ADAL" clId="{267904F6-164A-446F-8964-DA69B112867B}" dt="2024-09-30T20:18:29.161" v="17436" actId="6549"/>
        <pc:sldMkLst>
          <pc:docMk/>
          <pc:sldMk cId="2643410201" sldId="1068"/>
        </pc:sldMkLst>
        <pc:spChg chg="mod">
          <ac:chgData name="Andreas Koksrud" userId="9d9beba6-c052-407a-8599-c781a677a996" providerId="ADAL" clId="{267904F6-164A-446F-8964-DA69B112867B}" dt="2024-09-30T20:16:00.912" v="17320" actId="20577"/>
          <ac:spMkLst>
            <pc:docMk/>
            <pc:sldMk cId="2643410201" sldId="1068"/>
            <ac:spMk id="180" creationId="{00000000-0000-0000-0000-000000000000}"/>
          </ac:spMkLst>
        </pc:spChg>
        <pc:spChg chg="mod">
          <ac:chgData name="Andreas Koksrud" userId="9d9beba6-c052-407a-8599-c781a677a996" providerId="ADAL" clId="{267904F6-164A-446F-8964-DA69B112867B}" dt="2024-09-30T20:18:29.161" v="17436" actId="6549"/>
          <ac:spMkLst>
            <pc:docMk/>
            <pc:sldMk cId="2643410201" sldId="1068"/>
            <ac:spMk id="181" creationId="{00000000-0000-0000-0000-000000000000}"/>
          </ac:spMkLst>
        </pc:spChg>
      </pc:sldChg>
    </pc:docChg>
  </pc:docChgLst>
  <pc:docChgLst>
    <pc:chgData name="Kjetil Teigen Hansen (KTH)" userId="S::kth_conscia.com#ext#@telenorgroup.onmicrosoft.com::f8a0f255-21b8-4c53-aace-7d9a45a4c72e" providerId="AD" clId="Web-{492CEC75-8836-F6A2-3642-2D065C4D2D9A}"/>
    <pc:docChg chg="addSld modSld modSection">
      <pc:chgData name="Kjetil Teigen Hansen (KTH)" userId="S::kth_conscia.com#ext#@telenorgroup.onmicrosoft.com::f8a0f255-21b8-4c53-aace-7d9a45a4c72e" providerId="AD" clId="Web-{492CEC75-8836-F6A2-3642-2D065C4D2D9A}" dt="2024-09-12T16:25:35.446" v="301" actId="14100"/>
      <pc:docMkLst>
        <pc:docMk/>
      </pc:docMkLst>
      <pc:sldChg chg="modSp">
        <pc:chgData name="Kjetil Teigen Hansen (KTH)" userId="S::kth_conscia.com#ext#@telenorgroup.onmicrosoft.com::f8a0f255-21b8-4c53-aace-7d9a45a4c72e" providerId="AD" clId="Web-{492CEC75-8836-F6A2-3642-2D065C4D2D9A}" dt="2024-09-12T15:46:26.346" v="2" actId="20577"/>
        <pc:sldMkLst>
          <pc:docMk/>
          <pc:sldMk cId="3711552670" sldId="1029"/>
        </pc:sldMkLst>
        <pc:spChg chg="mod">
          <ac:chgData name="Kjetil Teigen Hansen (KTH)" userId="S::kth_conscia.com#ext#@telenorgroup.onmicrosoft.com::f8a0f255-21b8-4c53-aace-7d9a45a4c72e" providerId="AD" clId="Web-{492CEC75-8836-F6A2-3642-2D065C4D2D9A}" dt="2024-09-12T15:46:26.346" v="2" actId="20577"/>
          <ac:spMkLst>
            <pc:docMk/>
            <pc:sldMk cId="3711552670" sldId="1029"/>
            <ac:spMk id="8" creationId="{E57D1EC9-49F3-7BDF-7EB7-EDB21E4C558F}"/>
          </ac:spMkLst>
        </pc:spChg>
      </pc:sldChg>
      <pc:sldChg chg="modSp">
        <pc:chgData name="Kjetil Teigen Hansen (KTH)" userId="S::kth_conscia.com#ext#@telenorgroup.onmicrosoft.com::f8a0f255-21b8-4c53-aace-7d9a45a4c72e" providerId="AD" clId="Web-{492CEC75-8836-F6A2-3642-2D065C4D2D9A}" dt="2024-09-12T16:07:00.187" v="141" actId="1076"/>
        <pc:sldMkLst>
          <pc:docMk/>
          <pc:sldMk cId="1412894186" sldId="1045"/>
        </pc:sldMkLst>
        <pc:picChg chg="mod">
          <ac:chgData name="Kjetil Teigen Hansen (KTH)" userId="S::kth_conscia.com#ext#@telenorgroup.onmicrosoft.com::f8a0f255-21b8-4c53-aace-7d9a45a4c72e" providerId="AD" clId="Web-{492CEC75-8836-F6A2-3642-2D065C4D2D9A}" dt="2024-09-12T16:07:00.187" v="141" actId="1076"/>
          <ac:picMkLst>
            <pc:docMk/>
            <pc:sldMk cId="1412894186" sldId="1045"/>
            <ac:picMk id="49" creationId="{C11A4833-644F-48ED-DC54-A2C17B31AD15}"/>
          </ac:picMkLst>
        </pc:picChg>
      </pc:sldChg>
      <pc:sldChg chg="addSp modSp">
        <pc:chgData name="Kjetil Teigen Hansen (KTH)" userId="S::kth_conscia.com#ext#@telenorgroup.onmicrosoft.com::f8a0f255-21b8-4c53-aace-7d9a45a4c72e" providerId="AD" clId="Web-{492CEC75-8836-F6A2-3642-2D065C4D2D9A}" dt="2024-09-12T16:25:35.446" v="301" actId="14100"/>
        <pc:sldMkLst>
          <pc:docMk/>
          <pc:sldMk cId="1071966877" sldId="1046"/>
        </pc:sldMkLst>
        <pc:spChg chg="add mod">
          <ac:chgData name="Kjetil Teigen Hansen (KTH)" userId="S::kth_conscia.com#ext#@telenorgroup.onmicrosoft.com::f8a0f255-21b8-4c53-aace-7d9a45a4c72e" providerId="AD" clId="Web-{492CEC75-8836-F6A2-3642-2D065C4D2D9A}" dt="2024-09-12T16:25:07.399" v="299" actId="14100"/>
          <ac:spMkLst>
            <pc:docMk/>
            <pc:sldMk cId="1071966877" sldId="1046"/>
            <ac:spMk id="3" creationId="{F617456D-20F2-88A1-F517-729F1294C24B}"/>
          </ac:spMkLst>
        </pc:spChg>
        <pc:spChg chg="mod">
          <ac:chgData name="Kjetil Teigen Hansen (KTH)" userId="S::kth_conscia.com#ext#@telenorgroup.onmicrosoft.com::f8a0f255-21b8-4c53-aace-7d9a45a4c72e" providerId="AD" clId="Web-{492CEC75-8836-F6A2-3642-2D065C4D2D9A}" dt="2024-09-12T16:24:54.008" v="298" actId="14100"/>
          <ac:spMkLst>
            <pc:docMk/>
            <pc:sldMk cId="1071966877" sldId="1046"/>
            <ac:spMk id="6" creationId="{AD93A1DB-7485-E1FF-28C9-17222A32C989}"/>
          </ac:spMkLst>
        </pc:spChg>
        <pc:cxnChg chg="add mod">
          <ac:chgData name="Kjetil Teigen Hansen (KTH)" userId="S::kth_conscia.com#ext#@telenorgroup.onmicrosoft.com::f8a0f255-21b8-4c53-aace-7d9a45a4c72e" providerId="AD" clId="Web-{492CEC75-8836-F6A2-3642-2D065C4D2D9A}" dt="2024-09-12T16:25:35.446" v="301" actId="14100"/>
          <ac:cxnSpMkLst>
            <pc:docMk/>
            <pc:sldMk cId="1071966877" sldId="1046"/>
            <ac:cxnSpMk id="9" creationId="{F9F8CD7A-B323-B325-558D-17AE7EC8CD29}"/>
          </ac:cxnSpMkLst>
        </pc:cxnChg>
      </pc:sldChg>
      <pc:sldChg chg="addSp delSp modSp add replId">
        <pc:chgData name="Kjetil Teigen Hansen (KTH)" userId="S::kth_conscia.com#ext#@telenorgroup.onmicrosoft.com::f8a0f255-21b8-4c53-aace-7d9a45a4c72e" providerId="AD" clId="Web-{492CEC75-8836-F6A2-3642-2D065C4D2D9A}" dt="2024-09-12T16:21:34.445" v="192" actId="20577"/>
        <pc:sldMkLst>
          <pc:docMk/>
          <pc:sldMk cId="3287255161" sldId="1060"/>
        </pc:sldMkLst>
        <pc:spChg chg="mod">
          <ac:chgData name="Kjetil Teigen Hansen (KTH)" userId="S::kth_conscia.com#ext#@telenorgroup.onmicrosoft.com::f8a0f255-21b8-4c53-aace-7d9a45a4c72e" providerId="AD" clId="Web-{492CEC75-8836-F6A2-3642-2D065C4D2D9A}" dt="2024-09-12T16:21:34.445" v="192" actId="20577"/>
          <ac:spMkLst>
            <pc:docMk/>
            <pc:sldMk cId="3287255161" sldId="1060"/>
            <ac:spMk id="9" creationId="{1332ADAB-347F-B30A-F36B-957ADACDE929}"/>
          </ac:spMkLst>
        </pc:spChg>
        <pc:picChg chg="del">
          <ac:chgData name="Kjetil Teigen Hansen (KTH)" userId="S::kth_conscia.com#ext#@telenorgroup.onmicrosoft.com::f8a0f255-21b8-4c53-aace-7d9a45a4c72e" providerId="AD" clId="Web-{492CEC75-8836-F6A2-3642-2D065C4D2D9A}" dt="2024-09-12T15:46:42.612" v="5"/>
          <ac:picMkLst>
            <pc:docMk/>
            <pc:sldMk cId="3287255161" sldId="1060"/>
            <ac:picMk id="3" creationId="{75474F73-3279-ACC2-8CA8-2187DEFC330B}"/>
          </ac:picMkLst>
        </pc:picChg>
        <pc:picChg chg="add mod modCrop">
          <ac:chgData name="Kjetil Teigen Hansen (KTH)" userId="S::kth_conscia.com#ext#@telenorgroup.onmicrosoft.com::f8a0f255-21b8-4c53-aace-7d9a45a4c72e" providerId="AD" clId="Web-{492CEC75-8836-F6A2-3642-2D065C4D2D9A}" dt="2024-09-12T16:21:22.976" v="185"/>
          <ac:picMkLst>
            <pc:docMk/>
            <pc:sldMk cId="3287255161" sldId="1060"/>
            <ac:picMk id="6" creationId="{3A4883CB-701E-C98E-7334-7B48E10C9795}"/>
          </ac:picMkLst>
        </pc:picChg>
        <pc:picChg chg="add del">
          <ac:chgData name="Kjetil Teigen Hansen (KTH)" userId="S::kth_conscia.com#ext#@telenorgroup.onmicrosoft.com::f8a0f255-21b8-4c53-aace-7d9a45a4c72e" providerId="AD" clId="Web-{492CEC75-8836-F6A2-3642-2D065C4D2D9A}" dt="2024-09-12T16:05:00.265" v="114"/>
          <ac:picMkLst>
            <pc:docMk/>
            <pc:sldMk cId="3287255161" sldId="1060"/>
            <ac:picMk id="10" creationId="{718FCAC4-A890-2F18-38FD-E1425F133EE2}"/>
          </ac:picMkLst>
        </pc:picChg>
        <pc:picChg chg="del">
          <ac:chgData name="Kjetil Teigen Hansen (KTH)" userId="S::kth_conscia.com#ext#@telenorgroup.onmicrosoft.com::f8a0f255-21b8-4c53-aace-7d9a45a4c72e" providerId="AD" clId="Web-{492CEC75-8836-F6A2-3642-2D065C4D2D9A}" dt="2024-09-12T15:46:41.299" v="4"/>
          <ac:picMkLst>
            <pc:docMk/>
            <pc:sldMk cId="3287255161" sldId="1060"/>
            <ac:picMk id="23" creationId="{FFC95476-A16C-CF1E-EEBA-9DC42B469EA3}"/>
          </ac:picMkLst>
        </pc:picChg>
        <pc:cxnChg chg="del">
          <ac:chgData name="Kjetil Teigen Hansen (KTH)" userId="S::kth_conscia.com#ext#@telenorgroup.onmicrosoft.com::f8a0f255-21b8-4c53-aace-7d9a45a4c72e" providerId="AD" clId="Web-{492CEC75-8836-F6A2-3642-2D065C4D2D9A}" dt="2024-09-12T15:46:50.471" v="6"/>
          <ac:cxnSpMkLst>
            <pc:docMk/>
            <pc:sldMk cId="3287255161" sldId="1060"/>
            <ac:cxnSpMk id="5" creationId="{9F32EF8B-D942-C23F-43FB-BCB3ADEBE100}"/>
          </ac:cxnSpMkLst>
        </pc:cxnChg>
        <pc:cxnChg chg="del">
          <ac:chgData name="Kjetil Teigen Hansen (KTH)" userId="S::kth_conscia.com#ext#@telenorgroup.onmicrosoft.com::f8a0f255-21b8-4c53-aace-7d9a45a4c72e" providerId="AD" clId="Web-{492CEC75-8836-F6A2-3642-2D065C4D2D9A}" dt="2024-09-12T15:46:52.956" v="7"/>
          <ac:cxnSpMkLst>
            <pc:docMk/>
            <pc:sldMk cId="3287255161" sldId="1060"/>
            <ac:cxnSpMk id="8" creationId="{DB8069F1-7B58-AE34-8A01-D60A5ADB97ED}"/>
          </ac:cxnSpMkLst>
        </pc:cxnChg>
        <pc:cxnChg chg="add mod">
          <ac:chgData name="Kjetil Teigen Hansen (KTH)" userId="S::kth_conscia.com#ext#@telenorgroup.onmicrosoft.com::f8a0f255-21b8-4c53-aace-7d9a45a4c72e" providerId="AD" clId="Web-{492CEC75-8836-F6A2-3642-2D065C4D2D9A}" dt="2024-09-12T16:05:20.562" v="118" actId="14100"/>
          <ac:cxnSpMkLst>
            <pc:docMk/>
            <pc:sldMk cId="3287255161" sldId="1060"/>
            <ac:cxnSpMk id="12" creationId="{EE97F0F7-C77F-FB9C-D049-955D7C3BD72A}"/>
          </ac:cxnSpMkLst>
        </pc:cxnChg>
        <pc:cxnChg chg="add mod">
          <ac:chgData name="Kjetil Teigen Hansen (KTH)" userId="S::kth_conscia.com#ext#@telenorgroup.onmicrosoft.com::f8a0f255-21b8-4c53-aace-7d9a45a4c72e" providerId="AD" clId="Web-{492CEC75-8836-F6A2-3642-2D065C4D2D9A}" dt="2024-09-12T16:05:32.812" v="121" actId="14100"/>
          <ac:cxnSpMkLst>
            <pc:docMk/>
            <pc:sldMk cId="3287255161" sldId="1060"/>
            <ac:cxnSpMk id="13" creationId="{1B30605C-96F1-4CF3-7358-66EE1D248EAE}"/>
          </ac:cxnSpMkLst>
        </pc:cxnChg>
        <pc:cxnChg chg="del">
          <ac:chgData name="Kjetil Teigen Hansen (KTH)" userId="S::kth_conscia.com#ext#@telenorgroup.onmicrosoft.com::f8a0f255-21b8-4c53-aace-7d9a45a4c72e" providerId="AD" clId="Web-{492CEC75-8836-F6A2-3642-2D065C4D2D9A}" dt="2024-09-12T15:46:56.534" v="8"/>
          <ac:cxnSpMkLst>
            <pc:docMk/>
            <pc:sldMk cId="3287255161" sldId="1060"/>
            <ac:cxnSpMk id="14" creationId="{FD37C567-66E8-B223-3CDF-32ACDFB03A55}"/>
          </ac:cxnSpMkLst>
        </pc:cxnChg>
        <pc:cxnChg chg="add mod">
          <ac:chgData name="Kjetil Teigen Hansen (KTH)" userId="S::kth_conscia.com#ext#@telenorgroup.onmicrosoft.com::f8a0f255-21b8-4c53-aace-7d9a45a4c72e" providerId="AD" clId="Web-{492CEC75-8836-F6A2-3642-2D065C4D2D9A}" dt="2024-09-12T16:05:58" v="139" actId="14100"/>
          <ac:cxnSpMkLst>
            <pc:docMk/>
            <pc:sldMk cId="3287255161" sldId="1060"/>
            <ac:cxnSpMk id="15" creationId="{77558ECF-E18F-1951-4E91-5CAB9C3E0012}"/>
          </ac:cxnSpMkLst>
        </pc:cxnChg>
      </pc:sldChg>
    </pc:docChg>
  </pc:docChgLst>
  <pc:docChgLst>
    <pc:chgData name="Koksrud Andreas" userId="9d9beba6-c052-407a-8599-c781a677a996" providerId="ADAL" clId="{905ADE08-F996-4E61-A704-9E9FFC9B393E}"/>
    <pc:docChg chg="undo custSel addSld delSld modSld sldOrd addSection modSection">
      <pc:chgData name="Koksrud Andreas" userId="9d9beba6-c052-407a-8599-c781a677a996" providerId="ADAL" clId="{905ADE08-F996-4E61-A704-9E9FFC9B393E}" dt="2023-12-13T20:51:15.061" v="3243" actId="20577"/>
      <pc:docMkLst>
        <pc:docMk/>
      </pc:docMkLst>
      <pc:sldChg chg="modSp mod">
        <pc:chgData name="Koksrud Andreas" userId="9d9beba6-c052-407a-8599-c781a677a996" providerId="ADAL" clId="{905ADE08-F996-4E61-A704-9E9FFC9B393E}" dt="2023-12-11T15:23:58.322" v="60" actId="20577"/>
        <pc:sldMkLst>
          <pc:docMk/>
          <pc:sldMk cId="697137886" sldId="679"/>
        </pc:sldMkLst>
        <pc:spChg chg="mod">
          <ac:chgData name="Koksrud Andreas" userId="9d9beba6-c052-407a-8599-c781a677a996" providerId="ADAL" clId="{905ADE08-F996-4E61-A704-9E9FFC9B393E}" dt="2023-12-11T15:23:47.067" v="23" actId="20577"/>
          <ac:spMkLst>
            <pc:docMk/>
            <pc:sldMk cId="697137886" sldId="679"/>
            <ac:spMk id="2" creationId="{00000000-0000-0000-0000-000000000000}"/>
          </ac:spMkLst>
        </pc:spChg>
        <pc:spChg chg="mod">
          <ac:chgData name="Koksrud Andreas" userId="9d9beba6-c052-407a-8599-c781a677a996" providerId="ADAL" clId="{905ADE08-F996-4E61-A704-9E9FFC9B393E}" dt="2023-12-11T15:23:58.322" v="60" actId="20577"/>
          <ac:spMkLst>
            <pc:docMk/>
            <pc:sldMk cId="697137886" sldId="679"/>
            <ac:spMk id="3" creationId="{00000000-0000-0000-0000-000000000000}"/>
          </ac:spMkLst>
        </pc:spChg>
      </pc:sldChg>
      <pc:sldChg chg="modSp mod">
        <pc:chgData name="Koksrud Andreas" userId="9d9beba6-c052-407a-8599-c781a677a996" providerId="ADAL" clId="{905ADE08-F996-4E61-A704-9E9FFC9B393E}" dt="2023-12-13T06:40:00.683" v="2549" actId="15"/>
        <pc:sldMkLst>
          <pc:docMk/>
          <pc:sldMk cId="267941889" sldId="776"/>
        </pc:sldMkLst>
        <pc:spChg chg="mod">
          <ac:chgData name="Koksrud Andreas" userId="9d9beba6-c052-407a-8599-c781a677a996" providerId="ADAL" clId="{905ADE08-F996-4E61-A704-9E9FFC9B393E}" dt="2023-12-13T06:40:00.683" v="2549" actId="15"/>
          <ac:spMkLst>
            <pc:docMk/>
            <pc:sldMk cId="267941889" sldId="776"/>
            <ac:spMk id="2" creationId="{9DFEA761-9758-CCB6-454F-76D77B537567}"/>
          </ac:spMkLst>
        </pc:spChg>
      </pc:sldChg>
      <pc:sldChg chg="modSp mod">
        <pc:chgData name="Koksrud Andreas" userId="9d9beba6-c052-407a-8599-c781a677a996" providerId="ADAL" clId="{905ADE08-F996-4E61-A704-9E9FFC9B393E}" dt="2023-12-13T06:51:31.478" v="2594" actId="20577"/>
        <pc:sldMkLst>
          <pc:docMk/>
          <pc:sldMk cId="3268319793" sldId="777"/>
        </pc:sldMkLst>
        <pc:spChg chg="mod">
          <ac:chgData name="Koksrud Andreas" userId="9d9beba6-c052-407a-8599-c781a677a996" providerId="ADAL" clId="{905ADE08-F996-4E61-A704-9E9FFC9B393E}" dt="2023-12-13T06:51:31.478" v="2594" actId="20577"/>
          <ac:spMkLst>
            <pc:docMk/>
            <pc:sldMk cId="3268319793" sldId="777"/>
            <ac:spMk id="181" creationId="{00000000-0000-0000-0000-000000000000}"/>
          </ac:spMkLst>
        </pc:spChg>
      </pc:sldChg>
      <pc:sldChg chg="addSp delSp modSp mod">
        <pc:chgData name="Koksrud Andreas" userId="9d9beba6-c052-407a-8599-c781a677a996" providerId="ADAL" clId="{905ADE08-F996-4E61-A704-9E9FFC9B393E}" dt="2023-12-11T15:37:46.693" v="1354" actId="20577"/>
        <pc:sldMkLst>
          <pc:docMk/>
          <pc:sldMk cId="1881751481" sldId="782"/>
        </pc:sldMkLst>
        <pc:spChg chg="mod">
          <ac:chgData name="Koksrud Andreas" userId="9d9beba6-c052-407a-8599-c781a677a996" providerId="ADAL" clId="{905ADE08-F996-4E61-A704-9E9FFC9B393E}" dt="2023-12-11T15:25:59.337" v="98" actId="20577"/>
          <ac:spMkLst>
            <pc:docMk/>
            <pc:sldMk cId="1881751481" sldId="782"/>
            <ac:spMk id="180" creationId="{00000000-0000-0000-0000-000000000000}"/>
          </ac:spMkLst>
        </pc:spChg>
        <pc:spChg chg="mod">
          <ac:chgData name="Koksrud Andreas" userId="9d9beba6-c052-407a-8599-c781a677a996" providerId="ADAL" clId="{905ADE08-F996-4E61-A704-9E9FFC9B393E}" dt="2023-12-11T15:37:46.693" v="1354" actId="20577"/>
          <ac:spMkLst>
            <pc:docMk/>
            <pc:sldMk cId="1881751481" sldId="782"/>
            <ac:spMk id="181" creationId="{00000000-0000-0000-0000-000000000000}"/>
          </ac:spMkLst>
        </pc:spChg>
        <pc:graphicFrameChg chg="add del mod">
          <ac:chgData name="Koksrud Andreas" userId="9d9beba6-c052-407a-8599-c781a677a996" providerId="ADAL" clId="{905ADE08-F996-4E61-A704-9E9FFC9B393E}" dt="2023-12-11T15:25:06.415" v="62"/>
          <ac:graphicFrameMkLst>
            <pc:docMk/>
            <pc:sldMk cId="1881751481" sldId="782"/>
            <ac:graphicFrameMk id="2" creationId="{CC52BEE3-323F-0ED8-AC1E-F5E024C42E73}"/>
          </ac:graphicFrameMkLst>
        </pc:graphicFrameChg>
      </pc:sldChg>
      <pc:sldChg chg="del">
        <pc:chgData name="Koksrud Andreas" userId="9d9beba6-c052-407a-8599-c781a677a996" providerId="ADAL" clId="{905ADE08-F996-4E61-A704-9E9FFC9B393E}" dt="2023-12-11T15:32:38.827" v="738" actId="47"/>
        <pc:sldMkLst>
          <pc:docMk/>
          <pc:sldMk cId="1235100158" sldId="796"/>
        </pc:sldMkLst>
      </pc:sldChg>
      <pc:sldChg chg="addSp modSp mod">
        <pc:chgData name="Koksrud Andreas" userId="9d9beba6-c052-407a-8599-c781a677a996" providerId="ADAL" clId="{905ADE08-F996-4E61-A704-9E9FFC9B393E}" dt="2023-12-13T06:47:54.037" v="2585" actId="20577"/>
        <pc:sldMkLst>
          <pc:docMk/>
          <pc:sldMk cId="590634226" sldId="798"/>
        </pc:sldMkLst>
        <pc:spChg chg="mod">
          <ac:chgData name="Koksrud Andreas" userId="9d9beba6-c052-407a-8599-c781a677a996" providerId="ADAL" clId="{905ADE08-F996-4E61-A704-9E9FFC9B393E}" dt="2023-12-13T06:47:54.037" v="2585" actId="20577"/>
          <ac:spMkLst>
            <pc:docMk/>
            <pc:sldMk cId="590634226" sldId="798"/>
            <ac:spMk id="181" creationId="{00000000-0000-0000-0000-000000000000}"/>
          </ac:spMkLst>
        </pc:spChg>
        <pc:picChg chg="add mod">
          <ac:chgData name="Koksrud Andreas" userId="9d9beba6-c052-407a-8599-c781a677a996" providerId="ADAL" clId="{905ADE08-F996-4E61-A704-9E9FFC9B393E}" dt="2023-12-13T06:44:30.665" v="2566" actId="1076"/>
          <ac:picMkLst>
            <pc:docMk/>
            <pc:sldMk cId="590634226" sldId="798"/>
            <ac:picMk id="4" creationId="{3268E2CD-034A-0355-88E6-A9987142F20D}"/>
          </ac:picMkLst>
        </pc:picChg>
      </pc:sldChg>
      <pc:sldChg chg="modSp mod">
        <pc:chgData name="Koksrud Andreas" userId="9d9beba6-c052-407a-8599-c781a677a996" providerId="ADAL" clId="{905ADE08-F996-4E61-A704-9E9FFC9B393E}" dt="2023-12-13T20:51:15.061" v="3243" actId="20577"/>
        <pc:sldMkLst>
          <pc:docMk/>
          <pc:sldMk cId="1792322963" sldId="799"/>
        </pc:sldMkLst>
        <pc:spChg chg="mod">
          <ac:chgData name="Koksrud Andreas" userId="9d9beba6-c052-407a-8599-c781a677a996" providerId="ADAL" clId="{905ADE08-F996-4E61-A704-9E9FFC9B393E}" dt="2023-12-13T20:51:15.061" v="3243" actId="20577"/>
          <ac:spMkLst>
            <pc:docMk/>
            <pc:sldMk cId="1792322963" sldId="799"/>
            <ac:spMk id="3" creationId="{6DBAC8E0-D9CE-6A68-DA2F-CA5F6C327794}"/>
          </ac:spMkLst>
        </pc:spChg>
      </pc:sldChg>
      <pc:sldChg chg="modSp mod">
        <pc:chgData name="Koksrud Andreas" userId="9d9beba6-c052-407a-8599-c781a677a996" providerId="ADAL" clId="{905ADE08-F996-4E61-A704-9E9FFC9B393E}" dt="2023-12-11T15:32:35.532" v="737" actId="20577"/>
        <pc:sldMkLst>
          <pc:docMk/>
          <pc:sldMk cId="4143839114" sldId="803"/>
        </pc:sldMkLst>
        <pc:spChg chg="mod">
          <ac:chgData name="Koksrud Andreas" userId="9d9beba6-c052-407a-8599-c781a677a996" providerId="ADAL" clId="{905ADE08-F996-4E61-A704-9E9FFC9B393E}" dt="2023-12-11T15:32:35.532" v="737" actId="20577"/>
          <ac:spMkLst>
            <pc:docMk/>
            <pc:sldMk cId="4143839114" sldId="803"/>
            <ac:spMk id="181" creationId="{00000000-0000-0000-0000-000000000000}"/>
          </ac:spMkLst>
        </pc:spChg>
      </pc:sldChg>
      <pc:sldChg chg="addSp delSp modSp mod">
        <pc:chgData name="Koksrud Andreas" userId="9d9beba6-c052-407a-8599-c781a677a996" providerId="ADAL" clId="{905ADE08-F996-4E61-A704-9E9FFC9B393E}" dt="2023-12-13T06:38:23.920" v="2547" actId="20577"/>
        <pc:sldMkLst>
          <pc:docMk/>
          <pc:sldMk cId="197388729" sldId="808"/>
        </pc:sldMkLst>
        <pc:spChg chg="add del mod">
          <ac:chgData name="Koksrud Andreas" userId="9d9beba6-c052-407a-8599-c781a677a996" providerId="ADAL" clId="{905ADE08-F996-4E61-A704-9E9FFC9B393E}" dt="2023-12-13T06:37:23.083" v="2485" actId="478"/>
          <ac:spMkLst>
            <pc:docMk/>
            <pc:sldMk cId="197388729" sldId="808"/>
            <ac:spMk id="5" creationId="{6BD46638-F78C-CE17-1726-774BC18C60AD}"/>
          </ac:spMkLst>
        </pc:spChg>
        <pc:spChg chg="add mod">
          <ac:chgData name="Koksrud Andreas" userId="9d9beba6-c052-407a-8599-c781a677a996" providerId="ADAL" clId="{905ADE08-F996-4E61-A704-9E9FFC9B393E}" dt="2023-12-13T06:38:23.920" v="2547" actId="20577"/>
          <ac:spMkLst>
            <pc:docMk/>
            <pc:sldMk cId="197388729" sldId="808"/>
            <ac:spMk id="6" creationId="{368EF28D-23AD-D8A3-05B5-AAD612FE36D2}"/>
          </ac:spMkLst>
        </pc:spChg>
      </pc:sldChg>
      <pc:sldChg chg="modSp add mod">
        <pc:chgData name="Koksrud Andreas" userId="9d9beba6-c052-407a-8599-c781a677a996" providerId="ADAL" clId="{905ADE08-F996-4E61-A704-9E9FFC9B393E}" dt="2023-12-11T15:30:38.784" v="679" actId="20577"/>
        <pc:sldMkLst>
          <pc:docMk/>
          <pc:sldMk cId="67928958" sldId="831"/>
        </pc:sldMkLst>
        <pc:spChg chg="mod">
          <ac:chgData name="Koksrud Andreas" userId="9d9beba6-c052-407a-8599-c781a677a996" providerId="ADAL" clId="{905ADE08-F996-4E61-A704-9E9FFC9B393E}" dt="2023-12-11T15:29:29.307" v="439" actId="20577"/>
          <ac:spMkLst>
            <pc:docMk/>
            <pc:sldMk cId="67928958" sldId="831"/>
            <ac:spMk id="180" creationId="{00000000-0000-0000-0000-000000000000}"/>
          </ac:spMkLst>
        </pc:spChg>
        <pc:spChg chg="mod">
          <ac:chgData name="Koksrud Andreas" userId="9d9beba6-c052-407a-8599-c781a677a996" providerId="ADAL" clId="{905ADE08-F996-4E61-A704-9E9FFC9B393E}" dt="2023-12-11T15:30:38.784" v="679" actId="20577"/>
          <ac:spMkLst>
            <pc:docMk/>
            <pc:sldMk cId="67928958" sldId="831"/>
            <ac:spMk id="181" creationId="{00000000-0000-0000-0000-000000000000}"/>
          </ac:spMkLst>
        </pc:spChg>
      </pc:sldChg>
      <pc:sldChg chg="modSp add mod">
        <pc:chgData name="Koksrud Andreas" userId="9d9beba6-c052-407a-8599-c781a677a996" providerId="ADAL" clId="{905ADE08-F996-4E61-A704-9E9FFC9B393E}" dt="2023-12-11T15:32:00.972" v="736" actId="20577"/>
        <pc:sldMkLst>
          <pc:docMk/>
          <pc:sldMk cId="1745852061" sldId="832"/>
        </pc:sldMkLst>
        <pc:spChg chg="mod">
          <ac:chgData name="Koksrud Andreas" userId="9d9beba6-c052-407a-8599-c781a677a996" providerId="ADAL" clId="{905ADE08-F996-4E61-A704-9E9FFC9B393E}" dt="2023-12-11T15:31:42.860" v="685" actId="20577"/>
          <ac:spMkLst>
            <pc:docMk/>
            <pc:sldMk cId="1745852061" sldId="832"/>
            <ac:spMk id="180" creationId="{00000000-0000-0000-0000-000000000000}"/>
          </ac:spMkLst>
        </pc:spChg>
        <pc:spChg chg="mod">
          <ac:chgData name="Koksrud Andreas" userId="9d9beba6-c052-407a-8599-c781a677a996" providerId="ADAL" clId="{905ADE08-F996-4E61-A704-9E9FFC9B393E}" dt="2023-12-11T15:32:00.972" v="736" actId="20577"/>
          <ac:spMkLst>
            <pc:docMk/>
            <pc:sldMk cId="1745852061" sldId="832"/>
            <ac:spMk id="181" creationId="{00000000-0000-0000-0000-000000000000}"/>
          </ac:spMkLst>
        </pc:spChg>
      </pc:sldChg>
      <pc:sldChg chg="modSp add mod">
        <pc:chgData name="Koksrud Andreas" userId="9d9beba6-c052-407a-8599-c781a677a996" providerId="ADAL" clId="{905ADE08-F996-4E61-A704-9E9FFC9B393E}" dt="2023-12-11T15:33:18.144" v="824" actId="20577"/>
        <pc:sldMkLst>
          <pc:docMk/>
          <pc:sldMk cId="1408972888" sldId="833"/>
        </pc:sldMkLst>
        <pc:spChg chg="mod">
          <ac:chgData name="Koksrud Andreas" userId="9d9beba6-c052-407a-8599-c781a677a996" providerId="ADAL" clId="{905ADE08-F996-4E61-A704-9E9FFC9B393E}" dt="2023-12-11T15:33:18.144" v="824" actId="20577"/>
          <ac:spMkLst>
            <pc:docMk/>
            <pc:sldMk cId="1408972888" sldId="833"/>
            <ac:spMk id="181" creationId="{00000000-0000-0000-0000-000000000000}"/>
          </ac:spMkLst>
        </pc:spChg>
      </pc:sldChg>
      <pc:sldChg chg="modSp add mod">
        <pc:chgData name="Koksrud Andreas" userId="9d9beba6-c052-407a-8599-c781a677a996" providerId="ADAL" clId="{905ADE08-F996-4E61-A704-9E9FFC9B393E}" dt="2023-12-11T15:33:34.143" v="856" actId="20577"/>
        <pc:sldMkLst>
          <pc:docMk/>
          <pc:sldMk cId="4111253885" sldId="834"/>
        </pc:sldMkLst>
        <pc:spChg chg="mod">
          <ac:chgData name="Koksrud Andreas" userId="9d9beba6-c052-407a-8599-c781a677a996" providerId="ADAL" clId="{905ADE08-F996-4E61-A704-9E9FFC9B393E}" dt="2023-12-11T15:33:34.143" v="856" actId="20577"/>
          <ac:spMkLst>
            <pc:docMk/>
            <pc:sldMk cId="4111253885" sldId="834"/>
            <ac:spMk id="181" creationId="{00000000-0000-0000-0000-000000000000}"/>
          </ac:spMkLst>
        </pc:spChg>
      </pc:sldChg>
      <pc:sldChg chg="modSp add mod">
        <pc:chgData name="Koksrud Andreas" userId="9d9beba6-c052-407a-8599-c781a677a996" providerId="ADAL" clId="{905ADE08-F996-4E61-A704-9E9FFC9B393E}" dt="2023-12-11T15:34:50.919" v="1113" actId="20577"/>
        <pc:sldMkLst>
          <pc:docMk/>
          <pc:sldMk cId="1712697486" sldId="835"/>
        </pc:sldMkLst>
        <pc:spChg chg="mod">
          <ac:chgData name="Koksrud Andreas" userId="9d9beba6-c052-407a-8599-c781a677a996" providerId="ADAL" clId="{905ADE08-F996-4E61-A704-9E9FFC9B393E}" dt="2023-12-11T15:34:50.919" v="1113" actId="20577"/>
          <ac:spMkLst>
            <pc:docMk/>
            <pc:sldMk cId="1712697486" sldId="835"/>
            <ac:spMk id="181" creationId="{00000000-0000-0000-0000-000000000000}"/>
          </ac:spMkLst>
        </pc:spChg>
      </pc:sldChg>
      <pc:sldChg chg="modSp add mod">
        <pc:chgData name="Koksrud Andreas" userId="9d9beba6-c052-407a-8599-c781a677a996" providerId="ADAL" clId="{905ADE08-F996-4E61-A704-9E9FFC9B393E}" dt="2023-12-11T15:37:13.050" v="1313" actId="20577"/>
        <pc:sldMkLst>
          <pc:docMk/>
          <pc:sldMk cId="1864085447" sldId="836"/>
        </pc:sldMkLst>
        <pc:spChg chg="mod">
          <ac:chgData name="Koksrud Andreas" userId="9d9beba6-c052-407a-8599-c781a677a996" providerId="ADAL" clId="{905ADE08-F996-4E61-A704-9E9FFC9B393E}" dt="2023-12-11T15:37:13.050" v="1313" actId="20577"/>
          <ac:spMkLst>
            <pc:docMk/>
            <pc:sldMk cId="1864085447" sldId="836"/>
            <ac:spMk id="181" creationId="{00000000-0000-0000-0000-000000000000}"/>
          </ac:spMkLst>
        </pc:spChg>
      </pc:sldChg>
      <pc:sldChg chg="modSp add mod">
        <pc:chgData name="Koksrud Andreas" userId="9d9beba6-c052-407a-8599-c781a677a996" providerId="ADAL" clId="{905ADE08-F996-4E61-A704-9E9FFC9B393E}" dt="2023-12-11T15:39:42.880" v="1418" actId="20577"/>
        <pc:sldMkLst>
          <pc:docMk/>
          <pc:sldMk cId="2778952537" sldId="837"/>
        </pc:sldMkLst>
        <pc:spChg chg="mod">
          <ac:chgData name="Koksrud Andreas" userId="9d9beba6-c052-407a-8599-c781a677a996" providerId="ADAL" clId="{905ADE08-F996-4E61-A704-9E9FFC9B393E}" dt="2023-12-11T15:39:42.880" v="1418" actId="20577"/>
          <ac:spMkLst>
            <pc:docMk/>
            <pc:sldMk cId="2778952537" sldId="837"/>
            <ac:spMk id="181" creationId="{00000000-0000-0000-0000-000000000000}"/>
          </ac:spMkLst>
        </pc:spChg>
      </pc:sldChg>
      <pc:sldChg chg="add">
        <pc:chgData name="Koksrud Andreas" userId="9d9beba6-c052-407a-8599-c781a677a996" providerId="ADAL" clId="{905ADE08-F996-4E61-A704-9E9FFC9B393E}" dt="2023-12-11T15:32:55.034" v="750"/>
        <pc:sldMkLst>
          <pc:docMk/>
          <pc:sldMk cId="1436840472" sldId="838"/>
        </pc:sldMkLst>
      </pc:sldChg>
      <pc:sldChg chg="addSp delSp modSp add mod ord">
        <pc:chgData name="Koksrud Andreas" userId="9d9beba6-c052-407a-8599-c781a677a996" providerId="ADAL" clId="{905ADE08-F996-4E61-A704-9E9FFC9B393E}" dt="2023-12-12T14:06:00.487" v="1759" actId="1076"/>
        <pc:sldMkLst>
          <pc:docMk/>
          <pc:sldMk cId="1070812493" sldId="839"/>
        </pc:sldMkLst>
        <pc:spChg chg="add mod">
          <ac:chgData name="Koksrud Andreas" userId="9d9beba6-c052-407a-8599-c781a677a996" providerId="ADAL" clId="{905ADE08-F996-4E61-A704-9E9FFC9B393E}" dt="2023-12-12T14:05:35.749" v="1754" actId="20577"/>
          <ac:spMkLst>
            <pc:docMk/>
            <pc:sldMk cId="1070812493" sldId="839"/>
            <ac:spMk id="2" creationId="{6B539DEF-BEF0-2AA6-A90D-BC67AC4C73CD}"/>
          </ac:spMkLst>
        </pc:spChg>
        <pc:spChg chg="mod">
          <ac:chgData name="Koksrud Andreas" userId="9d9beba6-c052-407a-8599-c781a677a996" providerId="ADAL" clId="{905ADE08-F996-4E61-A704-9E9FFC9B393E}" dt="2023-12-12T14:05:57.716" v="1758" actId="1076"/>
          <ac:spMkLst>
            <pc:docMk/>
            <pc:sldMk cId="1070812493" sldId="839"/>
            <ac:spMk id="122" creationId="{589D8BE4-645F-4594-947A-E4BC57588686}"/>
          </ac:spMkLst>
        </pc:spChg>
        <pc:spChg chg="mod">
          <ac:chgData name="Koksrud Andreas" userId="9d9beba6-c052-407a-8599-c781a677a996" providerId="ADAL" clId="{905ADE08-F996-4E61-A704-9E9FFC9B393E}" dt="2023-12-12T14:00:14.021" v="1450" actId="20577"/>
          <ac:spMkLst>
            <pc:docMk/>
            <pc:sldMk cId="1070812493" sldId="839"/>
            <ac:spMk id="180" creationId="{00000000-0000-0000-0000-000000000000}"/>
          </ac:spMkLst>
        </pc:spChg>
        <pc:spChg chg="del mod">
          <ac:chgData name="Koksrud Andreas" userId="9d9beba6-c052-407a-8599-c781a677a996" providerId="ADAL" clId="{905ADE08-F996-4E61-A704-9E9FFC9B393E}" dt="2023-12-12T14:00:58.043" v="1469" actId="478"/>
          <ac:spMkLst>
            <pc:docMk/>
            <pc:sldMk cId="1070812493" sldId="839"/>
            <ac:spMk id="181" creationId="{00000000-0000-0000-0000-000000000000}"/>
          </ac:spMkLst>
        </pc:spChg>
        <pc:picChg chg="add mod modCrop">
          <ac:chgData name="Koksrud Andreas" userId="9d9beba6-c052-407a-8599-c781a677a996" providerId="ADAL" clId="{905ADE08-F996-4E61-A704-9E9FFC9B393E}" dt="2023-12-12T14:04:37.907" v="1697" actId="1076"/>
          <ac:picMkLst>
            <pc:docMk/>
            <pc:sldMk cId="1070812493" sldId="839"/>
            <ac:picMk id="4" creationId="{16ACBFBD-08BB-139F-D9D0-EADD6B408942}"/>
          </ac:picMkLst>
        </pc:picChg>
        <pc:picChg chg="add mod">
          <ac:chgData name="Koksrud Andreas" userId="9d9beba6-c052-407a-8599-c781a677a996" providerId="ADAL" clId="{905ADE08-F996-4E61-A704-9E9FFC9B393E}" dt="2023-12-12T14:06:00.487" v="1759" actId="1076"/>
          <ac:picMkLst>
            <pc:docMk/>
            <pc:sldMk cId="1070812493" sldId="839"/>
            <ac:picMk id="6" creationId="{DFEC059D-3A2C-AA23-2366-4D01CA00FB89}"/>
          </ac:picMkLst>
        </pc:picChg>
      </pc:sldChg>
      <pc:sldChg chg="addSp delSp modSp add mod">
        <pc:chgData name="Koksrud Andreas" userId="9d9beba6-c052-407a-8599-c781a677a996" providerId="ADAL" clId="{905ADE08-F996-4E61-A704-9E9FFC9B393E}" dt="2023-12-12T14:18:08.618" v="2111" actId="14100"/>
        <pc:sldMkLst>
          <pc:docMk/>
          <pc:sldMk cId="2685798531" sldId="840"/>
        </pc:sldMkLst>
        <pc:spChg chg="mod">
          <ac:chgData name="Koksrud Andreas" userId="9d9beba6-c052-407a-8599-c781a677a996" providerId="ADAL" clId="{905ADE08-F996-4E61-A704-9E9FFC9B393E}" dt="2023-12-12T14:18:00.449" v="2109" actId="207"/>
          <ac:spMkLst>
            <pc:docMk/>
            <pc:sldMk cId="2685798531" sldId="840"/>
            <ac:spMk id="2" creationId="{6B539DEF-BEF0-2AA6-A90D-BC67AC4C73CD}"/>
          </ac:spMkLst>
        </pc:spChg>
        <pc:grpChg chg="add del mod">
          <ac:chgData name="Koksrud Andreas" userId="9d9beba6-c052-407a-8599-c781a677a996" providerId="ADAL" clId="{905ADE08-F996-4E61-A704-9E9FFC9B393E}" dt="2023-12-12T14:11:13.132" v="1958"/>
          <ac:grpSpMkLst>
            <pc:docMk/>
            <pc:sldMk cId="2685798531" sldId="840"/>
            <ac:grpSpMk id="11" creationId="{49264E30-90C5-5417-0BB7-C6785BD422AA}"/>
          </ac:grpSpMkLst>
        </pc:grpChg>
        <pc:grpChg chg="mod">
          <ac:chgData name="Koksrud Andreas" userId="9d9beba6-c052-407a-8599-c781a677a996" providerId="ADAL" clId="{905ADE08-F996-4E61-A704-9E9FFC9B393E}" dt="2023-12-12T14:11:00.390" v="1955"/>
          <ac:grpSpMkLst>
            <pc:docMk/>
            <pc:sldMk cId="2685798531" sldId="840"/>
            <ac:grpSpMk id="24" creationId="{4C864C84-8B4F-D0F2-36B8-4043528FA826}"/>
          </ac:grpSpMkLst>
        </pc:grpChg>
        <pc:picChg chg="del">
          <ac:chgData name="Koksrud Andreas" userId="9d9beba6-c052-407a-8599-c781a677a996" providerId="ADAL" clId="{905ADE08-F996-4E61-A704-9E9FFC9B393E}" dt="2023-12-12T14:06:25.239" v="1763" actId="478"/>
          <ac:picMkLst>
            <pc:docMk/>
            <pc:sldMk cId="2685798531" sldId="840"/>
            <ac:picMk id="4" creationId="{16ACBFBD-08BB-139F-D9D0-EADD6B408942}"/>
          </ac:picMkLst>
        </pc:picChg>
        <pc:picChg chg="add mod modCrop">
          <ac:chgData name="Koksrud Andreas" userId="9d9beba6-c052-407a-8599-c781a677a996" providerId="ADAL" clId="{905ADE08-F996-4E61-A704-9E9FFC9B393E}" dt="2023-12-12T14:08:10.760" v="1854" actId="732"/>
          <ac:picMkLst>
            <pc:docMk/>
            <pc:sldMk cId="2685798531" sldId="840"/>
            <ac:picMk id="5" creationId="{FA1D1CDB-0122-8BC7-BDA8-1D165EC5D626}"/>
          </ac:picMkLst>
        </pc:picChg>
        <pc:picChg chg="del">
          <ac:chgData name="Koksrud Andreas" userId="9d9beba6-c052-407a-8599-c781a677a996" providerId="ADAL" clId="{905ADE08-F996-4E61-A704-9E9FFC9B393E}" dt="2023-12-12T14:06:24.606" v="1762" actId="478"/>
          <ac:picMkLst>
            <pc:docMk/>
            <pc:sldMk cId="2685798531" sldId="840"/>
            <ac:picMk id="6" creationId="{DFEC059D-3A2C-AA23-2366-4D01CA00FB89}"/>
          </ac:picMkLst>
        </pc:picChg>
        <pc:picChg chg="add mod modCrop">
          <ac:chgData name="Koksrud Andreas" userId="9d9beba6-c052-407a-8599-c781a677a996" providerId="ADAL" clId="{905ADE08-F996-4E61-A704-9E9FFC9B393E}" dt="2023-12-12T14:08:48.236" v="1888" actId="1076"/>
          <ac:picMkLst>
            <pc:docMk/>
            <pc:sldMk cId="2685798531" sldId="840"/>
            <ac:picMk id="8" creationId="{964DC94F-4CE3-9E77-1C05-790F17DC6E24}"/>
          </ac:picMkLst>
        </pc:picChg>
        <pc:picChg chg="add del mod">
          <ac:chgData name="Koksrud Andreas" userId="9d9beba6-c052-407a-8599-c781a677a996" providerId="ADAL" clId="{905ADE08-F996-4E61-A704-9E9FFC9B393E}" dt="2023-12-12T14:13:46.413" v="2016" actId="478"/>
          <ac:picMkLst>
            <pc:docMk/>
            <pc:sldMk cId="2685798531" sldId="840"/>
            <ac:picMk id="17" creationId="{8B8772CD-3546-8D4B-2082-FE9DA8D0B8B7}"/>
          </ac:picMkLst>
        </pc:picChg>
        <pc:picChg chg="add mod ord modCrop">
          <ac:chgData name="Koksrud Andreas" userId="9d9beba6-c052-407a-8599-c781a677a996" providerId="ADAL" clId="{905ADE08-F996-4E61-A704-9E9FFC9B393E}" dt="2023-12-12T14:14:12.576" v="2022" actId="732"/>
          <ac:picMkLst>
            <pc:docMk/>
            <pc:sldMk cId="2685798531" sldId="840"/>
            <ac:picMk id="34" creationId="{6D1C5FAC-4895-136E-BE85-9762BF1503B0}"/>
          </ac:picMkLst>
        </pc:picChg>
        <pc:inkChg chg="add mod">
          <ac:chgData name="Koksrud Andreas" userId="9d9beba6-c052-407a-8599-c781a677a996" providerId="ADAL" clId="{905ADE08-F996-4E61-A704-9E9FFC9B393E}" dt="2023-12-12T14:11:13.132" v="1958"/>
          <ac:inkMkLst>
            <pc:docMk/>
            <pc:sldMk cId="2685798531" sldId="840"/>
            <ac:inkMk id="9" creationId="{7D41FC44-30D7-8EC4-3C0D-60303B7F9F48}"/>
          </ac:inkMkLst>
        </pc:inkChg>
        <pc:inkChg chg="add del mod">
          <ac:chgData name="Koksrud Andreas" userId="9d9beba6-c052-407a-8599-c781a677a996" providerId="ADAL" clId="{905ADE08-F996-4E61-A704-9E9FFC9B393E}" dt="2023-12-12T14:11:13.132" v="1958"/>
          <ac:inkMkLst>
            <pc:docMk/>
            <pc:sldMk cId="2685798531" sldId="840"/>
            <ac:inkMk id="10" creationId="{7A494DF7-1529-1CC3-00B5-4CAA83CD5C9F}"/>
          </ac:inkMkLst>
        </pc:inkChg>
        <pc:inkChg chg="add del">
          <ac:chgData name="Koksrud Andreas" userId="9d9beba6-c052-407a-8599-c781a677a996" providerId="ADAL" clId="{905ADE08-F996-4E61-A704-9E9FFC9B393E}" dt="2023-12-12T14:09:06.970" v="1895" actId="9405"/>
          <ac:inkMkLst>
            <pc:docMk/>
            <pc:sldMk cId="2685798531" sldId="840"/>
            <ac:inkMk id="12" creationId="{6E1B7F5F-2F12-FB55-FBD3-D5AA1CD20532}"/>
          </ac:inkMkLst>
        </pc:inkChg>
        <pc:inkChg chg="add del">
          <ac:chgData name="Koksrud Andreas" userId="9d9beba6-c052-407a-8599-c781a677a996" providerId="ADAL" clId="{905ADE08-F996-4E61-A704-9E9FFC9B393E}" dt="2023-12-12T14:09:05.640" v="1894" actId="9405"/>
          <ac:inkMkLst>
            <pc:docMk/>
            <pc:sldMk cId="2685798531" sldId="840"/>
            <ac:inkMk id="13" creationId="{70AB2D40-BABE-EF09-855B-9ED381923EB8}"/>
          </ac:inkMkLst>
        </pc:inkChg>
        <pc:inkChg chg="add">
          <ac:chgData name="Koksrud Andreas" userId="9d9beba6-c052-407a-8599-c781a677a996" providerId="ADAL" clId="{905ADE08-F996-4E61-A704-9E9FFC9B393E}" dt="2023-12-12T14:09:09.200" v="1896" actId="9405"/>
          <ac:inkMkLst>
            <pc:docMk/>
            <pc:sldMk cId="2685798531" sldId="840"/>
            <ac:inkMk id="14" creationId="{EC93E4B3-9494-24C0-A12F-DB26FF397062}"/>
          </ac:inkMkLst>
        </pc:inkChg>
        <pc:inkChg chg="add del">
          <ac:chgData name="Koksrud Andreas" userId="9d9beba6-c052-407a-8599-c781a677a996" providerId="ADAL" clId="{905ADE08-F996-4E61-A704-9E9FFC9B393E}" dt="2023-12-12T14:09:22.880" v="1898" actId="9405"/>
          <ac:inkMkLst>
            <pc:docMk/>
            <pc:sldMk cId="2685798531" sldId="840"/>
            <ac:inkMk id="15" creationId="{9C5C7EB7-1FC2-EC4B-DC4F-C3F20221A47C}"/>
          </ac:inkMkLst>
        </pc:inkChg>
        <pc:inkChg chg="add del">
          <ac:chgData name="Koksrud Andreas" userId="9d9beba6-c052-407a-8599-c781a677a996" providerId="ADAL" clId="{905ADE08-F996-4E61-A704-9E9FFC9B393E}" dt="2023-12-12T14:11:17.452" v="1960"/>
          <ac:inkMkLst>
            <pc:docMk/>
            <pc:sldMk cId="2685798531" sldId="840"/>
            <ac:inkMk id="18" creationId="{4AA4232C-3F24-F783-09EA-83F290D660A9}"/>
          </ac:inkMkLst>
        </pc:inkChg>
        <pc:inkChg chg="add del">
          <ac:chgData name="Koksrud Andreas" userId="9d9beba6-c052-407a-8599-c781a677a996" providerId="ADAL" clId="{905ADE08-F996-4E61-A704-9E9FFC9B393E}" dt="2023-12-12T14:11:15.824" v="1959"/>
          <ac:inkMkLst>
            <pc:docMk/>
            <pc:sldMk cId="2685798531" sldId="840"/>
            <ac:inkMk id="19" creationId="{BD4B8F9C-E185-954B-E33E-536C062E8FAF}"/>
          </ac:inkMkLst>
        </pc:inkChg>
        <pc:inkChg chg="add mod">
          <ac:chgData name="Koksrud Andreas" userId="9d9beba6-c052-407a-8599-c781a677a996" providerId="ADAL" clId="{905ADE08-F996-4E61-A704-9E9FFC9B393E}" dt="2023-12-12T14:12:15.493" v="1970" actId="1076"/>
          <ac:inkMkLst>
            <pc:docMk/>
            <pc:sldMk cId="2685798531" sldId="840"/>
            <ac:inkMk id="20" creationId="{D1E06875-6E46-44AA-8159-B5C24C076C77}"/>
          </ac:inkMkLst>
        </pc:inkChg>
        <pc:inkChg chg="add del">
          <ac:chgData name="Koksrud Andreas" userId="9d9beba6-c052-407a-8599-c781a677a996" providerId="ADAL" clId="{905ADE08-F996-4E61-A704-9E9FFC9B393E}" dt="2023-12-12T14:10:44.324" v="1950" actId="9405"/>
          <ac:inkMkLst>
            <pc:docMk/>
            <pc:sldMk cId="2685798531" sldId="840"/>
            <ac:inkMk id="21" creationId="{67810F8D-E8A4-2F75-EE7D-241F7FF517FE}"/>
          </ac:inkMkLst>
        </pc:inkChg>
        <pc:inkChg chg="add del">
          <ac:chgData name="Koksrud Andreas" userId="9d9beba6-c052-407a-8599-c781a677a996" providerId="ADAL" clId="{905ADE08-F996-4E61-A704-9E9FFC9B393E}" dt="2023-12-12T14:11:18.917" v="1961"/>
          <ac:inkMkLst>
            <pc:docMk/>
            <pc:sldMk cId="2685798531" sldId="840"/>
            <ac:inkMk id="22" creationId="{BA9A69B7-78FE-3B88-1FC2-3762436BF465}"/>
          </ac:inkMkLst>
        </pc:inkChg>
        <pc:inkChg chg="add del mod">
          <ac:chgData name="Koksrud Andreas" userId="9d9beba6-c052-407a-8599-c781a677a996" providerId="ADAL" clId="{905ADE08-F996-4E61-A704-9E9FFC9B393E}" dt="2023-12-12T14:11:00.390" v="1955"/>
          <ac:inkMkLst>
            <pc:docMk/>
            <pc:sldMk cId="2685798531" sldId="840"/>
            <ac:inkMk id="23" creationId="{5721DEAC-19D3-0636-D314-C7A72847D80C}"/>
          </ac:inkMkLst>
        </pc:inkChg>
        <pc:inkChg chg="add del">
          <ac:chgData name="Koksrud Andreas" userId="9d9beba6-c052-407a-8599-c781a677a996" providerId="ADAL" clId="{905ADE08-F996-4E61-A704-9E9FFC9B393E}" dt="2023-12-12T14:11:06.295" v="1957" actId="9405"/>
          <ac:inkMkLst>
            <pc:docMk/>
            <pc:sldMk cId="2685798531" sldId="840"/>
            <ac:inkMk id="25" creationId="{293357F7-04AC-85ED-418A-E058E2FF4B1D}"/>
          </ac:inkMkLst>
        </pc:inkChg>
        <pc:inkChg chg="add mod">
          <ac:chgData name="Koksrud Andreas" userId="9d9beba6-c052-407a-8599-c781a677a996" providerId="ADAL" clId="{905ADE08-F996-4E61-A704-9E9FFC9B393E}" dt="2023-12-12T14:12:15.493" v="1970" actId="1076"/>
          <ac:inkMkLst>
            <pc:docMk/>
            <pc:sldMk cId="2685798531" sldId="840"/>
            <ac:inkMk id="26" creationId="{506B2C7D-993D-7DB3-5D05-6B6080E348A0}"/>
          </ac:inkMkLst>
        </pc:inkChg>
        <pc:inkChg chg="add del">
          <ac:chgData name="Koksrud Andreas" userId="9d9beba6-c052-407a-8599-c781a677a996" providerId="ADAL" clId="{905ADE08-F996-4E61-A704-9E9FFC9B393E}" dt="2023-12-12T14:11:31.717" v="1964" actId="9405"/>
          <ac:inkMkLst>
            <pc:docMk/>
            <pc:sldMk cId="2685798531" sldId="840"/>
            <ac:inkMk id="27" creationId="{52BFDFF6-8F6D-8CEC-7FAC-0E40A00F3BF6}"/>
          </ac:inkMkLst>
        </pc:inkChg>
        <pc:inkChg chg="add">
          <ac:chgData name="Koksrud Andreas" userId="9d9beba6-c052-407a-8599-c781a677a996" providerId="ADAL" clId="{905ADE08-F996-4E61-A704-9E9FFC9B393E}" dt="2023-12-12T14:11:34.655" v="1965" actId="9405"/>
          <ac:inkMkLst>
            <pc:docMk/>
            <pc:sldMk cId="2685798531" sldId="840"/>
            <ac:inkMk id="28" creationId="{CB8F037B-F1EF-9347-C28B-C91E87814DCE}"/>
          </ac:inkMkLst>
        </pc:inkChg>
        <pc:inkChg chg="add mod">
          <ac:chgData name="Koksrud Andreas" userId="9d9beba6-c052-407a-8599-c781a677a996" providerId="ADAL" clId="{905ADE08-F996-4E61-A704-9E9FFC9B393E}" dt="2023-12-12T14:17:25.093" v="2106" actId="1076"/>
          <ac:inkMkLst>
            <pc:docMk/>
            <pc:sldMk cId="2685798531" sldId="840"/>
            <ac:inkMk id="29" creationId="{26467775-29D8-F70A-013F-F4F832036DAE}"/>
          </ac:inkMkLst>
        </pc:inkChg>
        <pc:inkChg chg="add mod">
          <ac:chgData name="Koksrud Andreas" userId="9d9beba6-c052-407a-8599-c781a677a996" providerId="ADAL" clId="{905ADE08-F996-4E61-A704-9E9FFC9B393E}" dt="2023-12-12T14:16:59.990" v="2098" actId="14100"/>
          <ac:inkMkLst>
            <pc:docMk/>
            <pc:sldMk cId="2685798531" sldId="840"/>
            <ac:inkMk id="30" creationId="{F8B853B3-56FC-9FDD-C740-E6EA9A1A4598}"/>
          </ac:inkMkLst>
        </pc:inkChg>
        <pc:inkChg chg="add">
          <ac:chgData name="Koksrud Andreas" userId="9d9beba6-c052-407a-8599-c781a677a996" providerId="ADAL" clId="{905ADE08-F996-4E61-A704-9E9FFC9B393E}" dt="2023-12-12T14:11:48.875" v="1968" actId="9405"/>
          <ac:inkMkLst>
            <pc:docMk/>
            <pc:sldMk cId="2685798531" sldId="840"/>
            <ac:inkMk id="31" creationId="{E14D3840-295E-488D-96E9-B861031FE7CC}"/>
          </ac:inkMkLst>
        </pc:inkChg>
        <pc:inkChg chg="add mod">
          <ac:chgData name="Koksrud Andreas" userId="9d9beba6-c052-407a-8599-c781a677a996" providerId="ADAL" clId="{905ADE08-F996-4E61-A704-9E9FFC9B393E}" dt="2023-12-12T14:14:22.753" v="2025" actId="14100"/>
          <ac:inkMkLst>
            <pc:docMk/>
            <pc:sldMk cId="2685798531" sldId="840"/>
            <ac:inkMk id="32" creationId="{A9B8A2E3-24FD-08BD-79D8-F9665417262E}"/>
          </ac:inkMkLst>
        </pc:inkChg>
        <pc:inkChg chg="add mod">
          <ac:chgData name="Koksrud Andreas" userId="9d9beba6-c052-407a-8599-c781a677a996" providerId="ADAL" clId="{905ADE08-F996-4E61-A704-9E9FFC9B393E}" dt="2023-12-12T14:18:08.618" v="2111" actId="14100"/>
          <ac:inkMkLst>
            <pc:docMk/>
            <pc:sldMk cId="2685798531" sldId="840"/>
            <ac:inkMk id="35" creationId="{2EFC97F4-B7A9-B9AC-1CA3-90508208F20A}"/>
          </ac:inkMkLst>
        </pc:inkChg>
      </pc:sldChg>
      <pc:sldChg chg="addSp delSp modSp add mod">
        <pc:chgData name="Koksrud Andreas" userId="9d9beba6-c052-407a-8599-c781a677a996" providerId="ADAL" clId="{905ADE08-F996-4E61-A704-9E9FFC9B393E}" dt="2023-12-13T09:24:41.830" v="3241" actId="20577"/>
        <pc:sldMkLst>
          <pc:docMk/>
          <pc:sldMk cId="2309282967" sldId="841"/>
        </pc:sldMkLst>
        <pc:spChg chg="mod">
          <ac:chgData name="Koksrud Andreas" userId="9d9beba6-c052-407a-8599-c781a677a996" providerId="ADAL" clId="{905ADE08-F996-4E61-A704-9E9FFC9B393E}" dt="2023-12-12T14:19:22.385" v="2160" actId="14100"/>
          <ac:spMkLst>
            <pc:docMk/>
            <pc:sldMk cId="2309282967" sldId="841"/>
            <ac:spMk id="2" creationId="{6B539DEF-BEF0-2AA6-A90D-BC67AC4C73CD}"/>
          </ac:spMkLst>
        </pc:spChg>
        <pc:spChg chg="add mod">
          <ac:chgData name="Koksrud Andreas" userId="9d9beba6-c052-407a-8599-c781a677a996" providerId="ADAL" clId="{905ADE08-F996-4E61-A704-9E9FFC9B393E}" dt="2023-12-13T07:54:07.844" v="2940" actId="20577"/>
          <ac:spMkLst>
            <pc:docMk/>
            <pc:sldMk cId="2309282967" sldId="841"/>
            <ac:spMk id="4" creationId="{F5738D0C-CBD4-78A4-C3C7-21AA65CB25E4}"/>
          </ac:spMkLst>
        </pc:spChg>
        <pc:spChg chg="add mod">
          <ac:chgData name="Koksrud Andreas" userId="9d9beba6-c052-407a-8599-c781a677a996" providerId="ADAL" clId="{905ADE08-F996-4E61-A704-9E9FFC9B393E}" dt="2023-12-13T09:24:41.830" v="3241" actId="20577"/>
          <ac:spMkLst>
            <pc:docMk/>
            <pc:sldMk cId="2309282967" sldId="841"/>
            <ac:spMk id="6" creationId="{5BDD3AAC-325F-DE80-3D51-9E564913C38B}"/>
          </ac:spMkLst>
        </pc:spChg>
        <pc:picChg chg="del">
          <ac:chgData name="Koksrud Andreas" userId="9d9beba6-c052-407a-8599-c781a677a996" providerId="ADAL" clId="{905ADE08-F996-4E61-A704-9E9FFC9B393E}" dt="2023-12-12T14:19:09.646" v="2153" actId="478"/>
          <ac:picMkLst>
            <pc:docMk/>
            <pc:sldMk cId="2309282967" sldId="841"/>
            <ac:picMk id="5" creationId="{FA1D1CDB-0122-8BC7-BDA8-1D165EC5D626}"/>
          </ac:picMkLst>
        </pc:picChg>
        <pc:picChg chg="del">
          <ac:chgData name="Koksrud Andreas" userId="9d9beba6-c052-407a-8599-c781a677a996" providerId="ADAL" clId="{905ADE08-F996-4E61-A704-9E9FFC9B393E}" dt="2023-12-12T14:19:08.852" v="2152" actId="478"/>
          <ac:picMkLst>
            <pc:docMk/>
            <pc:sldMk cId="2309282967" sldId="841"/>
            <ac:picMk id="8" creationId="{964DC94F-4CE3-9E77-1C05-790F17DC6E24}"/>
          </ac:picMkLst>
        </pc:picChg>
        <pc:picChg chg="add mod">
          <ac:chgData name="Koksrud Andreas" userId="9d9beba6-c052-407a-8599-c781a677a996" providerId="ADAL" clId="{905ADE08-F996-4E61-A704-9E9FFC9B393E}" dt="2023-12-13T09:24:27.623" v="3202" actId="1076"/>
          <ac:picMkLst>
            <pc:docMk/>
            <pc:sldMk cId="2309282967" sldId="841"/>
            <ac:picMk id="10" creationId="{99972FBC-6511-25D7-0A58-058A9C8D59CC}"/>
          </ac:picMkLst>
        </pc:picChg>
        <pc:picChg chg="del">
          <ac:chgData name="Koksrud Andreas" userId="9d9beba6-c052-407a-8599-c781a677a996" providerId="ADAL" clId="{905ADE08-F996-4E61-A704-9E9FFC9B393E}" dt="2023-12-12T14:19:13.493" v="2155" actId="478"/>
          <ac:picMkLst>
            <pc:docMk/>
            <pc:sldMk cId="2309282967" sldId="841"/>
            <ac:picMk id="34" creationId="{6D1C5FAC-4895-136E-BE85-9762BF1503B0}"/>
          </ac:picMkLst>
        </pc:picChg>
        <pc:inkChg chg="del">
          <ac:chgData name="Koksrud Andreas" userId="9d9beba6-c052-407a-8599-c781a677a996" providerId="ADAL" clId="{905ADE08-F996-4E61-A704-9E9FFC9B393E}" dt="2023-12-12T14:19:12.024" v="2154" actId="478"/>
          <ac:inkMkLst>
            <pc:docMk/>
            <pc:sldMk cId="2309282967" sldId="841"/>
            <ac:inkMk id="9" creationId="{7D41FC44-30D7-8EC4-3C0D-60303B7F9F48}"/>
          </ac:inkMkLst>
        </pc:inkChg>
        <pc:inkChg chg="del">
          <ac:chgData name="Koksrud Andreas" userId="9d9beba6-c052-407a-8599-c781a677a996" providerId="ADAL" clId="{905ADE08-F996-4E61-A704-9E9FFC9B393E}" dt="2023-12-12T14:19:12.024" v="2154" actId="478"/>
          <ac:inkMkLst>
            <pc:docMk/>
            <pc:sldMk cId="2309282967" sldId="841"/>
            <ac:inkMk id="14" creationId="{EC93E4B3-9494-24C0-A12F-DB26FF397062}"/>
          </ac:inkMkLst>
        </pc:inkChg>
        <pc:inkChg chg="del">
          <ac:chgData name="Koksrud Andreas" userId="9d9beba6-c052-407a-8599-c781a677a996" providerId="ADAL" clId="{905ADE08-F996-4E61-A704-9E9FFC9B393E}" dt="2023-12-12T14:19:16.004" v="2157" actId="478"/>
          <ac:inkMkLst>
            <pc:docMk/>
            <pc:sldMk cId="2309282967" sldId="841"/>
            <ac:inkMk id="20" creationId="{D1E06875-6E46-44AA-8159-B5C24C076C77}"/>
          </ac:inkMkLst>
        </pc:inkChg>
        <pc:inkChg chg="del">
          <ac:chgData name="Koksrud Andreas" userId="9d9beba6-c052-407a-8599-c781a677a996" providerId="ADAL" clId="{905ADE08-F996-4E61-A704-9E9FFC9B393E}" dt="2023-12-12T14:19:16.004" v="2157" actId="478"/>
          <ac:inkMkLst>
            <pc:docMk/>
            <pc:sldMk cId="2309282967" sldId="841"/>
            <ac:inkMk id="26" creationId="{506B2C7D-993D-7DB3-5D05-6B6080E348A0}"/>
          </ac:inkMkLst>
        </pc:inkChg>
        <pc:inkChg chg="del">
          <ac:chgData name="Koksrud Andreas" userId="9d9beba6-c052-407a-8599-c781a677a996" providerId="ADAL" clId="{905ADE08-F996-4E61-A704-9E9FFC9B393E}" dt="2023-12-12T14:19:12.024" v="2154" actId="478"/>
          <ac:inkMkLst>
            <pc:docMk/>
            <pc:sldMk cId="2309282967" sldId="841"/>
            <ac:inkMk id="28" creationId="{CB8F037B-F1EF-9347-C28B-C91E87814DCE}"/>
          </ac:inkMkLst>
        </pc:inkChg>
        <pc:inkChg chg="del">
          <ac:chgData name="Koksrud Andreas" userId="9d9beba6-c052-407a-8599-c781a677a996" providerId="ADAL" clId="{905ADE08-F996-4E61-A704-9E9FFC9B393E}" dt="2023-12-12T14:19:16.004" v="2157" actId="478"/>
          <ac:inkMkLst>
            <pc:docMk/>
            <pc:sldMk cId="2309282967" sldId="841"/>
            <ac:inkMk id="29" creationId="{26467775-29D8-F70A-013F-F4F832036DAE}"/>
          </ac:inkMkLst>
        </pc:inkChg>
        <pc:inkChg chg="del">
          <ac:chgData name="Koksrud Andreas" userId="9d9beba6-c052-407a-8599-c781a677a996" providerId="ADAL" clId="{905ADE08-F996-4E61-A704-9E9FFC9B393E}" dt="2023-12-12T14:19:14.672" v="2156" actId="478"/>
          <ac:inkMkLst>
            <pc:docMk/>
            <pc:sldMk cId="2309282967" sldId="841"/>
            <ac:inkMk id="30" creationId="{F8B853B3-56FC-9FDD-C740-E6EA9A1A4598}"/>
          </ac:inkMkLst>
        </pc:inkChg>
        <pc:inkChg chg="del">
          <ac:chgData name="Koksrud Andreas" userId="9d9beba6-c052-407a-8599-c781a677a996" providerId="ADAL" clId="{905ADE08-F996-4E61-A704-9E9FFC9B393E}" dt="2023-12-12T14:19:12.024" v="2154" actId="478"/>
          <ac:inkMkLst>
            <pc:docMk/>
            <pc:sldMk cId="2309282967" sldId="841"/>
            <ac:inkMk id="31" creationId="{E14D3840-295E-488D-96E9-B861031FE7CC}"/>
          </ac:inkMkLst>
        </pc:inkChg>
        <pc:inkChg chg="del">
          <ac:chgData name="Koksrud Andreas" userId="9d9beba6-c052-407a-8599-c781a677a996" providerId="ADAL" clId="{905ADE08-F996-4E61-A704-9E9FFC9B393E}" dt="2023-12-12T14:19:18.503" v="2159" actId="478"/>
          <ac:inkMkLst>
            <pc:docMk/>
            <pc:sldMk cId="2309282967" sldId="841"/>
            <ac:inkMk id="32" creationId="{A9B8A2E3-24FD-08BD-79D8-F9665417262E}"/>
          </ac:inkMkLst>
        </pc:inkChg>
        <pc:inkChg chg="del">
          <ac:chgData name="Koksrud Andreas" userId="9d9beba6-c052-407a-8599-c781a677a996" providerId="ADAL" clId="{905ADE08-F996-4E61-A704-9E9FFC9B393E}" dt="2023-12-12T14:19:17.341" v="2158" actId="478"/>
          <ac:inkMkLst>
            <pc:docMk/>
            <pc:sldMk cId="2309282967" sldId="841"/>
            <ac:inkMk id="35" creationId="{2EFC97F4-B7A9-B9AC-1CA3-90508208F20A}"/>
          </ac:inkMkLst>
        </pc:inkChg>
      </pc:sldChg>
      <pc:sldChg chg="addSp delSp modSp add mod ord">
        <pc:chgData name="Koksrud Andreas" userId="9d9beba6-c052-407a-8599-c781a677a996" providerId="ADAL" clId="{905ADE08-F996-4E61-A704-9E9FFC9B393E}" dt="2023-12-13T07:53:52.316" v="2933" actId="20577"/>
        <pc:sldMkLst>
          <pc:docMk/>
          <pc:sldMk cId="685011829" sldId="842"/>
        </pc:sldMkLst>
        <pc:spChg chg="mod">
          <ac:chgData name="Koksrud Andreas" userId="9d9beba6-c052-407a-8599-c781a677a996" providerId="ADAL" clId="{905ADE08-F996-4E61-A704-9E9FFC9B393E}" dt="2023-12-13T07:53:52.316" v="2933" actId="20577"/>
          <ac:spMkLst>
            <pc:docMk/>
            <pc:sldMk cId="685011829" sldId="842"/>
            <ac:spMk id="2" creationId="{6B539DEF-BEF0-2AA6-A90D-BC67AC4C73CD}"/>
          </ac:spMkLst>
        </pc:spChg>
        <pc:graphicFrameChg chg="add del mod">
          <ac:chgData name="Koksrud Andreas" userId="9d9beba6-c052-407a-8599-c781a677a996" providerId="ADAL" clId="{905ADE08-F996-4E61-A704-9E9FFC9B393E}" dt="2023-12-13T07:05:57.272" v="2753"/>
          <ac:graphicFrameMkLst>
            <pc:docMk/>
            <pc:sldMk cId="685011829" sldId="842"/>
            <ac:graphicFrameMk id="12" creationId="{52293B95-C17D-E781-C1EB-963D924E194F}"/>
          </ac:graphicFrameMkLst>
        </pc:graphicFrameChg>
        <pc:picChg chg="add mod">
          <ac:chgData name="Koksrud Andreas" userId="9d9beba6-c052-407a-8599-c781a677a996" providerId="ADAL" clId="{905ADE08-F996-4E61-A704-9E9FFC9B393E}" dt="2023-12-12T14:22:25.294" v="2200" actId="1076"/>
          <ac:picMkLst>
            <pc:docMk/>
            <pc:sldMk cId="685011829" sldId="842"/>
            <ac:picMk id="4" creationId="{CD27EE68-E949-5DC0-F5A5-089E60CE19C8}"/>
          </ac:picMkLst>
        </pc:picChg>
        <pc:picChg chg="del">
          <ac:chgData name="Koksrud Andreas" userId="9d9beba6-c052-407a-8599-c781a677a996" providerId="ADAL" clId="{905ADE08-F996-4E61-A704-9E9FFC9B393E}" dt="2023-12-12T14:21:51.809" v="2185" actId="478"/>
          <ac:picMkLst>
            <pc:docMk/>
            <pc:sldMk cId="685011829" sldId="842"/>
            <ac:picMk id="5" creationId="{FA1D1CDB-0122-8BC7-BDA8-1D165EC5D626}"/>
          </ac:picMkLst>
        </pc:picChg>
        <pc:picChg chg="add del mod">
          <ac:chgData name="Koksrud Andreas" userId="9d9beba6-c052-407a-8599-c781a677a996" providerId="ADAL" clId="{905ADE08-F996-4E61-A704-9E9FFC9B393E}" dt="2023-12-13T07:48:41.674" v="2809" actId="478"/>
          <ac:picMkLst>
            <pc:docMk/>
            <pc:sldMk cId="685011829" sldId="842"/>
            <ac:picMk id="7" creationId="{B4C29A63-A2AE-9195-40D6-8D0EC6160D2B}"/>
          </ac:picMkLst>
        </pc:picChg>
        <pc:picChg chg="del">
          <ac:chgData name="Koksrud Andreas" userId="9d9beba6-c052-407a-8599-c781a677a996" providerId="ADAL" clId="{905ADE08-F996-4E61-A704-9E9FFC9B393E}" dt="2023-12-12T14:21:55.473" v="2186" actId="478"/>
          <ac:picMkLst>
            <pc:docMk/>
            <pc:sldMk cId="685011829" sldId="842"/>
            <ac:picMk id="8" creationId="{964DC94F-4CE3-9E77-1C05-790F17DC6E24}"/>
          </ac:picMkLst>
        </pc:picChg>
        <pc:picChg chg="add mod modCrop">
          <ac:chgData name="Koksrud Andreas" userId="9d9beba6-c052-407a-8599-c781a677a996" providerId="ADAL" clId="{905ADE08-F996-4E61-A704-9E9FFC9B393E}" dt="2023-12-12T14:29:59.246" v="2329" actId="1076"/>
          <ac:picMkLst>
            <pc:docMk/>
            <pc:sldMk cId="685011829" sldId="842"/>
            <ac:picMk id="11" creationId="{C3DB902A-EBDB-5DD0-3C18-0BDD4E0CA8B1}"/>
          </ac:picMkLst>
        </pc:picChg>
        <pc:picChg chg="add mod">
          <ac:chgData name="Koksrud Andreas" userId="9d9beba6-c052-407a-8599-c781a677a996" providerId="ADAL" clId="{905ADE08-F996-4E61-A704-9E9FFC9B393E}" dt="2023-12-13T07:50:14.347" v="2909" actId="1076"/>
          <ac:picMkLst>
            <pc:docMk/>
            <pc:sldMk cId="685011829" sldId="842"/>
            <ac:picMk id="15" creationId="{BA161936-FBBD-7AC9-F759-4CA842D7B33F}"/>
          </ac:picMkLst>
        </pc:picChg>
        <pc:picChg chg="add mod modCrop">
          <ac:chgData name="Koksrud Andreas" userId="9d9beba6-c052-407a-8599-c781a677a996" providerId="ADAL" clId="{905ADE08-F996-4E61-A704-9E9FFC9B393E}" dt="2023-12-13T07:53:48.467" v="2929" actId="732"/>
          <ac:picMkLst>
            <pc:docMk/>
            <pc:sldMk cId="685011829" sldId="842"/>
            <ac:picMk id="17" creationId="{AE665B1C-CB9E-2500-BE81-4AE1C755B7C6}"/>
          </ac:picMkLst>
        </pc:picChg>
        <pc:picChg chg="add mod modCrop">
          <ac:chgData name="Koksrud Andreas" userId="9d9beba6-c052-407a-8599-c781a677a996" providerId="ADAL" clId="{905ADE08-F996-4E61-A704-9E9FFC9B393E}" dt="2023-12-13T07:53:43.195" v="2928" actId="732"/>
          <ac:picMkLst>
            <pc:docMk/>
            <pc:sldMk cId="685011829" sldId="842"/>
            <ac:picMk id="19" creationId="{D4356995-C4F7-D58E-D0D2-F975BE842509}"/>
          </ac:picMkLst>
        </pc:picChg>
        <pc:picChg chg="del">
          <ac:chgData name="Koksrud Andreas" userId="9d9beba6-c052-407a-8599-c781a677a996" providerId="ADAL" clId="{905ADE08-F996-4E61-A704-9E9FFC9B393E}" dt="2023-12-12T14:22:03.190" v="2190" actId="478"/>
          <ac:picMkLst>
            <pc:docMk/>
            <pc:sldMk cId="685011829" sldId="842"/>
            <ac:picMk id="34" creationId="{6D1C5FAC-4895-136E-BE85-9762BF1503B0}"/>
          </ac:picMkLst>
        </pc:picChg>
        <pc:inkChg chg="del">
          <ac:chgData name="Koksrud Andreas" userId="9d9beba6-c052-407a-8599-c781a677a996" providerId="ADAL" clId="{905ADE08-F996-4E61-A704-9E9FFC9B393E}" dt="2023-12-12T14:21:57.833" v="2187" actId="478"/>
          <ac:inkMkLst>
            <pc:docMk/>
            <pc:sldMk cId="685011829" sldId="842"/>
            <ac:inkMk id="9" creationId="{7D41FC44-30D7-8EC4-3C0D-60303B7F9F48}"/>
          </ac:inkMkLst>
        </pc:inkChg>
        <pc:inkChg chg="del">
          <ac:chgData name="Koksrud Andreas" userId="9d9beba6-c052-407a-8599-c781a677a996" providerId="ADAL" clId="{905ADE08-F996-4E61-A704-9E9FFC9B393E}" dt="2023-12-12T14:21:57.833" v="2187" actId="478"/>
          <ac:inkMkLst>
            <pc:docMk/>
            <pc:sldMk cId="685011829" sldId="842"/>
            <ac:inkMk id="14" creationId="{EC93E4B3-9494-24C0-A12F-DB26FF397062}"/>
          </ac:inkMkLst>
        </pc:inkChg>
        <pc:inkChg chg="del">
          <ac:chgData name="Koksrud Andreas" userId="9d9beba6-c052-407a-8599-c781a677a996" providerId="ADAL" clId="{905ADE08-F996-4E61-A704-9E9FFC9B393E}" dt="2023-12-12T14:22:05.721" v="2191" actId="478"/>
          <ac:inkMkLst>
            <pc:docMk/>
            <pc:sldMk cId="685011829" sldId="842"/>
            <ac:inkMk id="20" creationId="{D1E06875-6E46-44AA-8159-B5C24C076C77}"/>
          </ac:inkMkLst>
        </pc:inkChg>
        <pc:inkChg chg="del">
          <ac:chgData name="Koksrud Andreas" userId="9d9beba6-c052-407a-8599-c781a677a996" providerId="ADAL" clId="{905ADE08-F996-4E61-A704-9E9FFC9B393E}" dt="2023-12-12T14:22:05.721" v="2191" actId="478"/>
          <ac:inkMkLst>
            <pc:docMk/>
            <pc:sldMk cId="685011829" sldId="842"/>
            <ac:inkMk id="26" creationId="{506B2C7D-993D-7DB3-5D05-6B6080E348A0}"/>
          </ac:inkMkLst>
        </pc:inkChg>
        <pc:inkChg chg="del">
          <ac:chgData name="Koksrud Andreas" userId="9d9beba6-c052-407a-8599-c781a677a996" providerId="ADAL" clId="{905ADE08-F996-4E61-A704-9E9FFC9B393E}" dt="2023-12-12T14:21:57.833" v="2187" actId="478"/>
          <ac:inkMkLst>
            <pc:docMk/>
            <pc:sldMk cId="685011829" sldId="842"/>
            <ac:inkMk id="28" creationId="{CB8F037B-F1EF-9347-C28B-C91E87814DCE}"/>
          </ac:inkMkLst>
        </pc:inkChg>
        <pc:inkChg chg="del">
          <ac:chgData name="Koksrud Andreas" userId="9d9beba6-c052-407a-8599-c781a677a996" providerId="ADAL" clId="{905ADE08-F996-4E61-A704-9E9FFC9B393E}" dt="2023-12-12T14:22:15.765" v="2196" actId="478"/>
          <ac:inkMkLst>
            <pc:docMk/>
            <pc:sldMk cId="685011829" sldId="842"/>
            <ac:inkMk id="29" creationId="{26467775-29D8-F70A-013F-F4F832036DAE}"/>
          </ac:inkMkLst>
        </pc:inkChg>
        <pc:inkChg chg="del">
          <ac:chgData name="Koksrud Andreas" userId="9d9beba6-c052-407a-8599-c781a677a996" providerId="ADAL" clId="{905ADE08-F996-4E61-A704-9E9FFC9B393E}" dt="2023-12-12T14:22:05.721" v="2191" actId="478"/>
          <ac:inkMkLst>
            <pc:docMk/>
            <pc:sldMk cId="685011829" sldId="842"/>
            <ac:inkMk id="30" creationId="{F8B853B3-56FC-9FDD-C740-E6EA9A1A4598}"/>
          </ac:inkMkLst>
        </pc:inkChg>
        <pc:inkChg chg="del">
          <ac:chgData name="Koksrud Andreas" userId="9d9beba6-c052-407a-8599-c781a677a996" providerId="ADAL" clId="{905ADE08-F996-4E61-A704-9E9FFC9B393E}" dt="2023-12-12T14:21:57.833" v="2187" actId="478"/>
          <ac:inkMkLst>
            <pc:docMk/>
            <pc:sldMk cId="685011829" sldId="842"/>
            <ac:inkMk id="31" creationId="{E14D3840-295E-488D-96E9-B861031FE7CC}"/>
          </ac:inkMkLst>
        </pc:inkChg>
        <pc:inkChg chg="del">
          <ac:chgData name="Koksrud Andreas" userId="9d9beba6-c052-407a-8599-c781a677a996" providerId="ADAL" clId="{905ADE08-F996-4E61-A704-9E9FFC9B393E}" dt="2023-12-12T14:22:07.120" v="2192" actId="478"/>
          <ac:inkMkLst>
            <pc:docMk/>
            <pc:sldMk cId="685011829" sldId="842"/>
            <ac:inkMk id="32" creationId="{A9B8A2E3-24FD-08BD-79D8-F9665417262E}"/>
          </ac:inkMkLst>
        </pc:inkChg>
        <pc:inkChg chg="del">
          <ac:chgData name="Koksrud Andreas" userId="9d9beba6-c052-407a-8599-c781a677a996" providerId="ADAL" clId="{905ADE08-F996-4E61-A704-9E9FFC9B393E}" dt="2023-12-12T14:22:14.696" v="2195" actId="478"/>
          <ac:inkMkLst>
            <pc:docMk/>
            <pc:sldMk cId="685011829" sldId="842"/>
            <ac:inkMk id="35" creationId="{2EFC97F4-B7A9-B9AC-1CA3-90508208F20A}"/>
          </ac:inkMkLst>
        </pc:inkChg>
      </pc:sldChg>
      <pc:sldChg chg="modSp add del mod ord">
        <pc:chgData name="Koksrud Andreas" userId="9d9beba6-c052-407a-8599-c781a677a996" providerId="ADAL" clId="{905ADE08-F996-4E61-A704-9E9FFC9B393E}" dt="2023-12-13T07:51:10.932" v="2917" actId="47"/>
        <pc:sldMkLst>
          <pc:docMk/>
          <pc:sldMk cId="1752389271" sldId="843"/>
        </pc:sldMkLst>
        <pc:spChg chg="mod">
          <ac:chgData name="Koksrud Andreas" userId="9d9beba6-c052-407a-8599-c781a677a996" providerId="ADAL" clId="{905ADE08-F996-4E61-A704-9E9FFC9B393E}" dt="2023-12-13T06:30:01.211" v="2457" actId="13926"/>
          <ac:spMkLst>
            <pc:docMk/>
            <pc:sldMk cId="1752389271" sldId="843"/>
            <ac:spMk id="2" creationId="{6B539DEF-BEF0-2AA6-A90D-BC67AC4C73CD}"/>
          </ac:spMkLst>
        </pc:spChg>
        <pc:spChg chg="mod">
          <ac:chgData name="Koksrud Andreas" userId="9d9beba6-c052-407a-8599-c781a677a996" providerId="ADAL" clId="{905ADE08-F996-4E61-A704-9E9FFC9B393E}" dt="2023-12-13T07:02:59.951" v="2751" actId="20577"/>
          <ac:spMkLst>
            <pc:docMk/>
            <pc:sldMk cId="1752389271" sldId="843"/>
            <ac:spMk id="4" creationId="{F5738D0C-CBD4-78A4-C3C7-21AA65CB25E4}"/>
          </ac:spMkLst>
        </pc:spChg>
      </pc:sldChg>
      <pc:sldChg chg="addSp delSp modSp add mod ord">
        <pc:chgData name="Koksrud Andreas" userId="9d9beba6-c052-407a-8599-c781a677a996" providerId="ADAL" clId="{905ADE08-F996-4E61-A704-9E9FFC9B393E}" dt="2023-12-13T06:52:37.552" v="2712" actId="1076"/>
        <pc:sldMkLst>
          <pc:docMk/>
          <pc:sldMk cId="798825500" sldId="844"/>
        </pc:sldMkLst>
        <pc:spChg chg="add mod">
          <ac:chgData name="Koksrud Andreas" userId="9d9beba6-c052-407a-8599-c781a677a996" providerId="ADAL" clId="{905ADE08-F996-4E61-A704-9E9FFC9B393E}" dt="2023-12-13T06:52:37.552" v="2712" actId="1076"/>
          <ac:spMkLst>
            <pc:docMk/>
            <pc:sldMk cId="798825500" sldId="844"/>
            <ac:spMk id="2" creationId="{244AF8B4-0676-DA57-A478-7C2D0FFFC8AA}"/>
          </ac:spMkLst>
        </pc:spChg>
        <pc:spChg chg="add del mod">
          <ac:chgData name="Koksrud Andreas" userId="9d9beba6-c052-407a-8599-c781a677a996" providerId="ADAL" clId="{905ADE08-F996-4E61-A704-9E9FFC9B393E}" dt="2023-12-13T06:52:33.992" v="2711" actId="478"/>
          <ac:spMkLst>
            <pc:docMk/>
            <pc:sldMk cId="798825500" sldId="844"/>
            <ac:spMk id="4" creationId="{729558F1-C707-44AE-841E-E720983691A6}"/>
          </ac:spMkLst>
        </pc:spChg>
        <pc:spChg chg="del">
          <ac:chgData name="Koksrud Andreas" userId="9d9beba6-c052-407a-8599-c781a677a996" providerId="ADAL" clId="{905ADE08-F996-4E61-A704-9E9FFC9B393E}" dt="2023-12-13T06:52:32.351" v="2710" actId="478"/>
          <ac:spMkLst>
            <pc:docMk/>
            <pc:sldMk cId="798825500" sldId="844"/>
            <ac:spMk id="181" creationId="{00000000-0000-0000-0000-000000000000}"/>
          </ac:spMkLst>
        </pc:spChg>
      </pc:sldChg>
      <pc:sldChg chg="modSp add mod ord">
        <pc:chgData name="Koksrud Andreas" userId="9d9beba6-c052-407a-8599-c781a677a996" providerId="ADAL" clId="{905ADE08-F996-4E61-A704-9E9FFC9B393E}" dt="2023-12-13T09:18:05.855" v="3033" actId="20577"/>
        <pc:sldMkLst>
          <pc:docMk/>
          <pc:sldMk cId="3245717989" sldId="845"/>
        </pc:sldMkLst>
        <pc:spChg chg="mod">
          <ac:chgData name="Koksrud Andreas" userId="9d9beba6-c052-407a-8599-c781a677a996" providerId="ADAL" clId="{905ADE08-F996-4E61-A704-9E9FFC9B393E}" dt="2023-12-13T09:18:05.855" v="3033" actId="20577"/>
          <ac:spMkLst>
            <pc:docMk/>
            <pc:sldMk cId="3245717989" sldId="845"/>
            <ac:spMk id="4" creationId="{F5738D0C-CBD4-78A4-C3C7-21AA65CB25E4}"/>
          </ac:spMkLst>
        </pc:spChg>
      </pc:sldChg>
      <pc:sldChg chg="addSp delSp modSp add mod">
        <pc:chgData name="Koksrud Andreas" userId="9d9beba6-c052-407a-8599-c781a677a996" providerId="ADAL" clId="{905ADE08-F996-4E61-A704-9E9FFC9B393E}" dt="2023-12-13T09:16:32.013" v="3024" actId="20577"/>
        <pc:sldMkLst>
          <pc:docMk/>
          <pc:sldMk cId="3805266284" sldId="846"/>
        </pc:sldMkLst>
        <pc:spChg chg="mod">
          <ac:chgData name="Koksrud Andreas" userId="9d9beba6-c052-407a-8599-c781a677a996" providerId="ADAL" clId="{905ADE08-F996-4E61-A704-9E9FFC9B393E}" dt="2023-12-13T09:16:32.013" v="3024" actId="20577"/>
          <ac:spMkLst>
            <pc:docMk/>
            <pc:sldMk cId="3805266284" sldId="846"/>
            <ac:spMk id="2" creationId="{6B539DEF-BEF0-2AA6-A90D-BC67AC4C73CD}"/>
          </ac:spMkLst>
        </pc:spChg>
        <pc:picChg chg="del">
          <ac:chgData name="Koksrud Andreas" userId="9d9beba6-c052-407a-8599-c781a677a996" providerId="ADAL" clId="{905ADE08-F996-4E61-A704-9E9FFC9B393E}" dt="2023-12-13T09:14:00.541" v="2954" actId="478"/>
          <ac:picMkLst>
            <pc:docMk/>
            <pc:sldMk cId="3805266284" sldId="846"/>
            <ac:picMk id="4" creationId="{CD27EE68-E949-5DC0-F5A5-089E60CE19C8}"/>
          </ac:picMkLst>
        </pc:picChg>
        <pc:picChg chg="add mod">
          <ac:chgData name="Koksrud Andreas" userId="9d9beba6-c052-407a-8599-c781a677a996" providerId="ADAL" clId="{905ADE08-F996-4E61-A704-9E9FFC9B393E}" dt="2023-12-13T09:16:11.597" v="2971" actId="1076"/>
          <ac:picMkLst>
            <pc:docMk/>
            <pc:sldMk cId="3805266284" sldId="846"/>
            <ac:picMk id="5" creationId="{6825C77A-19B6-C044-8CAB-F6A3349D4966}"/>
          </ac:picMkLst>
        </pc:picChg>
        <pc:picChg chg="del">
          <ac:chgData name="Koksrud Andreas" userId="9d9beba6-c052-407a-8599-c781a677a996" providerId="ADAL" clId="{905ADE08-F996-4E61-A704-9E9FFC9B393E}" dt="2023-12-13T09:16:03.464" v="2967" actId="478"/>
          <ac:picMkLst>
            <pc:docMk/>
            <pc:sldMk cId="3805266284" sldId="846"/>
            <ac:picMk id="11" creationId="{C3DB902A-EBDB-5DD0-3C18-0BDD4E0CA8B1}"/>
          </ac:picMkLst>
        </pc:picChg>
        <pc:picChg chg="del">
          <ac:chgData name="Koksrud Andreas" userId="9d9beba6-c052-407a-8599-c781a677a996" providerId="ADAL" clId="{905ADE08-F996-4E61-A704-9E9FFC9B393E}" dt="2023-12-13T09:16:02" v="2965" actId="478"/>
          <ac:picMkLst>
            <pc:docMk/>
            <pc:sldMk cId="3805266284" sldId="846"/>
            <ac:picMk id="15" creationId="{BA161936-FBBD-7AC9-F759-4CA842D7B33F}"/>
          </ac:picMkLst>
        </pc:picChg>
        <pc:picChg chg="del">
          <ac:chgData name="Koksrud Andreas" userId="9d9beba6-c052-407a-8599-c781a677a996" providerId="ADAL" clId="{905ADE08-F996-4E61-A704-9E9FFC9B393E}" dt="2023-12-13T09:16:02.653" v="2966" actId="478"/>
          <ac:picMkLst>
            <pc:docMk/>
            <pc:sldMk cId="3805266284" sldId="846"/>
            <ac:picMk id="17" creationId="{AE665B1C-CB9E-2500-BE81-4AE1C755B7C6}"/>
          </ac:picMkLst>
        </pc:picChg>
        <pc:picChg chg="del">
          <ac:chgData name="Koksrud Andreas" userId="9d9beba6-c052-407a-8599-c781a677a996" providerId="ADAL" clId="{905ADE08-F996-4E61-A704-9E9FFC9B393E}" dt="2023-12-13T09:16:04.638" v="2968" actId="478"/>
          <ac:picMkLst>
            <pc:docMk/>
            <pc:sldMk cId="3805266284" sldId="846"/>
            <ac:picMk id="19" creationId="{D4356995-C4F7-D58E-D0D2-F975BE842509}"/>
          </ac:picMkLst>
        </pc:picChg>
      </pc:sldChg>
      <pc:sldChg chg="modSp add mod ord">
        <pc:chgData name="Koksrud Andreas" userId="9d9beba6-c052-407a-8599-c781a677a996" providerId="ADAL" clId="{905ADE08-F996-4E61-A704-9E9FFC9B393E}" dt="2023-12-13T09:18:22.346" v="3036"/>
        <pc:sldMkLst>
          <pc:docMk/>
          <pc:sldMk cId="1521086367" sldId="847"/>
        </pc:sldMkLst>
        <pc:spChg chg="mod">
          <ac:chgData name="Koksrud Andreas" userId="9d9beba6-c052-407a-8599-c781a677a996" providerId="ADAL" clId="{905ADE08-F996-4E61-A704-9E9FFC9B393E}" dt="2023-12-13T09:18:22.346" v="3036"/>
          <ac:spMkLst>
            <pc:docMk/>
            <pc:sldMk cId="1521086367" sldId="847"/>
            <ac:spMk id="4" creationId="{F5738D0C-CBD4-78A4-C3C7-21AA65CB25E4}"/>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irtualBox</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Cisco 9800-CL</a:t>
          </a:r>
          <a:endParaRPr lang="en-US" sz="1400"/>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64950520-C93D-4988-812D-5ACB1AD6714C}">
      <dgm:prSet custT="1"/>
      <dgm:spPr>
        <a:solidFill>
          <a:schemeClr val="bg2">
            <a:alpha val="90000"/>
          </a:schemeClr>
        </a:solidFill>
        <a:ln>
          <a:noFill/>
        </a:ln>
      </dgm:spPr>
      <dgm:t>
        <a:bodyPr/>
        <a:lstStyle/>
        <a:p>
          <a:pPr>
            <a:buFont typeface="Arial" panose="020B0604020202020204" pitchFamily="34" charset="0"/>
            <a:buChar char="•"/>
          </a:pPr>
          <a:r>
            <a:rPr lang="nb-NO" sz="1400" b="0" i="0" err="1"/>
            <a:t>Get</a:t>
          </a:r>
          <a:r>
            <a:rPr lang="nb-NO" sz="1400" b="0" i="0"/>
            <a:t> to </a:t>
          </a:r>
          <a:r>
            <a:rPr lang="nb-NO" sz="1400" b="0" i="0" err="1"/>
            <a:t>know</a:t>
          </a:r>
          <a:r>
            <a:rPr lang="nb-NO" sz="1400" b="0" i="0"/>
            <a:t> </a:t>
          </a:r>
          <a:r>
            <a:rPr lang="nb-NO" sz="1400" b="0" i="0" err="1"/>
            <a:t>the</a:t>
          </a:r>
          <a:r>
            <a:rPr lang="nb-NO" sz="1400" b="0" i="0"/>
            <a:t> lab </a:t>
          </a:r>
          <a:r>
            <a:rPr lang="nb-NO" sz="1400" b="0" i="0" err="1"/>
            <a:t>environment</a:t>
          </a:r>
          <a:endParaRPr lang="en-US" sz="1400"/>
        </a:p>
      </dgm:t>
    </dgm:pt>
    <dgm:pt modelId="{63EF03F0-1C9A-4F0F-A8A4-F84EC8D84D87}" type="parTrans" cxnId="{9E718BBB-1F79-495D-9CDC-0A5C52FC4F77}">
      <dgm:prSet/>
      <dgm:spPr/>
      <dgm:t>
        <a:bodyPr/>
        <a:lstStyle/>
        <a:p>
          <a:endParaRPr lang="en-US"/>
        </a:p>
      </dgm:t>
    </dgm:pt>
    <dgm:pt modelId="{4EC32282-578A-4C3F-819D-F2728A150B08}" type="sibTrans" cxnId="{9E718BBB-1F79-495D-9CDC-0A5C52FC4F77}">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a:t>Sort </a:t>
          </a:r>
          <a:r>
            <a:rPr lang="nb-NO" sz="1400" err="1"/>
            <a:t>out</a:t>
          </a:r>
          <a:r>
            <a:rPr lang="nb-NO" sz="1400"/>
            <a:t> pre-lab </a:t>
          </a:r>
          <a:r>
            <a:rPr lang="nb-NO" sz="1400" err="1"/>
            <a:t>task</a:t>
          </a:r>
          <a:r>
            <a:rPr lang="nb-NO" sz="1400"/>
            <a:t> problems</a:t>
          </a:r>
          <a:endParaRPr lang="en-US" sz="1400"/>
        </a:p>
      </dgm:t>
    </dgm:pt>
    <dgm:pt modelId="{4B1FCEC9-0E53-47B9-A763-CFDC09129998}" type="parTrans" cxnId="{EC220732-0B39-46D4-8B21-D69F970BDAA1}">
      <dgm:prSet/>
      <dgm:spPr/>
    </dgm:pt>
    <dgm:pt modelId="{3F09F83A-7B23-480C-8977-8F84A5569196}" type="sibTrans" cxnId="{EC220732-0B39-46D4-8B21-D69F970BDAA1}">
      <dgm:prSet/>
      <dgm:spPr/>
    </dgm:pt>
    <dgm:pt modelId="{DC378913-C20F-43DD-975E-FF436C43D2DD}">
      <dgm:prSet custT="1"/>
      <dgm:spPr>
        <a:solidFill>
          <a:schemeClr val="bg2">
            <a:alpha val="90000"/>
          </a:schemeClr>
        </a:solidFill>
        <a:ln>
          <a:noFill/>
        </a:ln>
      </dgm:spPr>
      <dgm:t>
        <a:bodyPr/>
        <a:lstStyle/>
        <a:p>
          <a:pPr>
            <a:buFont typeface="Arial" panose="020B0604020202020204" pitchFamily="34" charset="0"/>
            <a:buChar char="•"/>
          </a:pPr>
          <a:r>
            <a:rPr lang="en-US" sz="1400"/>
            <a:t>Configure your AP</a:t>
          </a:r>
        </a:p>
      </dgm:t>
    </dgm:pt>
    <dgm:pt modelId="{DD195994-7A27-47E6-95EE-E97F854A567E}" type="parTrans" cxnId="{F39EB9D6-CAEF-4639-A214-5AE5B47A6299}">
      <dgm:prSet/>
      <dgm:spPr/>
    </dgm:pt>
    <dgm:pt modelId="{A7064838-1A26-4C35-B050-466B53D9A23B}" type="sibTrans" cxnId="{F39EB9D6-CAEF-4639-A214-5AE5B47A6299}">
      <dgm:prSet/>
      <dgm:spPr/>
    </dgm:pt>
    <dgm:pt modelId="{A06FD53D-F84F-406F-BBDA-9AAE8CC796A8}">
      <dgm:prSet custT="1"/>
      <dgm:spPr>
        <a:solidFill>
          <a:schemeClr val="bg2">
            <a:alpha val="90000"/>
          </a:schemeClr>
        </a:solidFill>
        <a:ln>
          <a:noFill/>
        </a:ln>
      </dgm:spPr>
      <dgm:t>
        <a:bodyPr/>
        <a:lstStyle/>
        <a:p>
          <a:pPr>
            <a:buFont typeface="Arial" panose="020B0604020202020204" pitchFamily="34" charset="0"/>
            <a:buChar char="•"/>
          </a:pPr>
          <a:r>
            <a:rPr lang="en-US" sz="1400"/>
            <a:t>Install and explore YANG Suite</a:t>
          </a:r>
        </a:p>
      </dgm:t>
    </dgm:pt>
    <dgm:pt modelId="{2016CA14-FD2C-43E5-A028-F1F8507FFD0C}" type="parTrans" cxnId="{E15B6802-F27D-4283-BF55-C7D11EB7D444}">
      <dgm:prSet/>
      <dgm:spPr/>
    </dgm:pt>
    <dgm:pt modelId="{90F19AA9-27A0-45B8-AE20-3D10B9FBE66A}" type="sibTrans" cxnId="{E15B6802-F27D-4283-BF55-C7D11EB7D444}">
      <dgm:prSet/>
      <dgm:spPr/>
    </dgm:pt>
    <dgm:pt modelId="{2975D02D-8416-42D5-80C1-7DBE52C68B0C}">
      <dgm:prSet custT="1"/>
      <dgm:spPr>
        <a:solidFill>
          <a:schemeClr val="bg2">
            <a:alpha val="90000"/>
          </a:schemeClr>
        </a:solidFill>
        <a:ln>
          <a:noFill/>
        </a:ln>
      </dgm:spPr>
      <dgm:t>
        <a:bodyPr/>
        <a:lstStyle/>
        <a:p>
          <a:pPr>
            <a:buFont typeface="Arial" panose="020B0604020202020204" pitchFamily="34" charset="0"/>
            <a:buChar char="•"/>
          </a:pPr>
          <a:r>
            <a:rPr lang="en-US" sz="1400"/>
            <a:t>Explore Postman</a:t>
          </a:r>
        </a:p>
      </dgm:t>
    </dgm:pt>
    <dgm:pt modelId="{CB33D5D9-E399-4236-928C-518F85721CFC}" type="parTrans" cxnId="{432419BB-1521-49EC-91FC-4B3036C2BFF3}">
      <dgm:prSet/>
      <dgm:spPr/>
    </dgm:pt>
    <dgm:pt modelId="{44AD649D-2808-4F31-9EA1-55E154E380FC}" type="sibTrans" cxnId="{432419BB-1521-49EC-91FC-4B3036C2BFF3}">
      <dgm:prSet/>
      <dgm:spPr/>
    </dgm:pt>
    <dgm:pt modelId="{C855847A-084C-4518-8659-EEDD7C50C25E}">
      <dgm:prSet custT="1"/>
      <dgm:spPr>
        <a:solidFill>
          <a:schemeClr val="bg2">
            <a:alpha val="90000"/>
          </a:schemeClr>
        </a:solidFill>
        <a:ln>
          <a:noFill/>
        </a:ln>
      </dgm:spPr>
      <dgm:t>
        <a:bodyPr/>
        <a:lstStyle/>
        <a:p>
          <a:pPr>
            <a:buFont typeface="Arial" panose="020B0604020202020204" pitchFamily="34" charset="0"/>
            <a:buChar char="•"/>
          </a:pPr>
          <a:r>
            <a:rPr lang="en-US" sz="1400"/>
            <a:t>Install and explore Grafana</a:t>
          </a:r>
        </a:p>
      </dgm:t>
    </dgm:pt>
    <dgm:pt modelId="{F9EBE88B-35CC-48FA-9682-4E4EB18193F0}" type="parTrans" cxnId="{CC7BF4AE-D239-472D-9C2B-F98C83EA0A56}">
      <dgm:prSet/>
      <dgm:spPr/>
    </dgm:pt>
    <dgm:pt modelId="{FEBA4653-D8EA-4D24-9FDB-5839A23C8089}" type="sibTrans" cxnId="{CC7BF4AE-D239-472D-9C2B-F98C83EA0A56}">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a:t>Other vendors (MIST/Meraki/Aruba)</a:t>
          </a:r>
        </a:p>
      </dgm:t>
    </dgm:pt>
    <dgm:pt modelId="{BB9FF251-ED60-498F-8B6E-714105D07086}" type="parTrans" cxnId="{62DA6E95-3A66-40EF-8CD1-75DA718CE469}">
      <dgm:prSet/>
      <dgm:spPr/>
    </dgm:pt>
    <dgm:pt modelId="{19B41A15-02EC-4299-9D45-8D0095607E19}" type="sibTrans" cxnId="{62DA6E95-3A66-40EF-8CD1-75DA718CE469}">
      <dgm:prSet/>
      <dgm:spPr/>
    </dgm:pt>
    <dgm:pt modelId="{DD03432B-5493-4998-A076-C20B994F119D}">
      <dgm:prSet custT="1"/>
      <dgm:spPr>
        <a:solidFill>
          <a:schemeClr val="bg2">
            <a:alpha val="90000"/>
          </a:schemeClr>
        </a:solidFill>
        <a:ln>
          <a:noFill/>
        </a:ln>
      </dgm:spPr>
      <dgm:t>
        <a:bodyPr/>
        <a:lstStyle/>
        <a:p>
          <a:pPr>
            <a:buFont typeface="Arial" panose="020B0604020202020204" pitchFamily="34" charset="0"/>
            <a:buChar char="•"/>
          </a:pPr>
          <a:r>
            <a:rPr lang="en-US" sz="1400"/>
            <a:t>Connect VS Code to Ubuntu</a:t>
          </a:r>
        </a:p>
      </dgm:t>
    </dgm:pt>
    <dgm:pt modelId="{E7313A3F-55D3-42A7-BFD4-7C200E54B4A6}" type="parTrans" cxnId="{559ADF6E-8C7C-40A4-B17A-4E1F06A833E1}">
      <dgm:prSet/>
      <dgm:spPr/>
    </dgm:pt>
    <dgm:pt modelId="{D6B39E31-755D-477E-8809-9B7FA336AE5C}" type="sibTrans" cxnId="{559ADF6E-8C7C-40A4-B17A-4E1F06A833E1}">
      <dgm:prSet/>
      <dgm:spPr/>
    </dgm:pt>
    <dgm:pt modelId="{FC733E8A-F041-47B2-92BF-1A3E29C0DB13}">
      <dgm:prSet custT="1"/>
      <dgm:spPr>
        <a:solidFill>
          <a:schemeClr val="bg2">
            <a:alpha val="90000"/>
          </a:schemeClr>
        </a:solidFill>
        <a:ln>
          <a:noFill/>
        </a:ln>
      </dgm:spPr>
      <dgm:t>
        <a:bodyPr/>
        <a:lstStyle/>
        <a:p>
          <a:pPr>
            <a:buFont typeface="Arial" panose="020B0604020202020204" pitchFamily="34" charset="0"/>
            <a:buChar char="•"/>
          </a:pPr>
          <a:r>
            <a:rPr lang="en-US" sz="1400"/>
            <a:t>Install and explore Ansible</a:t>
          </a:r>
        </a:p>
      </dgm:t>
    </dgm:pt>
    <dgm:pt modelId="{FC5E5F33-59BB-4AC9-B7D5-D45C0645B19A}" type="parTrans" cxnId="{F76AA060-817B-49B4-A8D2-6FDAB56D4C28}">
      <dgm:prSet/>
      <dgm:spPr/>
    </dgm:pt>
    <dgm:pt modelId="{AF865A84-07E2-45B3-A0C4-D3C49A02C676}" type="sibTrans" cxnId="{F76AA060-817B-49B4-A8D2-6FDAB56D4C28}">
      <dgm:prSet/>
      <dgm:spPr/>
    </dgm:pt>
    <dgm:pt modelId="{6B93E838-368A-4DF7-801A-59C1BFE7A641}">
      <dgm:prSet custT="1"/>
      <dgm:spPr>
        <a:solidFill>
          <a:schemeClr val="bg2">
            <a:alpha val="90000"/>
          </a:schemeClr>
        </a:solidFill>
        <a:ln>
          <a:noFill/>
        </a:ln>
      </dgm:spPr>
      <dgm:t>
        <a:bodyPr/>
        <a:lstStyle/>
        <a:p>
          <a:pPr>
            <a:buFont typeface="Arial" panose="020B0604020202020204" pitchFamily="34" charset="0"/>
            <a:buChar char="•"/>
          </a:pPr>
          <a:r>
            <a:rPr lang="en-US" sz="1400"/>
            <a:t>Explore Python automation</a:t>
          </a:r>
        </a:p>
      </dgm:t>
    </dgm:pt>
    <dgm:pt modelId="{58088976-45E7-4C5C-98D4-5882540598D6}" type="parTrans" cxnId="{F68D3FF4-1DD4-4E82-956F-140EC1D5552F}">
      <dgm:prSet/>
      <dgm:spPr/>
    </dgm:pt>
    <dgm:pt modelId="{A5598FC6-224C-44E2-821A-9D6D46352776}" type="sibTrans" cxnId="{F68D3FF4-1DD4-4E82-956F-140EC1D5552F}">
      <dgm:prSet/>
      <dgm:spPr/>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15B6802-F27D-4283-BF55-C7D11EB7D444}" srcId="{1FBF17A6-ED3B-44D9-B750-4ACF386F5D47}" destId="{A06FD53D-F84F-406F-BBDA-9AAE8CC796A8}" srcOrd="6" destOrd="0" parTransId="{2016CA14-FD2C-43E5-A028-F1F8507FFD0C}" sibTransId="{90F19AA9-27A0-45B8-AE20-3D10B9FBE66A}"/>
    <dgm:cxn modelId="{E909C406-E8A3-4221-975E-DE470DDE64BC}" type="presOf" srcId="{DB36C08F-6997-40DC-ACBE-C6F7CE9B7D47}" destId="{EBF2AC56-6931-4259-8008-6B6FED0C999B}" srcOrd="0" destOrd="0" presId="urn:microsoft.com/office/officeart/2005/8/layout/hList1"/>
    <dgm:cxn modelId="{5F004E15-61A3-402B-99A7-BD0A87FAB1ED}" type="presOf" srcId="{2975D02D-8416-42D5-80C1-7DBE52C68B0C}" destId="{EE808BBF-4C4F-458F-906E-6E3A116EF899}" srcOrd="0" destOrd="7"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E0A40B2F-0D0E-4ABC-9A0E-0AFF48AC9C05}" type="presOf" srcId="{DD03432B-5493-4998-A076-C20B994F119D}" destId="{EE808BBF-4C4F-458F-906E-6E3A116EF899}" srcOrd="0" destOrd="3" presId="urn:microsoft.com/office/officeart/2005/8/layout/hList1"/>
    <dgm:cxn modelId="{EC220732-0B39-46D4-8B21-D69F970BDAA1}" srcId="{1FBF17A6-ED3B-44D9-B750-4ACF386F5D47}" destId="{1ADCAFE7-2BA6-44FA-814D-174884743D1F}" srcOrd="0" destOrd="0" parTransId="{4B1FCEC9-0E53-47B9-A763-CFDC09129998}" sibTransId="{3F09F83A-7B23-480C-8977-8F84A5569196}"/>
    <dgm:cxn modelId="{3D4EC93F-B887-4D2C-90CF-AD8CB569A6AA}" type="presOf" srcId="{FC733E8A-F041-47B2-92BF-1A3E29C0DB13}" destId="{EE808BBF-4C4F-458F-906E-6E3A116EF899}" srcOrd="0" destOrd="4" presId="urn:microsoft.com/office/officeart/2005/8/layout/hList1"/>
    <dgm:cxn modelId="{F76AA060-817B-49B4-A8D2-6FDAB56D4C28}" srcId="{1FBF17A6-ED3B-44D9-B750-4ACF386F5D47}" destId="{FC733E8A-F041-47B2-92BF-1A3E29C0DB13}" srcOrd="4" destOrd="0" parTransId="{FC5E5F33-59BB-4AC9-B7D5-D45C0645B19A}" sibTransId="{AF865A84-07E2-45B3-A0C4-D3C49A02C676}"/>
    <dgm:cxn modelId="{1ED7F863-A921-4DDC-AD43-46E3B74503C3}" type="presOf" srcId="{1FBF17A6-ED3B-44D9-B750-4ACF386F5D47}" destId="{2DD4E8E4-D05A-431D-8032-66D6B9096BBB}" srcOrd="0" destOrd="0" presId="urn:microsoft.com/office/officeart/2005/8/layout/hList1"/>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3" presId="urn:microsoft.com/office/officeart/2005/8/layout/hList1"/>
    <dgm:cxn modelId="{7B254C4B-51CC-456A-9FC8-E5A205FE3014}" type="presOf" srcId="{7C3A528D-159C-4099-82E0-9B7ADF001C57}" destId="{AB4963A6-6367-4ABA-9FA6-DBB49575AEB9}" srcOrd="0" destOrd="4" presId="urn:microsoft.com/office/officeart/2005/8/layout/hList1"/>
    <dgm:cxn modelId="{3CF9886B-8851-40E2-9F47-D96A4559F182}" srcId="{6385F6C3-F549-4EF7-8A7B-E908A426392C}" destId="{7C3A528D-159C-4099-82E0-9B7ADF001C57}" srcOrd="4" destOrd="0" parTransId="{CE748A29-06D6-4EE5-804F-C77B8F0AE706}" sibTransId="{734D39CE-7B15-43E1-95D1-81308364B877}"/>
    <dgm:cxn modelId="{559ADF6E-8C7C-40A4-B17A-4E1F06A833E1}" srcId="{1FBF17A6-ED3B-44D9-B750-4ACF386F5D47}" destId="{DD03432B-5493-4998-A076-C20B994F119D}" srcOrd="3" destOrd="0" parTransId="{E7313A3F-55D3-42A7-BFD4-7C200E54B4A6}" sibTransId="{D6B39E31-755D-477E-8809-9B7FA336AE5C}"/>
    <dgm:cxn modelId="{09399753-53FE-4E7C-8BEC-4C3CB3A7F5C3}" srcId="{20A69F0E-3B11-4449-960F-A8F000473A04}" destId="{EC8FE4AF-1300-4BDF-B94F-7842BE9E6567}" srcOrd="3" destOrd="0" parTransId="{C5106D86-CAC6-4A6D-8A71-F4809747E43F}" sibTransId="{248E8744-143D-4A0C-9FC3-F10769FE99F3}"/>
    <dgm:cxn modelId="{E8554878-24F6-47BF-88CC-73A6B15C3621}" srcId="{6385F6C3-F549-4EF7-8A7B-E908A426392C}" destId="{D9304394-5752-48C9-8CCC-5CA5802FCDD5}" srcOrd="3"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B973A879-9B42-4676-86B7-B49819E1A846}" type="presOf" srcId="{6B93E838-368A-4DF7-801A-59C1BFE7A641}" destId="{EE808BBF-4C4F-458F-906E-6E3A116EF899}" srcOrd="0" destOrd="5" presId="urn:microsoft.com/office/officeart/2005/8/layout/hList1"/>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7E8B9988-B8BD-46ED-95E2-8870BC32CE8B}" type="presOf" srcId="{C855847A-084C-4518-8659-EEDD7C50C25E}" destId="{EE808BBF-4C4F-458F-906E-6E3A116EF899}" srcOrd="0" destOrd="8" presId="urn:microsoft.com/office/officeart/2005/8/layout/hList1"/>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D0787E93-59A4-42F4-B623-1EE07C1D1B63}" srcId="{6385F6C3-F549-4EF7-8A7B-E908A426392C}" destId="{521E6C39-7EF3-4C0D-8E1A-4C2B00C81BA8}" srcOrd="1" destOrd="0" parTransId="{5DCB1E01-263A-4B38-8591-8B2A775B560C}" sibTransId="{A7404071-901A-462E-852A-86ED4310D630}"/>
    <dgm:cxn modelId="{62DA6E95-3A66-40EF-8CD1-75DA718CE469}" srcId="{20A69F0E-3B11-4449-960F-A8F000473A04}" destId="{9F84514E-BB33-443A-B632-581CEE10071C}" srcOrd="4" destOrd="0" parTransId="{BB9FF251-ED60-498F-8B6E-714105D07086}" sibTransId="{19B41A15-02EC-4299-9D45-8D0095607E19}"/>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1F4AB1A3-DC3E-4BD7-AAA6-DC7A012DAC0A}" type="presOf" srcId="{DC378913-C20F-43DD-975E-FF436C43D2DD}" destId="{EE808BBF-4C4F-458F-906E-6E3A116EF899}" srcOrd="0" destOrd="2" presId="urn:microsoft.com/office/officeart/2005/8/layout/hList1"/>
    <dgm:cxn modelId="{CC7BF4AE-D239-472D-9C2B-F98C83EA0A56}" srcId="{1FBF17A6-ED3B-44D9-B750-4ACF386F5D47}" destId="{C855847A-084C-4518-8659-EEDD7C50C25E}" srcOrd="8" destOrd="0" parTransId="{F9EBE88B-35CC-48FA-9682-4E4EB18193F0}" sibTransId="{FEBA4653-D8EA-4D24-9FDB-5839A23C8089}"/>
    <dgm:cxn modelId="{432419BB-1521-49EC-91FC-4B3036C2BFF3}" srcId="{1FBF17A6-ED3B-44D9-B750-4ACF386F5D47}" destId="{2975D02D-8416-42D5-80C1-7DBE52C68B0C}" srcOrd="7" destOrd="0" parTransId="{CB33D5D9-E399-4236-928C-518F85721CFC}" sibTransId="{44AD649D-2808-4F31-9EA1-55E154E380FC}"/>
    <dgm:cxn modelId="{9E718BBB-1F79-495D-9CDC-0A5C52FC4F77}" srcId="{1FBF17A6-ED3B-44D9-B750-4ACF386F5D47}" destId="{64950520-C93D-4988-812D-5ACB1AD6714C}" srcOrd="1" destOrd="0" parTransId="{63EF03F0-1C9A-4F0F-A8A4-F84EC8D84D87}" sibTransId="{4EC32282-578A-4C3F-819D-F2728A150B08}"/>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2" destOrd="0" parTransId="{F4D458CA-9A69-449E-96AA-8B0C60972DD5}" sibTransId="{07DD7030-3760-4850-866A-F29D885DD7C5}"/>
    <dgm:cxn modelId="{394CA5CE-0D4C-461F-8772-488EF78F1F06}" type="presOf" srcId="{521E6C39-7EF3-4C0D-8E1A-4C2B00C81BA8}" destId="{AB4963A6-6367-4ABA-9FA6-DBB49575AEB9}" srcOrd="0" destOrd="1" presId="urn:microsoft.com/office/officeart/2005/8/layout/hList1"/>
    <dgm:cxn modelId="{888174D3-7E2E-4E9C-90EB-7A80FB95E4B7}" type="presOf" srcId="{8275381D-096A-4D8B-94E5-271B830805F5}" destId="{AB4963A6-6367-4ABA-9FA6-DBB49575AEB9}" srcOrd="0" destOrd="2" presId="urn:microsoft.com/office/officeart/2005/8/layout/hList1"/>
    <dgm:cxn modelId="{F39EB9D6-CAEF-4639-A214-5AE5B47A6299}" srcId="{1FBF17A6-ED3B-44D9-B750-4ACF386F5D47}" destId="{DC378913-C20F-43DD-975E-FF436C43D2DD}" srcOrd="2" destOrd="0" parTransId="{DD195994-7A27-47E6-95EE-E97F854A567E}" sibTransId="{A7064838-1A26-4C35-B050-466B53D9A23B}"/>
    <dgm:cxn modelId="{AC1B3AEA-09AA-48A3-95DE-67A69543D9F2}" type="presOf" srcId="{64950520-C93D-4988-812D-5ACB1AD6714C}" destId="{EE808BBF-4C4F-458F-906E-6E3A116EF899}" srcOrd="0" destOrd="1" presId="urn:microsoft.com/office/officeart/2005/8/layout/hList1"/>
    <dgm:cxn modelId="{B4A882EA-D753-46F8-B5D0-945298841F84}" type="presOf" srcId="{A06FD53D-F84F-406F-BBDA-9AAE8CC796A8}" destId="{EE808BBF-4C4F-458F-906E-6E3A116EF899}" srcOrd="0" destOrd="6" presId="urn:microsoft.com/office/officeart/2005/8/layout/hList1"/>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F68D3FF4-1DD4-4E82-956F-140EC1D5552F}" srcId="{1FBF17A6-ED3B-44D9-B750-4ACF386F5D47}" destId="{6B93E838-368A-4DF7-801A-59C1BFE7A641}" srcOrd="5" destOrd="0" parTransId="{58088976-45E7-4C5C-98D4-5882540598D6}" sibTransId="{A5598FC6-224C-44E2-821A-9D6D46352776}"/>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irtualBox</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Cisco 9800-CL</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t>Sort </a:t>
          </a:r>
          <a:r>
            <a:rPr lang="nb-NO" sz="1400" kern="1200" err="1"/>
            <a:t>out</a:t>
          </a:r>
          <a:r>
            <a:rPr lang="nb-NO" sz="1400" kern="1200"/>
            <a:t> pre-lab </a:t>
          </a:r>
          <a:r>
            <a:rPr lang="nb-NO" sz="1400" kern="1200" err="1"/>
            <a:t>task</a:t>
          </a:r>
          <a:r>
            <a:rPr lang="nb-NO" sz="1400" kern="1200"/>
            <a:t> problems</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Get</a:t>
          </a:r>
          <a:r>
            <a:rPr lang="nb-NO" sz="1400" b="0" i="0" kern="1200"/>
            <a:t> to </a:t>
          </a:r>
          <a:r>
            <a:rPr lang="nb-NO" sz="1400" b="0" i="0" kern="1200" err="1"/>
            <a:t>know</a:t>
          </a:r>
          <a:r>
            <a:rPr lang="nb-NO" sz="1400" b="0" i="0" kern="1200"/>
            <a:t> </a:t>
          </a:r>
          <a:r>
            <a:rPr lang="nb-NO" sz="1400" b="0" i="0" kern="1200" err="1"/>
            <a:t>the</a:t>
          </a:r>
          <a:r>
            <a:rPr lang="nb-NO" sz="1400" b="0" i="0" kern="1200"/>
            <a:t> lab </a:t>
          </a:r>
          <a:r>
            <a:rPr lang="nb-NO" sz="1400" b="0" i="0" kern="1200" err="1"/>
            <a:t>environment</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Configure your AP</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Connect VS Code to Ubuntu</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Install and explore YANG Suite</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Install and explore Grafana</a:t>
          </a:r>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596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Other vendors (MIST/Meraki/Aruba)</a:t>
          </a:r>
        </a:p>
      </dsp:txBody>
      <dsp:txXfrm>
        <a:off x="7785960"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4583182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3524513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3911549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4358961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2605092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6201051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412179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8099618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9296763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3528585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7446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0794187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9778694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8111836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736632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4200553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0764770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54553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065579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671907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69876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645560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8954573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387948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183948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60325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846316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803500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7719174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56988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387773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96134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40132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144680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23605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76900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048278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565408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322382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675635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0112281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277836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685287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7032241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236723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82696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F9031-503D-D917-0492-C809F370EFF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535030B-9DAB-4C61-ACA1-CC86219E46DA}"/>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092E8C06-253D-62BF-8E7B-29D60E1DE7B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4375084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271383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68176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257228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22297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100665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592771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426539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609314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DAACC-F5BC-C0DE-1AD9-E1E80FF281F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CF0EDAD-0A54-5A09-D802-8F7C971A8346}"/>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12EEF2C2-AF42-D201-AA62-61F1FED30084}"/>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6035821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4D418-5A6A-AFD6-31C4-7CE4BCD143A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2E09670-68AE-06E7-906F-7C82856E86A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94814E7E-753A-FE9D-4D31-19DCA932872D}"/>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0236619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452875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2184969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771249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827920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991329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942662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1692934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315043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60584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021466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100392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798126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5177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475531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5332678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8553938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8205611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3840183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786932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9576972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207487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8716976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0964481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0525697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1840935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6815305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1510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196760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296054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0057859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50528789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612859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02914233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790637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7241219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61695982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5557027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0287514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085765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614431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346055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5632437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8026612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3049455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5965417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22760630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6195596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508478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993310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9309629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17/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17/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17/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17/10/2024</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17/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17/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17/10/2024</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17/10/2024</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17/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17/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17/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17/10/2024</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17/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17/10/2024</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17/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17/10/2024</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201.png"/><Relationship Id="rId4" Type="http://schemas.openxmlformats.org/officeDocument/2006/relationships/image" Target="../media/image200.png"/></Relationships>
</file>

<file path=ppt/slides/_rels/slide101.xml.rels><?xml version="1.0" encoding="UTF-8" standalone="yes"?>
<Relationships xmlns="http://schemas.openxmlformats.org/package/2006/relationships"><Relationship Id="rId3" Type="http://schemas.openxmlformats.org/officeDocument/2006/relationships/image" Target="../media/image202.png"/><Relationship Id="rId7" Type="http://schemas.openxmlformats.org/officeDocument/2006/relationships/image" Target="../media/image147.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03.png"/></Relationships>
</file>

<file path=ppt/slides/_rels/slide102.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147.png"/><Relationship Id="rId4" Type="http://schemas.openxmlformats.org/officeDocument/2006/relationships/image" Target="../media/image207.png"/></Relationships>
</file>

<file path=ppt/slides/_rels/slide103.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208.png"/><Relationship Id="rId7" Type="http://schemas.openxmlformats.org/officeDocument/2006/relationships/image" Target="../media/image212.png"/><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09.png"/><Relationship Id="rId9" Type="http://schemas.openxmlformats.org/officeDocument/2006/relationships/image" Target="../media/image147.png"/></Relationships>
</file>

<file path=ppt/slides/_rels/slide104.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214.png"/><Relationship Id="rId7" Type="http://schemas.openxmlformats.org/officeDocument/2006/relationships/image" Target="../media/image218.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217.png"/><Relationship Id="rId5" Type="http://schemas.openxmlformats.org/officeDocument/2006/relationships/image" Target="../media/image216.png"/><Relationship Id="rId4" Type="http://schemas.openxmlformats.org/officeDocument/2006/relationships/image" Target="../media/image215.png"/></Relationships>
</file>

<file path=ppt/slides/_rels/slide105.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png"/><Relationship Id="rId9" Type="http://schemas.openxmlformats.org/officeDocument/2006/relationships/image" Target="../media/image147.png"/></Relationships>
</file>

<file path=ppt/slides/_rels/slide106.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225.png"/><Relationship Id="rId7" Type="http://schemas.openxmlformats.org/officeDocument/2006/relationships/image" Target="../media/image229.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228.png"/><Relationship Id="rId5" Type="http://schemas.openxmlformats.org/officeDocument/2006/relationships/image" Target="../media/image227.png"/><Relationship Id="rId4" Type="http://schemas.openxmlformats.org/officeDocument/2006/relationships/image" Target="../media/image226.png"/></Relationships>
</file>

<file path=ppt/slides/_rels/slide107.xml.rels><?xml version="1.0" encoding="UTF-8" standalone="yes"?>
<Relationships xmlns="http://schemas.openxmlformats.org/package/2006/relationships"><Relationship Id="rId3" Type="http://schemas.openxmlformats.org/officeDocument/2006/relationships/image" Target="../media/image230.png"/><Relationship Id="rId7" Type="http://schemas.openxmlformats.org/officeDocument/2006/relationships/image" Target="../media/image233.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232.png"/><Relationship Id="rId4" Type="http://schemas.openxmlformats.org/officeDocument/2006/relationships/image" Target="../media/image231.png"/></Relationships>
</file>

<file path=ppt/slides/_rels/slide108.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236.png"/><Relationship Id="rId4" Type="http://schemas.openxmlformats.org/officeDocument/2006/relationships/image" Target="../media/image235.png"/></Relationships>
</file>

<file path=ppt/slides/_rels/slide109.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239.png"/><Relationship Id="rId4" Type="http://schemas.openxmlformats.org/officeDocument/2006/relationships/image" Target="../media/image23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8" Type="http://schemas.openxmlformats.org/officeDocument/2006/relationships/image" Target="../media/image244.png"/><Relationship Id="rId3" Type="http://schemas.openxmlformats.org/officeDocument/2006/relationships/image" Target="../media/image240.png"/><Relationship Id="rId7" Type="http://schemas.openxmlformats.org/officeDocument/2006/relationships/image" Target="../media/image147.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243.png"/><Relationship Id="rId5" Type="http://schemas.openxmlformats.org/officeDocument/2006/relationships/image" Target="../media/image242.png"/><Relationship Id="rId4" Type="http://schemas.openxmlformats.org/officeDocument/2006/relationships/image" Target="../media/image241.png"/></Relationships>
</file>

<file path=ppt/slides/_rels/slide111.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108.xml"/><Relationship Id="rId1" Type="http://schemas.openxmlformats.org/officeDocument/2006/relationships/slideLayout" Target="../slideLayouts/slideLayout7.xml"/><Relationship Id="rId4" Type="http://schemas.openxmlformats.org/officeDocument/2006/relationships/image" Target="../media/image147.png"/></Relationships>
</file>

<file path=ppt/slides/_rels/slide112.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248.png"/><Relationship Id="rId4" Type="http://schemas.openxmlformats.org/officeDocument/2006/relationships/image" Target="../media/image247.png"/></Relationships>
</file>

<file path=ppt/slides/_rels/slide113.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147.png"/><Relationship Id="rId4" Type="http://schemas.openxmlformats.org/officeDocument/2006/relationships/image" Target="../media/image250.png"/></Relationships>
</file>

<file path=ppt/slides/_rels/slide114.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253.png"/><Relationship Id="rId4" Type="http://schemas.openxmlformats.org/officeDocument/2006/relationships/image" Target="../media/image252.png"/></Relationships>
</file>

<file path=ppt/slides/_rels/slide115.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256.png"/><Relationship Id="rId4" Type="http://schemas.openxmlformats.org/officeDocument/2006/relationships/image" Target="../media/image255.png"/></Relationships>
</file>

<file path=ppt/slides/_rels/slide116.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13.xml"/><Relationship Id="rId1" Type="http://schemas.openxmlformats.org/officeDocument/2006/relationships/slideLayout" Target="../slideLayouts/slideLayout7.xml"/><Relationship Id="rId4" Type="http://schemas.openxmlformats.org/officeDocument/2006/relationships/image" Target="../media/image147.png"/></Relationships>
</file>

<file path=ppt/slides/_rels/slide11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14.xml"/><Relationship Id="rId1" Type="http://schemas.openxmlformats.org/officeDocument/2006/relationships/slideLayout" Target="../slideLayouts/slideLayout7.xml"/><Relationship Id="rId4" Type="http://schemas.openxmlformats.org/officeDocument/2006/relationships/image" Target="../media/image258.png"/></Relationships>
</file>

<file path=ppt/slides/_rels/slide11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15.xml"/><Relationship Id="rId1" Type="http://schemas.openxmlformats.org/officeDocument/2006/relationships/slideLayout" Target="../slideLayouts/slideLayout7.xml"/><Relationship Id="rId4" Type="http://schemas.openxmlformats.org/officeDocument/2006/relationships/image" Target="../media/image259.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27.png"/><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hyperlink" Target="https://docs.ansible.com/ansible/latest/collections/index.html#list-of-collections" TargetMode="Externa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hyperlink" Target="https://docs.ansible.com/ansible/latest/collections/index.html#list-of-collections" TargetMode="External"/><Relationship Id="rId7"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5.png"/><Relationship Id="rId4" Type="http://schemas.openxmlformats.org/officeDocument/2006/relationships/image" Target="../media/image5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3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4.xml.rels><?xml version="1.0" encoding="UTF-8" standalone="yes"?>
<Relationships xmlns="http://schemas.openxmlformats.org/package/2006/relationships"><Relationship Id="rId3" Type="http://schemas.openxmlformats.org/officeDocument/2006/relationships/hyperlink" Target="https://software.cisco.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hyperlink" Target="https://postman.com/" TargetMode="External"/></Relationships>
</file>

<file path=ppt/slides/_rels/slide40.xml.rels><?xml version="1.0" encoding="UTF-8" standalone="yes"?>
<Relationships xmlns="http://schemas.openxmlformats.org/package/2006/relationships"><Relationship Id="rId3" Type="http://schemas.openxmlformats.org/officeDocument/2006/relationships/hyperlink" Target="https://192.168.10.7:8443/" TargetMode="External"/><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hyperlink" Target="https://192.168.10.8:8443/"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github.com/YangModels/yang/tree/main/vendor/cisco/xe/17121" TargetMode="External"/><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hyperlink" Target="https://developer.cisco.com/yangsuite/" TargetMode="External"/><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73.png"/></Relationships>
</file>

<file path=ppt/slides/_rels/slide4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75.png"/></Relationships>
</file>

<file path=ppt/slides/_rels/slide4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84.png"/></Relationships>
</file>

<file path=ppt/slides/_rels/slide4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hyperlink" Target="https://www.cisco.com/c/en/us/td/docs/wireless/controller/9800/technical-reference/catalyst-9800-programmability-telemetry-deployment-guide.html" TargetMode="External"/><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hyperlink" Target="https://www.yangcatalog.org/yang-search/module_details" TargetMode="Externa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image" Target="../media/image91.png"/></Relationships>
</file>

<file path=ppt/slides/_rels/slide5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6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0.xml"/><Relationship Id="rId1" Type="http://schemas.openxmlformats.org/officeDocument/2006/relationships/slideLayout" Target="../slideLayouts/slideLayout7.xml"/><Relationship Id="rId4" Type="http://schemas.openxmlformats.org/officeDocument/2006/relationships/image" Target="../media/image110.png"/></Relationships>
</file>

<file path=ppt/slides/_rels/slide6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64.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93.png"/><Relationship Id="rId7" Type="http://schemas.openxmlformats.org/officeDocument/2006/relationships/image" Target="../media/image118.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6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121.png"/><Relationship Id="rId4" Type="http://schemas.openxmlformats.org/officeDocument/2006/relationships/image" Target="../media/image94.png"/></Relationships>
</file>

<file path=ppt/slides/_rels/slide66.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67.xml.rels><?xml version="1.0" encoding="UTF-8" standalone="yes"?>
<Relationships xmlns="http://schemas.openxmlformats.org/package/2006/relationships"><Relationship Id="rId3" Type="http://schemas.openxmlformats.org/officeDocument/2006/relationships/hyperlink" Target="https://developer.cisco.com/learning/labs/intro-dnac-api/authentication/" TargetMode="External"/><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68.xml.rels><?xml version="1.0" encoding="UTF-8" standalone="yes"?>
<Relationships xmlns="http://schemas.openxmlformats.org/package/2006/relationships"><Relationship Id="rId3" Type="http://schemas.openxmlformats.org/officeDocument/2006/relationships/hyperlink" Target="https://github.com/akoksrud/wifi-automation" TargetMode="External"/><Relationship Id="rId2" Type="http://schemas.openxmlformats.org/officeDocument/2006/relationships/notesSlide" Target="../notesSlides/notesSlide66.xml"/><Relationship Id="rId1" Type="http://schemas.openxmlformats.org/officeDocument/2006/relationships/slideLayout" Target="../slideLayouts/slideLayout7.xml"/><Relationship Id="rId4" Type="http://schemas.openxmlformats.org/officeDocument/2006/relationships/hyperlink" Target="https://developer.arubanetworks.com/hpe-aruba-networking-central/docs/postman-collection" TargetMode="External"/></Relationships>
</file>

<file path=ppt/slides/_rels/slide69.xml.rels><?xml version="1.0" encoding="UTF-8" standalone="yes"?>
<Relationships xmlns="http://schemas.openxmlformats.org/package/2006/relationships"><Relationship Id="rId3" Type="http://schemas.openxmlformats.org/officeDocument/2006/relationships/hyperlink" Target="https://github.com/akoksrud/wifi-automation" TargetMode="External"/><Relationship Id="rId2" Type="http://schemas.openxmlformats.org/officeDocument/2006/relationships/notesSlide" Target="../notesSlides/notesSlide67.xml"/><Relationship Id="rId1" Type="http://schemas.openxmlformats.org/officeDocument/2006/relationships/slideLayout" Target="../slideLayouts/slideLayout7.xml"/><Relationship Id="rId4" Type="http://schemas.openxmlformats.org/officeDocument/2006/relationships/hyperlink" Target="https://developer.cisco.com/meraki/api-v1/getting-started/#getting-started"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hyperlink" Target="https://github.com/akoksrud/wifi-automation" TargetMode="External"/><Relationship Id="rId2" Type="http://schemas.openxmlformats.org/officeDocument/2006/relationships/notesSlide" Target="../notesSlides/notesSlide68.xml"/><Relationship Id="rId1" Type="http://schemas.openxmlformats.org/officeDocument/2006/relationships/slideLayout" Target="../slideLayouts/slideLayout7.xml"/><Relationship Id="rId4" Type="http://schemas.openxmlformats.org/officeDocument/2006/relationships/hyperlink" Target="https://www.mist.com/documentation/using-postman/" TargetMode="Externa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133.png"/><Relationship Id="rId11" Type="http://schemas.openxmlformats.org/officeDocument/2006/relationships/image" Target="../media/image138.png"/><Relationship Id="rId5" Type="http://schemas.openxmlformats.org/officeDocument/2006/relationships/image" Target="../media/image132.pn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s>
</file>

<file path=ppt/slides/_rels/slide7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2.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3.xml"/><Relationship Id="rId1" Type="http://schemas.openxmlformats.org/officeDocument/2006/relationships/slideLayout" Target="../slideLayouts/slideLayout7.xml"/><Relationship Id="rId4" Type="http://schemas.openxmlformats.org/officeDocument/2006/relationships/image" Target="../media/image141.png"/></Relationships>
</file>

<file path=ppt/slides/_rels/slide7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146.png"/><Relationship Id="rId4" Type="http://schemas.openxmlformats.org/officeDocument/2006/relationships/image" Target="../media/image145.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8.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8" Type="http://schemas.openxmlformats.org/officeDocument/2006/relationships/image" Target="../media/image154.svg"/><Relationship Id="rId13" Type="http://schemas.openxmlformats.org/officeDocument/2006/relationships/image" Target="../media/image158.pn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47.png"/><Relationship Id="rId2" Type="http://schemas.openxmlformats.org/officeDocument/2006/relationships/image" Target="../media/image148.png"/><Relationship Id="rId1" Type="http://schemas.openxmlformats.org/officeDocument/2006/relationships/slideLayout" Target="../slideLayouts/slideLayout5.xml"/><Relationship Id="rId6" Type="http://schemas.openxmlformats.org/officeDocument/2006/relationships/image" Target="../media/image152.png"/><Relationship Id="rId11" Type="http://schemas.openxmlformats.org/officeDocument/2006/relationships/image" Target="../media/image157.svg"/><Relationship Id="rId5" Type="http://schemas.openxmlformats.org/officeDocument/2006/relationships/image" Target="../media/image151.png"/><Relationship Id="rId10" Type="http://schemas.openxmlformats.org/officeDocument/2006/relationships/image" Target="../media/image156.png"/><Relationship Id="rId4" Type="http://schemas.openxmlformats.org/officeDocument/2006/relationships/image" Target="../media/image150.png"/><Relationship Id="rId9" Type="http://schemas.openxmlformats.org/officeDocument/2006/relationships/image" Target="../media/image155.png"/></Relationships>
</file>

<file path=ppt/slides/_rels/slide8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161.png"/><Relationship Id="rId4" Type="http://schemas.openxmlformats.org/officeDocument/2006/relationships/image" Target="../media/image160.png"/></Relationships>
</file>

<file path=ppt/slides/_rels/slide83.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164.png"/><Relationship Id="rId4" Type="http://schemas.openxmlformats.org/officeDocument/2006/relationships/image" Target="../media/image163.jpeg"/></Relationships>
</file>

<file path=ppt/slides/_rels/slide8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1.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82.xml"/><Relationship Id="rId1" Type="http://schemas.openxmlformats.org/officeDocument/2006/relationships/slideLayout" Target="../slideLayouts/slideLayout7.xml"/><Relationship Id="rId4" Type="http://schemas.openxmlformats.org/officeDocument/2006/relationships/image" Target="../media/image147.png"/></Relationships>
</file>

<file path=ppt/slides/_rels/slide86.xml.rels><?xml version="1.0" encoding="UTF-8" standalone="yes"?>
<Relationships xmlns="http://schemas.openxmlformats.org/package/2006/relationships"><Relationship Id="rId3" Type="http://schemas.openxmlformats.org/officeDocument/2006/relationships/hyperlink" Target="http://192.168.10.x:3000/" TargetMode="External"/><Relationship Id="rId2" Type="http://schemas.openxmlformats.org/officeDocument/2006/relationships/notesSlide" Target="../notesSlides/notesSlide83.xml"/><Relationship Id="rId1" Type="http://schemas.openxmlformats.org/officeDocument/2006/relationships/slideLayout" Target="../slideLayouts/slideLayout7.xml"/><Relationship Id="rId4" Type="http://schemas.openxmlformats.org/officeDocument/2006/relationships/image" Target="../media/image147.png"/></Relationships>
</file>

<file path=ppt/slides/_rels/slide87.xml.rels><?xml version="1.0" encoding="UTF-8" standalone="yes"?>
<Relationships xmlns="http://schemas.openxmlformats.org/package/2006/relationships"><Relationship Id="rId3" Type="http://schemas.openxmlformats.org/officeDocument/2006/relationships/hyperlink" Target="https://influxdb:8086/" TargetMode="External"/><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167.png"/><Relationship Id="rId4" Type="http://schemas.openxmlformats.org/officeDocument/2006/relationships/image" Target="../media/image166.png"/></Relationships>
</file>

<file path=ppt/slides/_rels/slide88.xml.rels><?xml version="1.0" encoding="UTF-8" standalone="yes"?>
<Relationships xmlns="http://schemas.openxmlformats.org/package/2006/relationships"><Relationship Id="rId3" Type="http://schemas.openxmlformats.org/officeDocument/2006/relationships/hyperlink" Target="https://influxdb:8086/" TargetMode="External"/><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147.png"/><Relationship Id="rId5" Type="http://schemas.openxmlformats.org/officeDocument/2006/relationships/image" Target="../media/image169.png"/><Relationship Id="rId4" Type="http://schemas.openxmlformats.org/officeDocument/2006/relationships/image" Target="../media/image168.png"/></Relationships>
</file>

<file path=ppt/slides/_rels/slide89.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image" Target="../media/image170.png"/><Relationship Id="rId7" Type="http://schemas.openxmlformats.org/officeDocument/2006/relationships/image" Target="../media/image174.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173.png"/><Relationship Id="rId5" Type="http://schemas.openxmlformats.org/officeDocument/2006/relationships/image" Target="../media/image172.png"/><Relationship Id="rId10" Type="http://schemas.openxmlformats.org/officeDocument/2006/relationships/image" Target="../media/image147.png"/><Relationship Id="rId4" Type="http://schemas.openxmlformats.org/officeDocument/2006/relationships/image" Target="../media/image171.png"/><Relationship Id="rId9" Type="http://schemas.openxmlformats.org/officeDocument/2006/relationships/image" Target="../media/image176.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90.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147.png"/><Relationship Id="rId4" Type="http://schemas.openxmlformats.org/officeDocument/2006/relationships/image" Target="../media/image178.png"/></Relationships>
</file>

<file path=ppt/slides/_rels/slide91.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147.png"/><Relationship Id="rId4" Type="http://schemas.openxmlformats.org/officeDocument/2006/relationships/image" Target="../media/image180.png"/></Relationships>
</file>

<file path=ppt/slides/_rels/slide92.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9.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0.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1.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2.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3" Type="http://schemas.openxmlformats.org/officeDocument/2006/relationships/hyperlink" Target="http://influxdb:8086/" TargetMode="External"/><Relationship Id="rId7" Type="http://schemas.openxmlformats.org/officeDocument/2006/relationships/image" Target="../media/image147.png"/><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183.png"/><Relationship Id="rId5" Type="http://schemas.openxmlformats.org/officeDocument/2006/relationships/image" Target="../media/image182.png"/><Relationship Id="rId4" Type="http://schemas.openxmlformats.org/officeDocument/2006/relationships/image" Target="../media/image181.png"/></Relationships>
</file>

<file path=ppt/slides/_rels/slide97.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84.png"/><Relationship Id="rId7" Type="http://schemas.openxmlformats.org/officeDocument/2006/relationships/image" Target="../media/image188.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85.png"/></Relationships>
</file>

<file path=ppt/slides/_rels/slide98.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89.png"/><Relationship Id="rId7" Type="http://schemas.openxmlformats.org/officeDocument/2006/relationships/image" Target="../media/image193.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0.png"/></Relationships>
</file>

<file path=ppt/slides/_rels/slide99.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94.png"/><Relationship Id="rId7" Type="http://schemas.openxmlformats.org/officeDocument/2006/relationships/image" Target="../media/image198.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19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p:txBody>
          <a:bodyPr/>
          <a:lstStyle/>
          <a:p>
            <a:r>
              <a:rPr lang="en-GB"/>
              <a:t>Andreas Koksrud / Telenor Bedrift</a:t>
            </a:r>
          </a:p>
          <a:p>
            <a:r>
              <a:rPr lang="en-GB"/>
              <a:t>Kjetil Teigen Hansen / </a:t>
            </a:r>
            <a:r>
              <a:rPr lang="en-GB" err="1"/>
              <a:t>Conscia</a:t>
            </a:r>
            <a:endParaRPr lang="en-GB"/>
          </a:p>
        </p:txBody>
      </p:sp>
      <p:sp>
        <p:nvSpPr>
          <p:cNvPr id="2" name="Title"/>
          <p:cNvSpPr>
            <a:spLocks noGrp="1"/>
          </p:cNvSpPr>
          <p:nvPr>
            <p:ph type="ctrTitle"/>
          </p:nvPr>
        </p:nvSpPr>
        <p:spPr bwMode="gray">
          <a:xfrm>
            <a:off x="540406" y="0"/>
            <a:ext cx="11109600" cy="3744000"/>
          </a:xfrm>
        </p:spPr>
        <p:txBody>
          <a:bodyPr bIns="360000"/>
          <a:lstStyle/>
          <a:p>
            <a:r>
              <a:rPr lang="en-GB"/>
              <a:t>Build your own Wi-Fi automation lab</a:t>
            </a:r>
            <a:br>
              <a:rPr lang="en-GB"/>
            </a:br>
            <a:r>
              <a:rPr lang="en-GB" sz="2800" err="1"/>
              <a:t>Lab</a:t>
            </a:r>
            <a:r>
              <a:rPr lang="en-GB" sz="2800"/>
              <a:t> Guide - Day 1</a:t>
            </a:r>
            <a:endParaRPr lang="en-GB" sz="440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a:t>If </a:t>
            </a:r>
            <a:r>
              <a:rPr lang="nb-NO" sz="1400" dirty="0" err="1"/>
              <a:t>you</a:t>
            </a:r>
            <a:r>
              <a:rPr lang="nb-NO" sz="1400" dirty="0"/>
              <a:t> for </a:t>
            </a:r>
            <a:r>
              <a:rPr lang="nb-NO" sz="1400" dirty="0" err="1"/>
              <a:t>some</a:t>
            </a:r>
            <a:r>
              <a:rPr lang="nb-NO" sz="1400" dirty="0"/>
              <a:t> </a:t>
            </a:r>
            <a:r>
              <a:rPr lang="nb-NO" sz="1400" dirty="0" err="1"/>
              <a:t>reason</a:t>
            </a:r>
            <a:r>
              <a:rPr lang="nb-NO" sz="1400" dirty="0"/>
              <a:t> do NOT </a:t>
            </a:r>
            <a:r>
              <a:rPr lang="nb-NO" sz="1400" dirty="0" err="1"/>
              <a:t>want</a:t>
            </a:r>
            <a:r>
              <a:rPr lang="nb-NO" sz="1400" dirty="0"/>
              <a:t> to do </a:t>
            </a:r>
            <a:r>
              <a:rPr lang="nb-NO" sz="1400" dirty="0" err="1"/>
              <a:t>the</a:t>
            </a:r>
            <a:r>
              <a:rPr lang="nb-NO" sz="1400" dirty="0"/>
              <a:t> "</a:t>
            </a:r>
            <a:r>
              <a:rPr lang="nb-NO" sz="1400" dirty="0" err="1"/>
              <a:t>building</a:t>
            </a:r>
            <a:r>
              <a:rPr lang="nb-NO" sz="1400" dirty="0"/>
              <a:t> </a:t>
            </a:r>
            <a:r>
              <a:rPr lang="nb-NO" sz="1400" dirty="0" err="1"/>
              <a:t>your</a:t>
            </a:r>
            <a:r>
              <a:rPr lang="nb-NO" sz="1400" dirty="0"/>
              <a:t> </a:t>
            </a:r>
            <a:r>
              <a:rPr lang="nb-NO" sz="1400" dirty="0" err="1"/>
              <a:t>own</a:t>
            </a:r>
            <a:r>
              <a:rPr lang="nb-NO" sz="1400" dirty="0"/>
              <a:t> </a:t>
            </a:r>
            <a:r>
              <a:rPr lang="nb-NO" sz="1400" dirty="0" err="1"/>
              <a:t>automation</a:t>
            </a:r>
            <a:r>
              <a:rPr lang="nb-NO" sz="1400" dirty="0"/>
              <a:t> lab" part </a:t>
            </a:r>
            <a:r>
              <a:rPr lang="nb-NO" sz="1400" dirty="0" err="1"/>
              <a:t>of</a:t>
            </a:r>
            <a:r>
              <a:rPr lang="nb-NO" sz="1400" dirty="0"/>
              <a:t> </a:t>
            </a:r>
            <a:r>
              <a:rPr lang="nb-NO" sz="1400" dirty="0" err="1"/>
              <a:t>this</a:t>
            </a:r>
            <a:r>
              <a:rPr lang="nb-NO" sz="1400" dirty="0"/>
              <a:t> </a:t>
            </a:r>
            <a:r>
              <a:rPr lang="nb-NO" sz="1400" dirty="0" err="1"/>
              <a:t>deep</a:t>
            </a:r>
            <a:r>
              <a:rPr lang="nb-NO" sz="1400" dirty="0"/>
              <a:t> </a:t>
            </a:r>
            <a:r>
              <a:rPr lang="nb-NO" sz="1400" dirty="0" err="1"/>
              <a:t>dive</a:t>
            </a:r>
            <a:r>
              <a:rPr lang="nb-NO" sz="1400" dirty="0"/>
              <a:t>, </a:t>
            </a:r>
            <a:r>
              <a:rPr lang="nb-NO" sz="1400" dirty="0" err="1"/>
              <a:t>only</a:t>
            </a:r>
            <a:r>
              <a:rPr lang="nb-NO" sz="1400" dirty="0"/>
              <a:t> </a:t>
            </a:r>
            <a:r>
              <a:rPr lang="nb-NO" sz="1400" dirty="0" err="1"/>
              <a:t>the</a:t>
            </a:r>
            <a:r>
              <a:rPr lang="nb-NO" sz="1400" dirty="0"/>
              <a:t> "a taste from </a:t>
            </a:r>
            <a:r>
              <a:rPr lang="nb-NO" sz="1400" dirty="0" err="1"/>
              <a:t>the</a:t>
            </a:r>
            <a:r>
              <a:rPr lang="nb-NO" sz="1400" dirty="0"/>
              <a:t> </a:t>
            </a:r>
            <a:r>
              <a:rPr lang="nb-NO" sz="1400" dirty="0" err="1"/>
              <a:t>automation</a:t>
            </a:r>
            <a:r>
              <a:rPr lang="nb-NO" sz="1400" dirty="0"/>
              <a:t> buffet" part, </a:t>
            </a:r>
            <a:r>
              <a:rPr lang="nb-NO" sz="1400" dirty="0" err="1"/>
              <a:t>you</a:t>
            </a:r>
            <a:r>
              <a:rPr lang="nb-NO" sz="1400" dirty="0"/>
              <a:t> </a:t>
            </a:r>
            <a:r>
              <a:rPr lang="nb-NO" sz="1400" dirty="0" err="1"/>
              <a:t>can</a:t>
            </a:r>
            <a:r>
              <a:rPr lang="nb-NO" sz="1400" dirty="0"/>
              <a:t> skip </a:t>
            </a:r>
            <a:r>
              <a:rPr lang="nb-NO" sz="1400" dirty="0" err="1"/>
              <a:t>some</a:t>
            </a:r>
            <a:r>
              <a:rPr lang="nb-NO" sz="1400" dirty="0"/>
              <a:t> parts. </a:t>
            </a:r>
            <a:r>
              <a:rPr lang="nb-NO" sz="1400" dirty="0" err="1"/>
              <a:t>We</a:t>
            </a:r>
            <a:r>
              <a:rPr lang="nb-NO" sz="1400" dirty="0"/>
              <a:t> </a:t>
            </a:r>
            <a:r>
              <a:rPr lang="nb-NO" sz="1400" dirty="0" err="1"/>
              <a:t>will</a:t>
            </a:r>
            <a:r>
              <a:rPr lang="nb-NO" sz="1400" dirty="0"/>
              <a:t> </a:t>
            </a:r>
            <a:r>
              <a:rPr lang="nb-NO" sz="1400" dirty="0" err="1"/>
              <a:t>try</a:t>
            </a:r>
            <a:r>
              <a:rPr lang="nb-NO" sz="1400" dirty="0"/>
              <a:t> to note </a:t>
            </a:r>
            <a:r>
              <a:rPr lang="nb-NO" sz="1400" dirty="0" err="1"/>
              <a:t>those</a:t>
            </a:r>
            <a:r>
              <a:rPr lang="nb-NO" sz="1400" dirty="0"/>
              <a:t> parts at </a:t>
            </a:r>
            <a:r>
              <a:rPr lang="nb-NO" sz="1400" dirty="0" err="1"/>
              <a:t>the</a:t>
            </a:r>
            <a:r>
              <a:rPr lang="nb-NO" sz="1400" dirty="0"/>
              <a:t> intro slide to </a:t>
            </a:r>
            <a:r>
              <a:rPr lang="nb-NO" sz="1400" dirty="0" err="1"/>
              <a:t>each</a:t>
            </a:r>
            <a:r>
              <a:rPr lang="nb-NO" sz="1400" dirty="0"/>
              <a:t> part.</a:t>
            </a:r>
          </a:p>
          <a:p>
            <a:pPr>
              <a:lnSpc>
                <a:spcPct val="110000"/>
              </a:lnSpc>
            </a:pPr>
            <a:r>
              <a:rPr lang="nb-NO" sz="1400" dirty="0"/>
              <a:t>In </a:t>
            </a:r>
            <a:r>
              <a:rPr lang="nb-NO" sz="1400" dirty="0" err="1"/>
              <a:t>short</a:t>
            </a:r>
            <a:r>
              <a:rPr lang="nb-NO" sz="1400" dirty="0"/>
              <a:t>, </a:t>
            </a:r>
            <a:r>
              <a:rPr lang="nb-NO" sz="1400" dirty="0" err="1"/>
              <a:t>you</a:t>
            </a:r>
            <a:r>
              <a:rPr lang="nb-NO" sz="1400" dirty="0"/>
              <a:t> </a:t>
            </a:r>
            <a:r>
              <a:rPr lang="nb-NO" sz="1400" dirty="0" err="1"/>
              <a:t>can</a:t>
            </a:r>
            <a:r>
              <a:rPr lang="nb-NO" sz="1400" dirty="0"/>
              <a:t> make </a:t>
            </a:r>
            <a:r>
              <a:rPr lang="nb-NO" sz="1400" dirty="0" err="1"/>
              <a:t>these</a:t>
            </a:r>
            <a:r>
              <a:rPr lang="nb-NO" sz="1400" dirty="0"/>
              <a:t> </a:t>
            </a:r>
            <a:r>
              <a:rPr lang="nb-NO" sz="1400" dirty="0" err="1"/>
              <a:t>decisions</a:t>
            </a:r>
            <a:r>
              <a:rPr lang="nb-NO" sz="1400" dirty="0"/>
              <a:t> to do less </a:t>
            </a:r>
            <a:r>
              <a:rPr lang="nb-NO" sz="1400" dirty="0" err="1"/>
              <a:t>building</a:t>
            </a:r>
            <a:r>
              <a:rPr lang="nb-NO" sz="1400" dirty="0"/>
              <a:t> and more </a:t>
            </a:r>
            <a:r>
              <a:rPr lang="nb-NO" sz="1400" dirty="0" err="1"/>
              <a:t>automation</a:t>
            </a:r>
            <a:endParaRPr lang="nb-NO" sz="1400" dirty="0"/>
          </a:p>
          <a:p>
            <a:pPr lvl="1">
              <a:lnSpc>
                <a:spcPct val="110000"/>
              </a:lnSpc>
            </a:pPr>
            <a:r>
              <a:rPr lang="nb-NO" sz="1200" dirty="0" err="1"/>
              <a:t>Use</a:t>
            </a:r>
            <a:r>
              <a:rPr lang="nb-NO" sz="1200" dirty="0"/>
              <a:t> an </a:t>
            </a:r>
            <a:r>
              <a:rPr lang="nb-NO" sz="1200" dirty="0" err="1"/>
              <a:t>Ubuntu</a:t>
            </a:r>
            <a:r>
              <a:rPr lang="nb-NO" sz="1200" dirty="0"/>
              <a:t> server </a:t>
            </a:r>
            <a:r>
              <a:rPr lang="nb-NO" sz="1200" dirty="0" err="1"/>
              <a:t>that</a:t>
            </a:r>
            <a:r>
              <a:rPr lang="nb-NO" sz="1200" dirty="0"/>
              <a:t> </a:t>
            </a:r>
            <a:r>
              <a:rPr lang="nb-NO" sz="1200" dirty="0" err="1"/>
              <a:t>we</a:t>
            </a:r>
            <a:r>
              <a:rPr lang="nb-NO" sz="1200" dirty="0"/>
              <a:t> </a:t>
            </a:r>
            <a:r>
              <a:rPr lang="nb-NO" sz="1200" dirty="0" err="1"/>
              <a:t>can</a:t>
            </a:r>
            <a:r>
              <a:rPr lang="nb-NO" sz="1200" dirty="0"/>
              <a:t> host </a:t>
            </a:r>
            <a:r>
              <a:rPr lang="nb-NO" sz="1200" dirty="0" err="1"/>
              <a:t>on</a:t>
            </a:r>
            <a:r>
              <a:rPr lang="nb-NO" sz="1200" dirty="0"/>
              <a:t> a server </a:t>
            </a:r>
            <a:r>
              <a:rPr lang="nb-NO" sz="1200" dirty="0" err="1"/>
              <a:t>that</a:t>
            </a:r>
            <a:r>
              <a:rPr lang="nb-NO" sz="1200" dirty="0"/>
              <a:t> </a:t>
            </a:r>
            <a:r>
              <a:rPr lang="nb-NO" sz="1200" dirty="0" err="1"/>
              <a:t>we</a:t>
            </a:r>
            <a:r>
              <a:rPr lang="nb-NO" sz="1200" dirty="0"/>
              <a:t> bring </a:t>
            </a:r>
            <a:r>
              <a:rPr lang="nb-NO" sz="1200" dirty="0" err="1"/>
              <a:t>along</a:t>
            </a:r>
            <a:r>
              <a:rPr lang="nb-NO" sz="1200" dirty="0"/>
              <a:t>. This </a:t>
            </a:r>
            <a:r>
              <a:rPr lang="nb-NO" sz="1200" dirty="0" err="1"/>
              <a:t>will</a:t>
            </a:r>
            <a:r>
              <a:rPr lang="nb-NO" sz="1200" dirty="0"/>
              <a:t> be "</a:t>
            </a:r>
            <a:r>
              <a:rPr lang="nb-NO" sz="1200" dirty="0" err="1"/>
              <a:t>your</a:t>
            </a:r>
            <a:r>
              <a:rPr lang="nb-NO" sz="1200" dirty="0"/>
              <a:t> </a:t>
            </a:r>
            <a:r>
              <a:rPr lang="nb-NO" sz="1200" dirty="0" err="1"/>
              <a:t>own</a:t>
            </a:r>
            <a:r>
              <a:rPr lang="nb-NO" sz="1200" dirty="0"/>
              <a:t>" and </a:t>
            </a:r>
            <a:r>
              <a:rPr lang="nb-NO" sz="1200" dirty="0" err="1"/>
              <a:t>we</a:t>
            </a:r>
            <a:r>
              <a:rPr lang="nb-NO" sz="1200" dirty="0"/>
              <a:t> </a:t>
            </a:r>
            <a:r>
              <a:rPr lang="nb-NO" sz="1200" dirty="0" err="1"/>
              <a:t>will</a:t>
            </a:r>
            <a:r>
              <a:rPr lang="nb-NO" sz="1200" dirty="0"/>
              <a:t> </a:t>
            </a:r>
            <a:r>
              <a:rPr lang="nb-NO" sz="1200" dirty="0" err="1"/>
              <a:t>delete</a:t>
            </a:r>
            <a:r>
              <a:rPr lang="nb-NO" sz="1200" dirty="0"/>
              <a:t> it </a:t>
            </a:r>
            <a:r>
              <a:rPr lang="nb-NO" sz="1200" dirty="0" err="1"/>
              <a:t>after</a:t>
            </a:r>
            <a:r>
              <a:rPr lang="nb-NO" sz="1200" dirty="0"/>
              <a:t> </a:t>
            </a:r>
            <a:r>
              <a:rPr lang="nb-NO" sz="1200" dirty="0" err="1"/>
              <a:t>the</a:t>
            </a:r>
            <a:r>
              <a:rPr lang="nb-NO" sz="1200" dirty="0"/>
              <a:t> </a:t>
            </a:r>
            <a:r>
              <a:rPr lang="nb-NO" sz="1200" dirty="0" err="1"/>
              <a:t>deep</a:t>
            </a:r>
            <a:r>
              <a:rPr lang="nb-NO" sz="1200" dirty="0"/>
              <a:t> </a:t>
            </a:r>
            <a:r>
              <a:rPr lang="nb-NO" sz="1200" dirty="0" err="1"/>
              <a:t>dive</a:t>
            </a:r>
            <a:r>
              <a:rPr lang="nb-NO" sz="1200" dirty="0"/>
              <a:t>. The </a:t>
            </a:r>
            <a:r>
              <a:rPr lang="nb-NO" sz="1200" dirty="0" err="1"/>
              <a:t>resources</a:t>
            </a:r>
            <a:r>
              <a:rPr lang="nb-NO" sz="1200" dirty="0"/>
              <a:t> </a:t>
            </a:r>
            <a:r>
              <a:rPr lang="nb-NO" sz="1200" dirty="0" err="1"/>
              <a:t>will</a:t>
            </a:r>
            <a:r>
              <a:rPr lang="nb-NO" sz="1200" dirty="0"/>
              <a:t> be </a:t>
            </a:r>
            <a:r>
              <a:rPr lang="nb-NO" sz="1200" dirty="0" err="1"/>
              <a:t>shared</a:t>
            </a:r>
            <a:r>
              <a:rPr lang="nb-NO" sz="1200" dirty="0"/>
              <a:t> </a:t>
            </a:r>
            <a:r>
              <a:rPr lang="nb-NO" sz="1200" dirty="0" err="1"/>
              <a:t>along</a:t>
            </a:r>
            <a:r>
              <a:rPr lang="nb-NO" sz="1200" dirty="0"/>
              <a:t> </a:t>
            </a:r>
            <a:r>
              <a:rPr lang="nb-NO" sz="1200" dirty="0" err="1"/>
              <a:t>with</a:t>
            </a:r>
            <a:r>
              <a:rPr lang="nb-NO" sz="1200" dirty="0"/>
              <a:t> </a:t>
            </a:r>
            <a:r>
              <a:rPr lang="nb-NO" sz="1200" dirty="0" err="1"/>
              <a:t>some</a:t>
            </a:r>
            <a:r>
              <a:rPr lang="nb-NO" sz="1200" dirty="0"/>
              <a:t> </a:t>
            </a:r>
            <a:r>
              <a:rPr lang="nb-NO" sz="1200" dirty="0" err="1"/>
              <a:t>other</a:t>
            </a:r>
            <a:r>
              <a:rPr lang="nb-NO" sz="1200" dirty="0"/>
              <a:t> </a:t>
            </a:r>
            <a:r>
              <a:rPr lang="nb-NO" sz="1200" dirty="0" err="1"/>
              <a:t>participants</a:t>
            </a:r>
            <a:r>
              <a:rPr lang="nb-NO" sz="1200" dirty="0"/>
              <a:t> and </a:t>
            </a:r>
            <a:r>
              <a:rPr lang="nb-NO" sz="1200" dirty="0" err="1"/>
              <a:t>the</a:t>
            </a:r>
            <a:r>
              <a:rPr lang="nb-NO" sz="1200" dirty="0"/>
              <a:t> </a:t>
            </a:r>
            <a:r>
              <a:rPr lang="nb-NO" sz="1200" dirty="0" err="1"/>
              <a:t>shared</a:t>
            </a:r>
            <a:r>
              <a:rPr lang="nb-NO" sz="1200" dirty="0"/>
              <a:t> </a:t>
            </a:r>
            <a:r>
              <a:rPr lang="nb-NO" sz="1200" dirty="0" err="1"/>
              <a:t>WLC</a:t>
            </a:r>
            <a:endParaRPr lang="nb-NO" sz="1200" dirty="0"/>
          </a:p>
          <a:p>
            <a:pPr lvl="1">
              <a:lnSpc>
                <a:spcPct val="110000"/>
              </a:lnSpc>
            </a:pPr>
            <a:r>
              <a:rPr lang="nb-NO" sz="1200" dirty="0" err="1"/>
              <a:t>Use</a:t>
            </a:r>
            <a:r>
              <a:rPr lang="nb-NO" sz="1200" dirty="0"/>
              <a:t> a </a:t>
            </a:r>
            <a:r>
              <a:rPr lang="nb-NO" sz="1200" dirty="0" err="1"/>
              <a:t>C9800</a:t>
            </a:r>
            <a:r>
              <a:rPr lang="nb-NO" sz="1200" dirty="0"/>
              <a:t> </a:t>
            </a:r>
            <a:r>
              <a:rPr lang="nb-NO" sz="1200" dirty="0" err="1"/>
              <a:t>WLC</a:t>
            </a:r>
            <a:r>
              <a:rPr lang="nb-NO" sz="1200" dirty="0"/>
              <a:t> </a:t>
            </a:r>
            <a:r>
              <a:rPr lang="nb-NO" sz="1200" dirty="0" err="1"/>
              <a:t>on</a:t>
            </a:r>
            <a:r>
              <a:rPr lang="nb-NO" sz="1200" dirty="0"/>
              <a:t> a server </a:t>
            </a:r>
            <a:r>
              <a:rPr lang="nb-NO" sz="1200" dirty="0" err="1"/>
              <a:t>that</a:t>
            </a:r>
            <a:r>
              <a:rPr lang="nb-NO" sz="1200" dirty="0"/>
              <a:t> </a:t>
            </a:r>
            <a:r>
              <a:rPr lang="nb-NO" sz="1200" dirty="0" err="1"/>
              <a:t>we</a:t>
            </a:r>
            <a:r>
              <a:rPr lang="nb-NO" sz="1200" dirty="0"/>
              <a:t> bring </a:t>
            </a:r>
            <a:r>
              <a:rPr lang="nb-NO" sz="1200" dirty="0" err="1"/>
              <a:t>along</a:t>
            </a:r>
            <a:r>
              <a:rPr lang="nb-NO" sz="1200" dirty="0"/>
              <a:t>. This </a:t>
            </a:r>
            <a:r>
              <a:rPr lang="nb-NO" sz="1200" dirty="0" err="1"/>
              <a:t>WLC</a:t>
            </a:r>
            <a:r>
              <a:rPr lang="nb-NO" sz="1200" dirty="0"/>
              <a:t> </a:t>
            </a:r>
            <a:r>
              <a:rPr lang="nb-NO" sz="1200" dirty="0" err="1"/>
              <a:t>will</a:t>
            </a:r>
            <a:r>
              <a:rPr lang="nb-NO" sz="1200" dirty="0"/>
              <a:t> be </a:t>
            </a:r>
            <a:r>
              <a:rPr lang="nb-NO" sz="1200" dirty="0" err="1"/>
              <a:t>shared</a:t>
            </a:r>
            <a:r>
              <a:rPr lang="nb-NO" sz="1200" dirty="0"/>
              <a:t> by all students </a:t>
            </a:r>
            <a:r>
              <a:rPr lang="nb-NO" sz="1200" dirty="0" err="1"/>
              <a:t>that</a:t>
            </a:r>
            <a:r>
              <a:rPr lang="nb-NO" sz="1200" dirty="0"/>
              <a:t> </a:t>
            </a:r>
            <a:r>
              <a:rPr lang="nb-NO" sz="1200" dirty="0" err="1"/>
              <a:t>need</a:t>
            </a:r>
            <a:r>
              <a:rPr lang="nb-NO" sz="1200" dirty="0"/>
              <a:t> </a:t>
            </a:r>
            <a:r>
              <a:rPr lang="nb-NO" sz="1200" dirty="0" err="1"/>
              <a:t>this</a:t>
            </a:r>
            <a:r>
              <a:rPr lang="nb-NO" sz="1200" dirty="0"/>
              <a:t>. </a:t>
            </a:r>
            <a:r>
              <a:rPr lang="nb-NO" sz="1200" dirty="0" err="1"/>
              <a:t>We</a:t>
            </a:r>
            <a:r>
              <a:rPr lang="nb-NO" sz="1200" dirty="0"/>
              <a:t> </a:t>
            </a:r>
            <a:r>
              <a:rPr lang="nb-NO" sz="1200" dirty="0" err="1"/>
              <a:t>might</a:t>
            </a:r>
            <a:r>
              <a:rPr lang="nb-NO" sz="1200" dirty="0"/>
              <a:t> be </a:t>
            </a:r>
            <a:r>
              <a:rPr lang="nb-NO" sz="1200" dirty="0" err="1"/>
              <a:t>able</a:t>
            </a:r>
            <a:r>
              <a:rPr lang="nb-NO" sz="1200" dirty="0"/>
              <a:t> to host </a:t>
            </a:r>
            <a:r>
              <a:rPr lang="nb-NO" sz="1200" dirty="0" err="1"/>
              <a:t>some</a:t>
            </a:r>
            <a:r>
              <a:rPr lang="nb-NO" sz="1200" dirty="0"/>
              <a:t> more </a:t>
            </a:r>
            <a:r>
              <a:rPr lang="nb-NO" sz="1200" dirty="0" err="1"/>
              <a:t>WLCs</a:t>
            </a:r>
            <a:r>
              <a:rPr lang="nb-NO" sz="1200" dirty="0"/>
              <a:t> </a:t>
            </a:r>
            <a:r>
              <a:rPr lang="nb-NO" sz="1200" dirty="0" err="1"/>
              <a:t>if</a:t>
            </a:r>
            <a:r>
              <a:rPr lang="nb-NO" sz="1200" dirty="0"/>
              <a:t> </a:t>
            </a:r>
            <a:r>
              <a:rPr lang="nb-NO" sz="1200" dirty="0" err="1"/>
              <a:t>neccessary</a:t>
            </a:r>
            <a:endParaRPr lang="nb-NO" sz="1200" dirty="0"/>
          </a:p>
          <a:p>
            <a:pPr lvl="1">
              <a:lnSpc>
                <a:spcPct val="110000"/>
              </a:lnSpc>
            </a:pPr>
            <a:r>
              <a:rPr lang="nb-NO" sz="1200" dirty="0" err="1"/>
              <a:t>Instead</a:t>
            </a:r>
            <a:r>
              <a:rPr lang="nb-NO" sz="1200" dirty="0"/>
              <a:t> </a:t>
            </a:r>
            <a:r>
              <a:rPr lang="nb-NO" sz="1200" dirty="0" err="1"/>
              <a:t>of</a:t>
            </a:r>
            <a:r>
              <a:rPr lang="nb-NO" sz="1200" dirty="0"/>
              <a:t> </a:t>
            </a:r>
            <a:r>
              <a:rPr lang="nb-NO" sz="1200" dirty="0" err="1"/>
              <a:t>installing</a:t>
            </a:r>
            <a:r>
              <a:rPr lang="nb-NO" sz="1200" dirty="0"/>
              <a:t> </a:t>
            </a:r>
            <a:r>
              <a:rPr lang="nb-NO" sz="1200" dirty="0" err="1"/>
              <a:t>YANG</a:t>
            </a:r>
            <a:r>
              <a:rPr lang="nb-NO" sz="1200" dirty="0"/>
              <a:t> Suite </a:t>
            </a:r>
            <a:r>
              <a:rPr lang="nb-NO" sz="1200" dirty="0" err="1"/>
              <a:t>you</a:t>
            </a:r>
            <a:r>
              <a:rPr lang="nb-NO" sz="1200" dirty="0"/>
              <a:t> </a:t>
            </a:r>
            <a:r>
              <a:rPr lang="nb-NO" sz="1200" dirty="0" err="1"/>
              <a:t>can</a:t>
            </a:r>
            <a:r>
              <a:rPr lang="nb-NO" sz="1200" dirty="0"/>
              <a:t> </a:t>
            </a:r>
            <a:r>
              <a:rPr lang="nb-NO" sz="1200" dirty="0" err="1"/>
              <a:t>use</a:t>
            </a:r>
            <a:r>
              <a:rPr lang="nb-NO" sz="1200" dirty="0"/>
              <a:t> it from a </a:t>
            </a:r>
            <a:r>
              <a:rPr lang="nb-NO" sz="1200" dirty="0" err="1"/>
              <a:t>shared</a:t>
            </a:r>
            <a:r>
              <a:rPr lang="nb-NO" sz="1200" dirty="0"/>
              <a:t> </a:t>
            </a:r>
            <a:r>
              <a:rPr lang="nb-NO" sz="1200" dirty="0" err="1"/>
              <a:t>Ubuntu</a:t>
            </a:r>
            <a:r>
              <a:rPr lang="nb-NO" sz="1200" dirty="0"/>
              <a:t> Server </a:t>
            </a:r>
            <a:r>
              <a:rPr lang="nb-NO" sz="1200" dirty="0" err="1"/>
              <a:t>where</a:t>
            </a:r>
            <a:r>
              <a:rPr lang="nb-NO" sz="1200" dirty="0"/>
              <a:t> it is </a:t>
            </a:r>
            <a:r>
              <a:rPr lang="nb-NO" sz="1200" dirty="0" err="1"/>
              <a:t>already</a:t>
            </a:r>
            <a:r>
              <a:rPr lang="nb-NO" sz="1200" dirty="0"/>
              <a:t> </a:t>
            </a:r>
            <a:r>
              <a:rPr lang="nb-NO" sz="1200" dirty="0" err="1"/>
              <a:t>installed</a:t>
            </a:r>
            <a:endParaRPr lang="nb-NO" sz="1200" dirty="0"/>
          </a:p>
          <a:p>
            <a:pPr lvl="1">
              <a:lnSpc>
                <a:spcPct val="110000"/>
              </a:lnSpc>
            </a:pPr>
            <a:r>
              <a:rPr lang="nb-NO" sz="1200" dirty="0" err="1"/>
              <a:t>Instead</a:t>
            </a:r>
            <a:r>
              <a:rPr lang="nb-NO" sz="1200" dirty="0"/>
              <a:t> </a:t>
            </a:r>
            <a:r>
              <a:rPr lang="nb-NO" sz="1200" dirty="0" err="1"/>
              <a:t>of</a:t>
            </a:r>
            <a:r>
              <a:rPr lang="nb-NO" sz="1200" dirty="0"/>
              <a:t> </a:t>
            </a:r>
            <a:r>
              <a:rPr lang="nb-NO" sz="1200" dirty="0" err="1"/>
              <a:t>installing</a:t>
            </a:r>
            <a:r>
              <a:rPr lang="nb-NO" sz="1200" dirty="0"/>
              <a:t> </a:t>
            </a:r>
            <a:r>
              <a:rPr lang="nb-NO" sz="1200" dirty="0" err="1"/>
              <a:t>the</a:t>
            </a:r>
            <a:r>
              <a:rPr lang="nb-NO" sz="1200" dirty="0"/>
              <a:t> </a:t>
            </a:r>
            <a:r>
              <a:rPr lang="nb-NO" sz="1200" dirty="0" err="1"/>
              <a:t>TIG</a:t>
            </a:r>
            <a:r>
              <a:rPr lang="nb-NO" sz="1200" dirty="0"/>
              <a:t> </a:t>
            </a:r>
            <a:r>
              <a:rPr lang="nb-NO" sz="1200" dirty="0" err="1"/>
              <a:t>stack</a:t>
            </a:r>
            <a:r>
              <a:rPr lang="nb-NO" sz="1200" dirty="0"/>
              <a:t> (</a:t>
            </a:r>
            <a:r>
              <a:rPr lang="nb-NO" sz="1200" dirty="0" err="1"/>
              <a:t>Grafana</a:t>
            </a:r>
            <a:r>
              <a:rPr lang="nb-NO" sz="1200" dirty="0"/>
              <a:t> </a:t>
            </a:r>
            <a:r>
              <a:rPr lang="nb-NO" sz="1200" dirty="0" err="1"/>
              <a:t>etc</a:t>
            </a:r>
            <a:r>
              <a:rPr lang="nb-NO" sz="1200" dirty="0"/>
              <a:t>) </a:t>
            </a:r>
            <a:r>
              <a:rPr lang="nb-NO" sz="1200" dirty="0" err="1"/>
              <a:t>you</a:t>
            </a:r>
            <a:r>
              <a:rPr lang="nb-NO" sz="1200" dirty="0"/>
              <a:t> </a:t>
            </a:r>
            <a:r>
              <a:rPr lang="nb-NO" sz="1200" dirty="0" err="1"/>
              <a:t>can</a:t>
            </a:r>
            <a:r>
              <a:rPr lang="nb-NO" sz="1200" dirty="0"/>
              <a:t> </a:t>
            </a:r>
            <a:r>
              <a:rPr lang="nb-NO" sz="1200" dirty="0" err="1"/>
              <a:t>use</a:t>
            </a:r>
            <a:r>
              <a:rPr lang="nb-NO" sz="1200" dirty="0"/>
              <a:t> it from a </a:t>
            </a:r>
            <a:r>
              <a:rPr lang="nb-NO" sz="1200" dirty="0" err="1"/>
              <a:t>shared</a:t>
            </a:r>
            <a:r>
              <a:rPr lang="nb-NO" sz="1200" dirty="0"/>
              <a:t> </a:t>
            </a:r>
            <a:r>
              <a:rPr lang="nb-NO" sz="1200" dirty="0" err="1"/>
              <a:t>Ubuntu</a:t>
            </a:r>
            <a:r>
              <a:rPr lang="nb-NO" sz="1200" dirty="0"/>
              <a:t> Server </a:t>
            </a:r>
            <a:r>
              <a:rPr lang="nb-NO" sz="1200" dirty="0" err="1"/>
              <a:t>where</a:t>
            </a:r>
            <a:r>
              <a:rPr lang="nb-NO" sz="1200" dirty="0"/>
              <a:t> it is </a:t>
            </a:r>
            <a:r>
              <a:rPr lang="nb-NO" sz="1200" dirty="0" err="1"/>
              <a:t>already</a:t>
            </a:r>
            <a:r>
              <a:rPr lang="nb-NO" sz="1200" dirty="0"/>
              <a:t> </a:t>
            </a:r>
            <a:r>
              <a:rPr lang="nb-NO" sz="1200" dirty="0" err="1"/>
              <a:t>installed</a:t>
            </a:r>
            <a:endParaRPr lang="nb-NO" sz="1200" dirty="0"/>
          </a:p>
          <a:p>
            <a:pPr>
              <a:lnSpc>
                <a:spcPct val="110000"/>
              </a:lnSpc>
            </a:pPr>
            <a:r>
              <a:rPr lang="nb-NO" sz="1400" dirty="0" err="1"/>
              <a:t>Please</a:t>
            </a:r>
            <a:r>
              <a:rPr lang="nb-NO" sz="1400" dirty="0"/>
              <a:t> note </a:t>
            </a:r>
            <a:r>
              <a:rPr lang="nb-NO" sz="1400" dirty="0" err="1"/>
              <a:t>that</a:t>
            </a:r>
            <a:r>
              <a:rPr lang="nb-NO" sz="1400" dirty="0"/>
              <a:t> by </a:t>
            </a:r>
            <a:r>
              <a:rPr lang="nb-NO" sz="1400" dirty="0" err="1"/>
              <a:t>doing</a:t>
            </a:r>
            <a:r>
              <a:rPr lang="nb-NO" sz="1400" dirty="0"/>
              <a:t> </a:t>
            </a:r>
            <a:r>
              <a:rPr lang="nb-NO" sz="1400" dirty="0" err="1"/>
              <a:t>this</a:t>
            </a:r>
            <a:r>
              <a:rPr lang="nb-NO" sz="1400" dirty="0"/>
              <a:t> </a:t>
            </a:r>
            <a:r>
              <a:rPr lang="nb-NO" sz="1400" dirty="0" err="1"/>
              <a:t>you</a:t>
            </a:r>
            <a:r>
              <a:rPr lang="nb-NO" sz="1400" dirty="0"/>
              <a:t> </a:t>
            </a:r>
            <a:r>
              <a:rPr lang="nb-NO" sz="1400" dirty="0" err="1"/>
              <a:t>might</a:t>
            </a:r>
            <a:r>
              <a:rPr lang="nb-NO" sz="1400" dirty="0"/>
              <a:t> have more time for </a:t>
            </a:r>
            <a:r>
              <a:rPr lang="nb-NO" sz="1400" dirty="0" err="1"/>
              <a:t>automation</a:t>
            </a:r>
            <a:r>
              <a:rPr lang="nb-NO" sz="1400" dirty="0"/>
              <a:t> during </a:t>
            </a:r>
            <a:r>
              <a:rPr lang="nb-NO" sz="1400" dirty="0" err="1"/>
              <a:t>the</a:t>
            </a:r>
            <a:r>
              <a:rPr lang="nb-NO" sz="1400" dirty="0"/>
              <a:t> </a:t>
            </a:r>
            <a:r>
              <a:rPr lang="nb-NO" sz="1400" dirty="0" err="1"/>
              <a:t>deep</a:t>
            </a:r>
            <a:r>
              <a:rPr lang="nb-NO" sz="1400" dirty="0"/>
              <a:t> </a:t>
            </a:r>
            <a:r>
              <a:rPr lang="nb-NO" sz="1400" dirty="0" err="1"/>
              <a:t>dive</a:t>
            </a:r>
            <a:r>
              <a:rPr lang="nb-NO" sz="1400" dirty="0"/>
              <a:t>, </a:t>
            </a:r>
            <a:r>
              <a:rPr lang="nb-NO" sz="1400" dirty="0" err="1"/>
              <a:t>but</a:t>
            </a:r>
            <a:r>
              <a:rPr lang="nb-NO" sz="1400" dirty="0"/>
              <a:t> </a:t>
            </a:r>
            <a:r>
              <a:rPr lang="nb-NO" sz="1400" dirty="0" err="1"/>
              <a:t>you</a:t>
            </a:r>
            <a:r>
              <a:rPr lang="nb-NO" sz="1400" dirty="0"/>
              <a:t> </a:t>
            </a:r>
            <a:r>
              <a:rPr lang="nb-NO" sz="1400" dirty="0" err="1"/>
              <a:t>will</a:t>
            </a:r>
            <a:r>
              <a:rPr lang="nb-NO" sz="1400" dirty="0"/>
              <a:t> be less </a:t>
            </a:r>
            <a:r>
              <a:rPr lang="nb-NO" sz="1400" dirty="0" err="1"/>
              <a:t>familiar</a:t>
            </a:r>
            <a:r>
              <a:rPr lang="nb-NO" sz="1400" dirty="0"/>
              <a:t> </a:t>
            </a:r>
            <a:r>
              <a:rPr lang="nb-NO" sz="1400" dirty="0" err="1"/>
              <a:t>with</a:t>
            </a:r>
            <a:r>
              <a:rPr lang="nb-NO" sz="1400" dirty="0"/>
              <a:t> </a:t>
            </a:r>
            <a:r>
              <a:rPr lang="nb-NO" sz="1400" dirty="0" err="1"/>
              <a:t>building</a:t>
            </a:r>
            <a:r>
              <a:rPr lang="nb-NO" sz="1400" dirty="0"/>
              <a:t> </a:t>
            </a:r>
            <a:r>
              <a:rPr lang="nb-NO" sz="1400" dirty="0" err="1"/>
              <a:t>the</a:t>
            </a:r>
            <a:r>
              <a:rPr lang="nb-NO" sz="1400" dirty="0"/>
              <a:t> </a:t>
            </a:r>
            <a:r>
              <a:rPr lang="nb-NO" sz="1400" dirty="0" err="1"/>
              <a:t>items</a:t>
            </a:r>
            <a:r>
              <a:rPr lang="nb-NO" sz="1400" dirty="0"/>
              <a:t> </a:t>
            </a:r>
            <a:r>
              <a:rPr lang="nb-NO" sz="1400" dirty="0" err="1"/>
              <a:t>yourself</a:t>
            </a:r>
            <a:r>
              <a:rPr lang="nb-NO" sz="1400" dirty="0"/>
              <a:t> </a:t>
            </a:r>
            <a:r>
              <a:rPr lang="nb-NO" sz="1400" dirty="0" err="1"/>
              <a:t>when</a:t>
            </a:r>
            <a:r>
              <a:rPr lang="nb-NO" sz="1400" dirty="0"/>
              <a:t> </a:t>
            </a:r>
            <a:r>
              <a:rPr lang="nb-NO" sz="1400" dirty="0" err="1"/>
              <a:t>you</a:t>
            </a:r>
            <a:r>
              <a:rPr lang="nb-NO" sz="1400" dirty="0"/>
              <a:t> </a:t>
            </a:r>
            <a:r>
              <a:rPr lang="nb-NO" sz="1400" dirty="0" err="1"/>
              <a:t>get</a:t>
            </a:r>
            <a:r>
              <a:rPr lang="nb-NO" sz="1400" dirty="0"/>
              <a:t> </a:t>
            </a:r>
            <a:r>
              <a:rPr lang="nb-NO" sz="1400" dirty="0" err="1"/>
              <a:t>home</a:t>
            </a:r>
            <a:r>
              <a:rPr lang="nb-NO" sz="1400" dirty="0"/>
              <a:t> or </a:t>
            </a:r>
            <a:r>
              <a:rPr lang="nb-NO" sz="1400" dirty="0" err="1"/>
              <a:t>need</a:t>
            </a:r>
            <a:r>
              <a:rPr lang="nb-NO" sz="1400" dirty="0"/>
              <a:t> it in </a:t>
            </a:r>
            <a:r>
              <a:rPr lang="nb-NO" sz="1400" dirty="0" err="1"/>
              <a:t>some</a:t>
            </a:r>
            <a:r>
              <a:rPr lang="nb-NO" sz="1400" dirty="0"/>
              <a:t> </a:t>
            </a:r>
            <a:r>
              <a:rPr lang="nb-NO" sz="1400" dirty="0" err="1"/>
              <a:t>other</a:t>
            </a:r>
            <a:r>
              <a:rPr lang="nb-NO" sz="1400" dirty="0"/>
              <a:t> </a:t>
            </a:r>
            <a:r>
              <a:rPr lang="nb-NO" sz="1400" dirty="0" err="1"/>
              <a:t>situation</a:t>
            </a:r>
            <a:r>
              <a:rPr lang="nb-NO" sz="1400" dirty="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sz="1800" dirty="0"/>
              <a:t>I only want the "automation" part, not the "building your own lab" par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I only want the "automation" part, not the "building your own lab" part</a:t>
            </a:r>
          </a:p>
        </p:txBody>
      </p:sp>
    </p:spTree>
    <p:extLst>
      <p:ext uri="{BB962C8B-B14F-4D97-AF65-F5344CB8AC3E}">
        <p14:creationId xmlns:p14="http://schemas.microsoft.com/office/powerpoint/2010/main" val="45152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0</a:t>
            </a:fld>
            <a:endParaRPr lang="en-GB"/>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3" name="The distance between the headline and the start of the body copy is always constant.…">
            <a:extLst>
              <a:ext uri="{FF2B5EF4-FFF2-40B4-BE49-F238E27FC236}">
                <a16:creationId xmlns:a16="http://schemas.microsoft.com/office/drawing/2014/main" id="{E7DC11FC-43DD-52DB-D6B6-8B8797418FC3}"/>
              </a:ext>
            </a:extLst>
          </p:cNvPr>
          <p:cNvSpPr txBox="1">
            <a:spLocks/>
          </p:cNvSpPr>
          <p:nvPr/>
        </p:nvSpPr>
        <p:spPr bwMode="gray">
          <a:xfrm>
            <a:off x="540000" y="965960"/>
            <a:ext cx="5918673" cy="528184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en-US" sz="1600"/>
              <a:t>Create a new variable</a:t>
            </a:r>
          </a:p>
          <a:p>
            <a:pPr>
              <a:lnSpc>
                <a:spcPct val="110000"/>
              </a:lnSpc>
            </a:pPr>
            <a:r>
              <a:rPr lang="en-US" sz="1600"/>
              <a:t>Name: </a:t>
            </a:r>
            <a:r>
              <a:rPr lang="en-US" sz="1600" err="1"/>
              <a:t>APMac</a:t>
            </a:r>
            <a:endParaRPr lang="en-US" sz="1600"/>
          </a:p>
          <a:p>
            <a:pPr>
              <a:lnSpc>
                <a:spcPct val="110000"/>
              </a:lnSpc>
            </a:pPr>
            <a:r>
              <a:rPr lang="en-US" sz="1600"/>
              <a:t>Show on dashboard: Nothing</a:t>
            </a:r>
          </a:p>
          <a:p>
            <a:pPr>
              <a:lnSpc>
                <a:spcPct val="110000"/>
              </a:lnSpc>
            </a:pPr>
            <a:r>
              <a:rPr lang="en-US" sz="1600"/>
              <a:t>Query: </a:t>
            </a:r>
          </a:p>
          <a:p>
            <a:pPr>
              <a:lnSpc>
                <a:spcPct val="110000"/>
              </a:lnSpc>
            </a:pPr>
            <a:endParaRPr lang="en-US" sz="1600"/>
          </a:p>
          <a:p>
            <a:pPr>
              <a:lnSpc>
                <a:spcPct val="110000"/>
              </a:lnSpc>
            </a:pPr>
            <a:endParaRPr lang="en-US" sz="1600"/>
          </a:p>
          <a:p>
            <a:pPr>
              <a:lnSpc>
                <a:spcPct val="110000"/>
              </a:lnSpc>
            </a:pPr>
            <a:r>
              <a:rPr lang="en-US" sz="1600"/>
              <a:t>Check if it is working with Run query</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r>
              <a:rPr lang="en-US" sz="1600"/>
              <a:t>Press Apply</a:t>
            </a:r>
          </a:p>
          <a:p>
            <a:pPr>
              <a:lnSpc>
                <a:spcPct val="110000"/>
              </a:lnSpc>
            </a:pPr>
            <a:r>
              <a:rPr lang="en-US" sz="1600"/>
              <a:t>Then save your dashboard</a:t>
            </a:r>
          </a:p>
          <a:p>
            <a:pPr marL="0" indent="0">
              <a:lnSpc>
                <a:spcPct val="110000"/>
              </a:lnSpc>
              <a:buNone/>
            </a:pPr>
            <a:endParaRPr lang="en-US" sz="1600"/>
          </a:p>
          <a:p>
            <a:pPr>
              <a:lnSpc>
                <a:spcPct val="110000"/>
              </a:lnSpc>
            </a:pPr>
            <a:endParaRPr lang="en-US" sz="1600"/>
          </a:p>
          <a:p>
            <a:pPr>
              <a:lnSpc>
                <a:spcPct val="110000"/>
              </a:lnSpc>
            </a:pPr>
            <a:endParaRPr lang="en-US" sz="1600"/>
          </a:p>
          <a:p>
            <a:pPr marL="0" indent="0">
              <a:lnSpc>
                <a:spcPct val="110000"/>
              </a:lnSpc>
              <a:buFont typeface="Arial" panose="020B0604020202020204" pitchFamily="34" charset="0"/>
              <a:buNone/>
            </a:pPr>
            <a:endParaRPr lang="en-US" sz="1600"/>
          </a:p>
        </p:txBody>
      </p:sp>
      <p:pic>
        <p:nvPicPr>
          <p:cNvPr id="6" name="Picture 5">
            <a:extLst>
              <a:ext uri="{FF2B5EF4-FFF2-40B4-BE49-F238E27FC236}">
                <a16:creationId xmlns:a16="http://schemas.microsoft.com/office/drawing/2014/main" id="{55A930C3-619B-375C-E2E4-326BBF25901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522988" y="486445"/>
            <a:ext cx="4172529" cy="5413431"/>
          </a:xfrm>
          <a:prstGeom prst="rect">
            <a:avLst/>
          </a:prstGeom>
        </p:spPr>
      </p:pic>
      <p:sp>
        <p:nvSpPr>
          <p:cNvPr id="11" name="Text+Image 50:50">
            <a:extLst>
              <a:ext uri="{FF2B5EF4-FFF2-40B4-BE49-F238E27FC236}">
                <a16:creationId xmlns:a16="http://schemas.microsoft.com/office/drawing/2014/main" id="{E985A7EE-6BE6-18D2-953E-6E69AAD5583E}"/>
              </a:ext>
            </a:extLst>
          </p:cNvPr>
          <p:cNvSpPr txBox="1">
            <a:spLocks noGrp="1"/>
          </p:cNvSpPr>
          <p:nvPr>
            <p:ph type="title"/>
          </p:nvPr>
        </p:nvSpPr>
        <p:spPr>
          <a:xfrm>
            <a:off x="540000" y="432000"/>
            <a:ext cx="11109600" cy="540000"/>
          </a:xfrm>
        </p:spPr>
        <p:txBody>
          <a:bodyPr anchor="ctr">
            <a:normAutofit/>
          </a:bodyPr>
          <a:lstStyle/>
          <a:p>
            <a:r>
              <a:rPr lang="en-GB"/>
              <a:t>Grafana</a:t>
            </a:r>
          </a:p>
        </p:txBody>
      </p:sp>
      <p:sp>
        <p:nvSpPr>
          <p:cNvPr id="16" name="Rectangle 15">
            <a:extLst>
              <a:ext uri="{FF2B5EF4-FFF2-40B4-BE49-F238E27FC236}">
                <a16:creationId xmlns:a16="http://schemas.microsoft.com/office/drawing/2014/main" id="{3CF5A11D-A18D-D541-3D69-416F56E08366}"/>
              </a:ext>
            </a:extLst>
          </p:cNvPr>
          <p:cNvSpPr/>
          <p:nvPr/>
        </p:nvSpPr>
        <p:spPr>
          <a:xfrm>
            <a:off x="8775778" y="5489114"/>
            <a:ext cx="2957208"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cxnSp>
        <p:nvCxnSpPr>
          <p:cNvPr id="17" name="Straight Arrow Connector 16">
            <a:extLst>
              <a:ext uri="{FF2B5EF4-FFF2-40B4-BE49-F238E27FC236}">
                <a16:creationId xmlns:a16="http://schemas.microsoft.com/office/drawing/2014/main" id="{F7A38130-1272-2BA2-95D0-4FDD8941A540}"/>
              </a:ext>
            </a:extLst>
          </p:cNvPr>
          <p:cNvCxnSpPr>
            <a:cxnSpLocks/>
          </p:cNvCxnSpPr>
          <p:nvPr/>
        </p:nvCxnSpPr>
        <p:spPr>
          <a:xfrm>
            <a:off x="5732088" y="3312868"/>
            <a:ext cx="3043690" cy="21762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9" name="Rectangle 18">
            <a:extLst>
              <a:ext uri="{FF2B5EF4-FFF2-40B4-BE49-F238E27FC236}">
                <a16:creationId xmlns:a16="http://schemas.microsoft.com/office/drawing/2014/main" id="{667ACCD9-6D8F-2EF9-AAD2-86FA4E219ACB}"/>
              </a:ext>
            </a:extLst>
          </p:cNvPr>
          <p:cNvSpPr/>
          <p:nvPr/>
        </p:nvSpPr>
        <p:spPr>
          <a:xfrm>
            <a:off x="9148932" y="4007604"/>
            <a:ext cx="814895"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cxnSp>
        <p:nvCxnSpPr>
          <p:cNvPr id="21" name="Straight Arrow Connector 20">
            <a:extLst>
              <a:ext uri="{FF2B5EF4-FFF2-40B4-BE49-F238E27FC236}">
                <a16:creationId xmlns:a16="http://schemas.microsoft.com/office/drawing/2014/main" id="{DC96FF66-8E8B-BDFE-C6CB-34FB0B93CBB1}"/>
              </a:ext>
            </a:extLst>
          </p:cNvPr>
          <p:cNvCxnSpPr>
            <a:cxnSpLocks/>
          </p:cNvCxnSpPr>
          <p:nvPr/>
        </p:nvCxnSpPr>
        <p:spPr>
          <a:xfrm>
            <a:off x="3975635" y="2093924"/>
            <a:ext cx="5012088" cy="191368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Box 4">
            <a:extLst>
              <a:ext uri="{FF2B5EF4-FFF2-40B4-BE49-F238E27FC236}">
                <a16:creationId xmlns:a16="http://schemas.microsoft.com/office/drawing/2014/main" id="{CBD3C767-516A-EB3B-B821-C64F6FCC24FD}"/>
              </a:ext>
            </a:extLst>
          </p:cNvPr>
          <p:cNvSpPr txBox="1"/>
          <p:nvPr/>
        </p:nvSpPr>
        <p:spPr>
          <a:xfrm>
            <a:off x="720000" y="2734950"/>
            <a:ext cx="5012088" cy="553998"/>
          </a:xfrm>
          <a:prstGeom prst="rect">
            <a:avLst/>
          </a:prstGeom>
          <a:noFill/>
          <a:ln>
            <a:solidFill>
              <a:schemeClr val="tx1"/>
            </a:solidFill>
          </a:ln>
        </p:spPr>
        <p:txBody>
          <a:bodyPr wrap="square">
            <a:spAutoFit/>
          </a:bodyPr>
          <a:lstStyle/>
          <a:p>
            <a:r>
              <a:rPr lang="en-US" sz="1000">
                <a:latin typeface="Consolas" panose="020B0609020204030204" pitchFamily="49" charset="0"/>
              </a:rPr>
              <a:t>SELECT distinct("</a:t>
            </a:r>
            <a:r>
              <a:rPr lang="en-US" sz="1000" err="1">
                <a:latin typeface="Consolas" panose="020B0609020204030204" pitchFamily="49" charset="0"/>
              </a:rPr>
              <a:t>wtp_mac</a:t>
            </a:r>
            <a:r>
              <a:rPr lang="en-US" sz="1000">
                <a:latin typeface="Consolas" panose="020B0609020204030204" pitchFamily="49" charset="0"/>
              </a:rPr>
              <a:t>") FROM "</a:t>
            </a:r>
            <a:r>
              <a:rPr lang="en-US" sz="1000" err="1">
                <a:latin typeface="Consolas" panose="020B0609020204030204" pitchFamily="49" charset="0"/>
              </a:rPr>
              <a:t>Cisco-IOS-XE-wireless-access-point-oper:access-point-oper-data</a:t>
            </a:r>
            <a:r>
              <a:rPr lang="en-US" sz="1000">
                <a:latin typeface="Consolas" panose="020B0609020204030204" pitchFamily="49" charset="0"/>
              </a:rPr>
              <a:t>/ap-name-mac-map" WHERE ("</a:t>
            </a:r>
            <a:r>
              <a:rPr lang="en-US" sz="1000" err="1">
                <a:latin typeface="Consolas" panose="020B0609020204030204" pitchFamily="49" charset="0"/>
              </a:rPr>
              <a:t>wtp_name</a:t>
            </a:r>
            <a:r>
              <a:rPr lang="en-US" sz="1000">
                <a:latin typeface="Consolas" panose="020B0609020204030204" pitchFamily="49" charset="0"/>
              </a:rPr>
              <a:t>" =~ /^$</a:t>
            </a:r>
            <a:r>
              <a:rPr lang="en-US" sz="1000" err="1">
                <a:latin typeface="Consolas" panose="020B0609020204030204" pitchFamily="49" charset="0"/>
              </a:rPr>
              <a:t>APName</a:t>
            </a:r>
            <a:r>
              <a:rPr lang="en-US" sz="1000">
                <a:latin typeface="Consolas" panose="020B0609020204030204" pitchFamily="49" charset="0"/>
              </a:rPr>
              <a:t>$/)</a:t>
            </a:r>
          </a:p>
        </p:txBody>
      </p:sp>
      <p:cxnSp>
        <p:nvCxnSpPr>
          <p:cNvPr id="12" name="Straight Arrow Connector 11">
            <a:extLst>
              <a:ext uri="{FF2B5EF4-FFF2-40B4-BE49-F238E27FC236}">
                <a16:creationId xmlns:a16="http://schemas.microsoft.com/office/drawing/2014/main" id="{D66F8EAB-F618-1072-CC31-B08CC006B9B8}"/>
              </a:ext>
            </a:extLst>
          </p:cNvPr>
          <p:cNvCxnSpPr>
            <a:cxnSpLocks/>
          </p:cNvCxnSpPr>
          <p:nvPr/>
        </p:nvCxnSpPr>
        <p:spPr>
          <a:xfrm>
            <a:off x="2303828" y="1714563"/>
            <a:ext cx="4277391" cy="52675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a:extLst>
              <a:ext uri="{FF2B5EF4-FFF2-40B4-BE49-F238E27FC236}">
                <a16:creationId xmlns:a16="http://schemas.microsoft.com/office/drawing/2014/main" id="{859DE796-4ABB-7E67-9020-C84B5F584D5F}"/>
              </a:ext>
            </a:extLst>
          </p:cNvPr>
          <p:cNvPicPr>
            <a:picLocks noChangeAspect="1"/>
          </p:cNvPicPr>
          <p:nvPr/>
        </p:nvPicPr>
        <p:blipFill>
          <a:blip r:embed="rId4"/>
          <a:stretch>
            <a:fillRect/>
          </a:stretch>
        </p:blipFill>
        <p:spPr>
          <a:xfrm>
            <a:off x="794641" y="3916989"/>
            <a:ext cx="2762636" cy="1133633"/>
          </a:xfrm>
          <a:prstGeom prst="rect">
            <a:avLst/>
          </a:prstGeom>
        </p:spPr>
      </p:pic>
      <p:cxnSp>
        <p:nvCxnSpPr>
          <p:cNvPr id="20" name="Straight Arrow Connector 19">
            <a:extLst>
              <a:ext uri="{FF2B5EF4-FFF2-40B4-BE49-F238E27FC236}">
                <a16:creationId xmlns:a16="http://schemas.microsoft.com/office/drawing/2014/main" id="{11D26612-022C-5F34-5CA8-F0667D633266}"/>
              </a:ext>
            </a:extLst>
          </p:cNvPr>
          <p:cNvCxnSpPr>
            <a:cxnSpLocks/>
          </p:cNvCxnSpPr>
          <p:nvPr/>
        </p:nvCxnSpPr>
        <p:spPr>
          <a:xfrm flipH="1">
            <a:off x="2458513" y="3822908"/>
            <a:ext cx="1498331" cy="7679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5" name="Picture 24">
            <a:extLst>
              <a:ext uri="{FF2B5EF4-FFF2-40B4-BE49-F238E27FC236}">
                <a16:creationId xmlns:a16="http://schemas.microsoft.com/office/drawing/2014/main" id="{210CFA18-17D6-3768-7221-0702DBE04BDC}"/>
              </a:ext>
            </a:extLst>
          </p:cNvPr>
          <p:cNvPicPr>
            <a:picLocks noChangeAspect="1"/>
          </p:cNvPicPr>
          <p:nvPr/>
        </p:nvPicPr>
        <p:blipFill>
          <a:blip r:embed="rId5"/>
          <a:stretch>
            <a:fillRect/>
          </a:stretch>
        </p:blipFill>
        <p:spPr>
          <a:xfrm>
            <a:off x="3769033" y="5489114"/>
            <a:ext cx="3048425" cy="342948"/>
          </a:xfrm>
          <a:prstGeom prst="rect">
            <a:avLst/>
          </a:prstGeom>
        </p:spPr>
      </p:pic>
      <p:cxnSp>
        <p:nvCxnSpPr>
          <p:cNvPr id="28" name="Straight Arrow Connector 27">
            <a:extLst>
              <a:ext uri="{FF2B5EF4-FFF2-40B4-BE49-F238E27FC236}">
                <a16:creationId xmlns:a16="http://schemas.microsoft.com/office/drawing/2014/main" id="{7E7061BE-9F18-834C-DB3C-36CC1EC43946}"/>
              </a:ext>
            </a:extLst>
          </p:cNvPr>
          <p:cNvCxnSpPr>
            <a:cxnSpLocks/>
          </p:cNvCxnSpPr>
          <p:nvPr/>
        </p:nvCxnSpPr>
        <p:spPr>
          <a:xfrm>
            <a:off x="3616682" y="5600306"/>
            <a:ext cx="1426658"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7" name="Picture 6" descr="A blue logo with a black background&#10;&#10;Description automatically generated">
            <a:extLst>
              <a:ext uri="{FF2B5EF4-FFF2-40B4-BE49-F238E27FC236}">
                <a16:creationId xmlns:a16="http://schemas.microsoft.com/office/drawing/2014/main" id="{3B771537-C29D-385A-348D-8D38C89D0A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04734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Go back to </a:t>
            </a:r>
            <a:r>
              <a:rPr lang="nb-NO" sz="1600" dirty="0" err="1"/>
              <a:t>the</a:t>
            </a:r>
            <a:r>
              <a:rPr lang="nb-NO" sz="1600" dirty="0"/>
              <a:t> Dashboard </a:t>
            </a:r>
            <a:r>
              <a:rPr lang="nb-NO" sz="1600" dirty="0" err="1"/>
              <a:t>main</a:t>
            </a:r>
            <a:r>
              <a:rPr lang="nb-NO" sz="1600" dirty="0"/>
              <a:t> </a:t>
            </a:r>
            <a:r>
              <a:rPr lang="nb-NO" sz="1600" dirty="0" err="1"/>
              <a:t>page</a:t>
            </a:r>
            <a:endParaRPr lang="nb-NO" sz="1600" dirty="0"/>
          </a:p>
          <a:p>
            <a:pPr>
              <a:lnSpc>
                <a:spcPct val="110000"/>
              </a:lnSpc>
            </a:pPr>
            <a:r>
              <a:rPr lang="nb-NO" sz="1600" dirty="0" err="1"/>
              <a:t>Add</a:t>
            </a:r>
            <a:r>
              <a:rPr lang="nb-NO" sz="1600" dirty="0"/>
              <a:t> </a:t>
            </a:r>
            <a:r>
              <a:rPr lang="nb-NO" sz="1600" dirty="0" err="1"/>
              <a:t>visualization</a:t>
            </a:r>
            <a:r>
              <a:rPr lang="nb-NO" sz="1600" dirty="0"/>
              <a:t> and make </a:t>
            </a:r>
            <a:r>
              <a:rPr lang="nb-NO" sz="1600" dirty="0" err="1"/>
              <a:t>one</a:t>
            </a:r>
            <a:r>
              <a:rPr lang="nb-NO" sz="1600" dirty="0"/>
              <a:t> </a:t>
            </a:r>
            <a:r>
              <a:rPr lang="nb-NO" sz="1600" dirty="0" err="1"/>
              <a:t>using</a:t>
            </a:r>
            <a:r>
              <a:rPr lang="nb-NO" sz="1600" dirty="0"/>
              <a:t> time series</a:t>
            </a:r>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Time series" is </a:t>
            </a:r>
            <a:r>
              <a:rPr lang="nb-NO" sz="1600" dirty="0" err="1"/>
              <a:t>automatically</a:t>
            </a:r>
            <a:r>
              <a:rPr lang="nb-NO" sz="1600" dirty="0"/>
              <a:t> </a:t>
            </a:r>
            <a:r>
              <a:rPr lang="nb-NO" sz="1600" dirty="0" err="1"/>
              <a:t>selected</a:t>
            </a:r>
            <a:r>
              <a:rPr lang="nb-NO" sz="1600" dirty="0"/>
              <a:t>. If not, </a:t>
            </a:r>
            <a:r>
              <a:rPr lang="nb-NO" sz="1600" dirty="0" err="1"/>
              <a:t>select</a:t>
            </a:r>
            <a:r>
              <a:rPr lang="nb-NO" sz="1600" dirty="0"/>
              <a:t> it </a:t>
            </a:r>
            <a:r>
              <a:rPr lang="nb-NO" sz="1600" dirty="0" err="1"/>
              <a:t>here</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9" name="Picture 8">
            <a:extLst>
              <a:ext uri="{FF2B5EF4-FFF2-40B4-BE49-F238E27FC236}">
                <a16:creationId xmlns:a16="http://schemas.microsoft.com/office/drawing/2014/main" id="{2AFB3CF7-8CC8-AEDE-D932-089CAF50399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02497" y="2466197"/>
            <a:ext cx="2343340" cy="1331236"/>
          </a:xfrm>
          <a:prstGeom prst="rect">
            <a:avLst/>
          </a:prstGeom>
        </p:spPr>
      </p:pic>
      <p:pic>
        <p:nvPicPr>
          <p:cNvPr id="8" name="Picture 7">
            <a:extLst>
              <a:ext uri="{FF2B5EF4-FFF2-40B4-BE49-F238E27FC236}">
                <a16:creationId xmlns:a16="http://schemas.microsoft.com/office/drawing/2014/main" id="{C9756BB1-EA01-BF90-D1D0-D66883B609B1}"/>
              </a:ext>
            </a:extLst>
          </p:cNvPr>
          <p:cNvPicPr>
            <a:picLocks noChangeAspect="1"/>
          </p:cNvPicPr>
          <p:nvPr/>
        </p:nvPicPr>
        <p:blipFill>
          <a:blip r:embed="rId4"/>
          <a:stretch>
            <a:fillRect/>
          </a:stretch>
        </p:blipFill>
        <p:spPr>
          <a:xfrm>
            <a:off x="5932929" y="645320"/>
            <a:ext cx="5919315" cy="1331236"/>
          </a:xfrm>
          <a:prstGeom prst="rect">
            <a:avLst/>
          </a:prstGeom>
        </p:spPr>
      </p:pic>
      <p:cxnSp>
        <p:nvCxnSpPr>
          <p:cNvPr id="10" name="Straight Arrow Connector 9">
            <a:extLst>
              <a:ext uri="{FF2B5EF4-FFF2-40B4-BE49-F238E27FC236}">
                <a16:creationId xmlns:a16="http://schemas.microsoft.com/office/drawing/2014/main" id="{558F10CB-573A-6033-DC5E-A7F1CFD95D94}"/>
              </a:ext>
            </a:extLst>
          </p:cNvPr>
          <p:cNvCxnSpPr>
            <a:cxnSpLocks/>
          </p:cNvCxnSpPr>
          <p:nvPr/>
        </p:nvCxnSpPr>
        <p:spPr>
          <a:xfrm flipV="1">
            <a:off x="4698790" y="702000"/>
            <a:ext cx="6883610" cy="59668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5" name="Picture 4">
            <a:extLst>
              <a:ext uri="{FF2B5EF4-FFF2-40B4-BE49-F238E27FC236}">
                <a16:creationId xmlns:a16="http://schemas.microsoft.com/office/drawing/2014/main" id="{A3FD7BF0-B84D-0402-A8D6-36A2E75BCFA4}"/>
              </a:ext>
            </a:extLst>
          </p:cNvPr>
          <p:cNvPicPr>
            <a:picLocks noChangeAspect="1"/>
          </p:cNvPicPr>
          <p:nvPr/>
        </p:nvPicPr>
        <p:blipFill>
          <a:blip r:embed="rId5"/>
          <a:stretch>
            <a:fillRect/>
          </a:stretch>
        </p:blipFill>
        <p:spPr>
          <a:xfrm>
            <a:off x="802497" y="1842497"/>
            <a:ext cx="2038635" cy="476316"/>
          </a:xfrm>
          <a:prstGeom prst="rect">
            <a:avLst/>
          </a:prstGeom>
        </p:spPr>
      </p:pic>
      <p:cxnSp>
        <p:nvCxnSpPr>
          <p:cNvPr id="14" name="Straight Arrow Connector 13">
            <a:extLst>
              <a:ext uri="{FF2B5EF4-FFF2-40B4-BE49-F238E27FC236}">
                <a16:creationId xmlns:a16="http://schemas.microsoft.com/office/drawing/2014/main" id="{23AE2A3D-3022-521B-4F31-CCB3AE6149F6}"/>
              </a:ext>
            </a:extLst>
          </p:cNvPr>
          <p:cNvCxnSpPr>
            <a:cxnSpLocks/>
          </p:cNvCxnSpPr>
          <p:nvPr/>
        </p:nvCxnSpPr>
        <p:spPr>
          <a:xfrm>
            <a:off x="1631335" y="2257700"/>
            <a:ext cx="78802" cy="11713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E518E512-C972-447A-8D36-BBFE0F0DAA34}"/>
              </a:ext>
            </a:extLst>
          </p:cNvPr>
          <p:cNvPicPr>
            <a:picLocks noChangeAspect="1"/>
          </p:cNvPicPr>
          <p:nvPr/>
        </p:nvPicPr>
        <p:blipFill>
          <a:blip r:embed="rId6"/>
          <a:stretch>
            <a:fillRect/>
          </a:stretch>
        </p:blipFill>
        <p:spPr>
          <a:xfrm>
            <a:off x="802497" y="4287074"/>
            <a:ext cx="9896926" cy="1351775"/>
          </a:xfrm>
          <a:prstGeom prst="rect">
            <a:avLst/>
          </a:prstGeom>
        </p:spPr>
      </p:pic>
      <p:cxnSp>
        <p:nvCxnSpPr>
          <p:cNvPr id="16" name="Straight Arrow Connector 15">
            <a:extLst>
              <a:ext uri="{FF2B5EF4-FFF2-40B4-BE49-F238E27FC236}">
                <a16:creationId xmlns:a16="http://schemas.microsoft.com/office/drawing/2014/main" id="{3C3E1AA4-B871-99E2-3422-ABAD3E1D23AB}"/>
              </a:ext>
            </a:extLst>
          </p:cNvPr>
          <p:cNvCxnSpPr>
            <a:cxnSpLocks/>
          </p:cNvCxnSpPr>
          <p:nvPr/>
        </p:nvCxnSpPr>
        <p:spPr>
          <a:xfrm>
            <a:off x="6994518" y="4084173"/>
            <a:ext cx="2831875" cy="99399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7" name="Rectangle 16">
            <a:extLst>
              <a:ext uri="{FF2B5EF4-FFF2-40B4-BE49-F238E27FC236}">
                <a16:creationId xmlns:a16="http://schemas.microsoft.com/office/drawing/2014/main" id="{002EE65A-6E1F-1E14-FBAE-C1BA20630C8B}"/>
              </a:ext>
            </a:extLst>
          </p:cNvPr>
          <p:cNvSpPr/>
          <p:nvPr/>
        </p:nvSpPr>
        <p:spPr>
          <a:xfrm>
            <a:off x="6603982" y="5255818"/>
            <a:ext cx="2178168" cy="398554"/>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pic>
        <p:nvPicPr>
          <p:cNvPr id="4" name="Picture 3" descr="A blue logo with a black background&#10;&#10;Description automatically generated">
            <a:extLst>
              <a:ext uri="{FF2B5EF4-FFF2-40B4-BE49-F238E27FC236}">
                <a16:creationId xmlns:a16="http://schemas.microsoft.com/office/drawing/2014/main" id="{C8E69A2B-7AA1-8E9C-A515-5A9A4FFE0D6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64084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e</a:t>
            </a:r>
            <a:r>
              <a:rPr lang="nb-NO" sz="1600"/>
              <a:t> </a:t>
            </a:r>
            <a:r>
              <a:rPr lang="nb-NO" sz="1600" err="1"/>
              <a:t>lower</a:t>
            </a:r>
            <a:r>
              <a:rPr lang="nb-NO" sz="1600"/>
              <a:t> part </a:t>
            </a:r>
            <a:r>
              <a:rPr lang="nb-NO" sz="1600" err="1"/>
              <a:t>of</a:t>
            </a:r>
            <a:r>
              <a:rPr lang="nb-NO" sz="1600"/>
              <a:t> </a:t>
            </a:r>
            <a:r>
              <a:rPr lang="nb-NO" sz="1600" err="1"/>
              <a:t>the</a:t>
            </a:r>
            <a:r>
              <a:rPr lang="nb-NO" sz="1600"/>
              <a:t> screen, </a:t>
            </a:r>
            <a:r>
              <a:rPr lang="nb-NO" sz="1600" err="1"/>
              <a:t>edit</a:t>
            </a:r>
            <a:r>
              <a:rPr lang="nb-NO" sz="1600"/>
              <a:t> </a:t>
            </a:r>
            <a:r>
              <a:rPr lang="nb-NO" sz="1600" err="1"/>
              <a:t>the</a:t>
            </a:r>
            <a:r>
              <a:rPr lang="nb-NO" sz="1600"/>
              <a:t> </a:t>
            </a:r>
            <a:r>
              <a:rPr lang="nb-NO" sz="1600" err="1"/>
              <a:t>query</a:t>
            </a:r>
            <a:endParaRPr lang="nb-NO" sz="16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r>
              <a:rPr lang="nb-NO" sz="1600" err="1"/>
              <a:t>Click</a:t>
            </a:r>
            <a:r>
              <a:rPr lang="nb-NO" sz="1600"/>
              <a:t> "</a:t>
            </a:r>
            <a:r>
              <a:rPr lang="nb-NO" sz="1600" err="1"/>
              <a:t>select</a:t>
            </a:r>
            <a:r>
              <a:rPr lang="nb-NO" sz="1600"/>
              <a:t> </a:t>
            </a:r>
            <a:r>
              <a:rPr lang="nb-NO" sz="1600" err="1"/>
              <a:t>measurement</a:t>
            </a:r>
            <a:r>
              <a:rPr lang="nb-NO" sz="1600"/>
              <a:t>", </a:t>
            </a:r>
            <a:r>
              <a:rPr lang="nb-NO" sz="1600" err="1"/>
              <a:t>you</a:t>
            </a:r>
            <a:r>
              <a:rPr lang="nb-NO" sz="1600"/>
              <a:t> </a:t>
            </a:r>
            <a:r>
              <a:rPr lang="nb-NO" sz="1600" err="1"/>
              <a:t>will</a:t>
            </a:r>
            <a:r>
              <a:rPr lang="nb-NO" sz="1600"/>
              <a:t> </a:t>
            </a:r>
            <a:r>
              <a:rPr lang="nb-NO" sz="1600" err="1"/>
              <a:t>get</a:t>
            </a:r>
            <a:r>
              <a:rPr lang="nb-NO" sz="1600"/>
              <a:t> a </a:t>
            </a:r>
            <a:r>
              <a:rPr lang="nb-NO" sz="1600" err="1"/>
              <a:t>menu</a:t>
            </a:r>
            <a:r>
              <a:rPr lang="nb-NO" sz="1600"/>
              <a:t> </a:t>
            </a:r>
            <a:r>
              <a:rPr lang="nb-NO" sz="1600" err="1"/>
              <a:t>of</a:t>
            </a:r>
            <a:r>
              <a:rPr lang="nb-NO" sz="1600"/>
              <a:t> all </a:t>
            </a:r>
            <a:r>
              <a:rPr lang="nb-NO" sz="1600" err="1"/>
              <a:t>measurements</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Choose</a:t>
            </a:r>
            <a:r>
              <a:rPr lang="nb-NO" sz="1600"/>
              <a:t> </a:t>
            </a:r>
            <a:r>
              <a:rPr lang="nb-NO" sz="1600" err="1"/>
              <a:t>the</a:t>
            </a:r>
            <a:r>
              <a:rPr lang="nb-NO" sz="1600"/>
              <a:t> </a:t>
            </a:r>
            <a:r>
              <a:rPr lang="nb-NO" sz="1600" i="1" err="1"/>
              <a:t>Cisco-IOS-XE-wireless-rrm-oper:rrm-oper-data</a:t>
            </a:r>
            <a:r>
              <a:rPr lang="nb-NO" sz="1600" i="1"/>
              <a:t>/</a:t>
            </a:r>
            <a:r>
              <a:rPr lang="nb-NO" sz="1600" i="1" err="1"/>
              <a:t>rrm-measurement</a:t>
            </a:r>
            <a:r>
              <a:rPr lang="nb-NO" sz="1600" i="1"/>
              <a:t>/</a:t>
            </a:r>
            <a:r>
              <a:rPr lang="nb-NO" sz="1600" i="1" err="1"/>
              <a:t>load</a:t>
            </a:r>
            <a:endParaRPr lang="nb-NO" sz="1600" i="1"/>
          </a:p>
          <a:p>
            <a:pPr>
              <a:lnSpc>
                <a:spcPct val="110000"/>
              </a:lnSpc>
            </a:pPr>
            <a:r>
              <a:rPr lang="nb-NO" sz="1600" b="1"/>
              <a:t>(</a:t>
            </a:r>
            <a:r>
              <a:rPr lang="nb-NO" sz="1600" b="1" err="1"/>
              <a:t>Optional</a:t>
            </a:r>
            <a:r>
              <a:rPr lang="nb-NO" sz="1600" b="1"/>
              <a:t>) </a:t>
            </a:r>
            <a:r>
              <a:rPr lang="nb-NO" sz="1600" err="1"/>
              <a:t>You</a:t>
            </a:r>
            <a:r>
              <a:rPr lang="nb-NO" sz="1600"/>
              <a:t> </a:t>
            </a:r>
            <a:r>
              <a:rPr lang="nb-NO" sz="1600" err="1"/>
              <a:t>can</a:t>
            </a:r>
            <a:r>
              <a:rPr lang="nb-NO" sz="1600"/>
              <a:t> </a:t>
            </a:r>
            <a:r>
              <a:rPr lang="nb-NO" sz="1600" err="1"/>
              <a:t>enter</a:t>
            </a:r>
            <a:r>
              <a:rPr lang="nb-NO" sz="1600"/>
              <a:t> </a:t>
            </a:r>
            <a:r>
              <a:rPr lang="nb-NO" sz="1600" err="1"/>
              <a:t>YANG</a:t>
            </a:r>
            <a:r>
              <a:rPr lang="nb-NO" sz="1600"/>
              <a:t> Suite, </a:t>
            </a:r>
            <a:r>
              <a:rPr lang="nb-NO" sz="1600" err="1"/>
              <a:t>find</a:t>
            </a:r>
            <a:r>
              <a:rPr lang="nb-NO" sz="1600"/>
              <a:t> </a:t>
            </a:r>
            <a:r>
              <a:rPr lang="nb-NO" sz="1600" err="1"/>
              <a:t>the</a:t>
            </a:r>
            <a:r>
              <a:rPr lang="nb-NO" sz="1600"/>
              <a:t> Cisco-IOS-</a:t>
            </a:r>
            <a:r>
              <a:rPr lang="nb-NO" sz="1600" err="1"/>
              <a:t>XE</a:t>
            </a:r>
            <a:r>
              <a:rPr lang="nb-NO" sz="1600"/>
              <a:t>-</a:t>
            </a:r>
            <a:r>
              <a:rPr lang="nb-NO" sz="1600" err="1"/>
              <a:t>wireless-rrm-oper</a:t>
            </a:r>
            <a:r>
              <a:rPr lang="nb-NO" sz="1600"/>
              <a:t> </a:t>
            </a:r>
            <a:r>
              <a:rPr lang="nb-NO" sz="1600" err="1"/>
              <a:t>module</a:t>
            </a:r>
            <a:r>
              <a:rPr lang="nb-NO" sz="1600"/>
              <a:t> and </a:t>
            </a:r>
            <a:r>
              <a:rPr lang="nb-NO" sz="1600" err="1"/>
              <a:t>explore</a:t>
            </a:r>
            <a:r>
              <a:rPr lang="nb-NO" sz="1600"/>
              <a:t> </a:t>
            </a:r>
            <a:r>
              <a:rPr lang="nb-NO" sz="1600" err="1"/>
              <a:t>which</a:t>
            </a:r>
            <a:r>
              <a:rPr lang="nb-NO" sz="1600"/>
              <a:t> </a:t>
            </a:r>
            <a:r>
              <a:rPr lang="nb-NO" sz="1600" err="1"/>
              <a:t>values</a:t>
            </a:r>
            <a:r>
              <a:rPr lang="nb-NO" sz="1600"/>
              <a:t> </a:t>
            </a:r>
            <a:r>
              <a:rPr lang="nb-NO" sz="1600" err="1"/>
              <a:t>you</a:t>
            </a:r>
            <a:r>
              <a:rPr lang="nb-NO" sz="1600"/>
              <a:t> </a:t>
            </a:r>
            <a:r>
              <a:rPr lang="nb-NO" sz="1600" err="1"/>
              <a:t>could</a:t>
            </a:r>
            <a:r>
              <a:rPr lang="nb-NO" sz="1600"/>
              <a:t> </a:t>
            </a:r>
            <a:r>
              <a:rPr lang="nb-NO" sz="1600" err="1"/>
              <a:t>get</a:t>
            </a:r>
            <a:r>
              <a:rPr lang="nb-NO" sz="1600"/>
              <a:t> from </a:t>
            </a:r>
            <a:r>
              <a:rPr lang="nb-NO" sz="1600" err="1"/>
              <a:t>this</a:t>
            </a:r>
            <a:r>
              <a:rPr lang="nb-NO" sz="1600"/>
              <a:t> </a:t>
            </a:r>
            <a:r>
              <a:rPr lang="nb-NO" sz="1600" err="1"/>
              <a:t>YANG</a:t>
            </a:r>
            <a:r>
              <a:rPr lang="nb-NO" sz="1600"/>
              <a:t> </a:t>
            </a:r>
            <a:r>
              <a:rPr lang="nb-NO" sz="1600" err="1"/>
              <a:t>model</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15A75A7D-C767-FAB7-0CD7-C310C06ADF88}"/>
              </a:ext>
            </a:extLst>
          </p:cNvPr>
          <p:cNvPicPr>
            <a:picLocks noChangeAspect="1"/>
          </p:cNvPicPr>
          <p:nvPr/>
        </p:nvPicPr>
        <p:blipFill>
          <a:blip r:embed="rId3"/>
          <a:stretch>
            <a:fillRect/>
          </a:stretch>
        </p:blipFill>
        <p:spPr>
          <a:xfrm>
            <a:off x="801291" y="1446101"/>
            <a:ext cx="6242749" cy="1187271"/>
          </a:xfrm>
          <a:prstGeom prst="rect">
            <a:avLst/>
          </a:prstGeom>
        </p:spPr>
      </p:pic>
      <p:pic>
        <p:nvPicPr>
          <p:cNvPr id="11" name="Picture 10">
            <a:extLst>
              <a:ext uri="{FF2B5EF4-FFF2-40B4-BE49-F238E27FC236}">
                <a16:creationId xmlns:a16="http://schemas.microsoft.com/office/drawing/2014/main" id="{A64BBD0B-8216-880E-E9B5-34BA34406013}"/>
              </a:ext>
            </a:extLst>
          </p:cNvPr>
          <p:cNvPicPr>
            <a:picLocks noChangeAspect="1"/>
          </p:cNvPicPr>
          <p:nvPr/>
        </p:nvPicPr>
        <p:blipFill>
          <a:blip r:embed="rId4"/>
          <a:stretch>
            <a:fillRect/>
          </a:stretch>
        </p:blipFill>
        <p:spPr>
          <a:xfrm>
            <a:off x="801291" y="3107473"/>
            <a:ext cx="4891837" cy="1482374"/>
          </a:xfrm>
          <a:prstGeom prst="rect">
            <a:avLst/>
          </a:prstGeom>
        </p:spPr>
      </p:pic>
      <p:sp>
        <p:nvSpPr>
          <p:cNvPr id="4" name="Rectangle: Rounded Corners 3">
            <a:extLst>
              <a:ext uri="{FF2B5EF4-FFF2-40B4-BE49-F238E27FC236}">
                <a16:creationId xmlns:a16="http://schemas.microsoft.com/office/drawing/2014/main" id="{5EE2890B-EE37-9696-CD4B-EF2CA9206A12}"/>
              </a:ext>
            </a:extLst>
          </p:cNvPr>
          <p:cNvSpPr/>
          <p:nvPr/>
        </p:nvSpPr>
        <p:spPr>
          <a:xfrm>
            <a:off x="2059145" y="2401173"/>
            <a:ext cx="865539" cy="232199"/>
          </a:xfrm>
          <a:prstGeom prst="roundRect">
            <a:avLst/>
          </a:prstGeom>
          <a:noFill/>
          <a:ln>
            <a:solidFill>
              <a:srgbClr val="19AAF8"/>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5" name="Picture 4" descr="A blue logo with a black background&#10;&#10;Description automatically generated">
            <a:extLst>
              <a:ext uri="{FF2B5EF4-FFF2-40B4-BE49-F238E27FC236}">
                <a16:creationId xmlns:a16="http://schemas.microsoft.com/office/drawing/2014/main" id="{2F38E87C-F6C0-0E02-DD8B-9741EBB2555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271568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he distance between the headline and the start of the body copy is always constant.…">
            <a:extLst>
              <a:ext uri="{FF2B5EF4-FFF2-40B4-BE49-F238E27FC236}">
                <a16:creationId xmlns:a16="http://schemas.microsoft.com/office/drawing/2014/main" id="{7892CC6C-10D9-5ECE-C3A1-96F012209A53}"/>
              </a:ext>
            </a:extLst>
          </p:cNvPr>
          <p:cNvSpPr txBox="1">
            <a:spLocks/>
          </p:cNvSpPr>
          <p:nvPr/>
        </p:nvSpPr>
        <p:spPr bwMode="gray">
          <a:xfrm>
            <a:off x="9340850" y="2736715"/>
            <a:ext cx="2771489" cy="324255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200" err="1"/>
              <a:t>Add</a:t>
            </a:r>
            <a:r>
              <a:rPr lang="nb-NO" sz="1200"/>
              <a:t> </a:t>
            </a:r>
            <a:r>
              <a:rPr lang="nb-NO" sz="1200" err="1"/>
              <a:t>another</a:t>
            </a:r>
            <a:r>
              <a:rPr lang="nb-NO" sz="1200"/>
              <a:t> </a:t>
            </a:r>
            <a:r>
              <a:rPr lang="nb-NO" sz="1200" err="1"/>
              <a:t>row</a:t>
            </a: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endParaRPr lang="nb-NO" sz="1200"/>
          </a:p>
          <a:p>
            <a:pPr marL="0" indent="0">
              <a:lnSpc>
                <a:spcPct val="110000"/>
              </a:lnSpc>
              <a:buNone/>
            </a:pPr>
            <a:r>
              <a:rPr lang="nb-NO" sz="1200"/>
              <a:t>To </a:t>
            </a:r>
            <a:r>
              <a:rPr lang="nb-NO" sz="1200" err="1"/>
              <a:t>create</a:t>
            </a:r>
            <a:r>
              <a:rPr lang="nb-NO" sz="1200"/>
              <a:t> an alias, </a:t>
            </a:r>
            <a:r>
              <a:rPr lang="nb-NO" sz="1200" err="1"/>
              <a:t>choose</a:t>
            </a:r>
            <a:r>
              <a:rPr lang="nb-NO" sz="1200"/>
              <a:t> "alias" and </a:t>
            </a:r>
            <a:r>
              <a:rPr lang="nb-NO" sz="1200" err="1"/>
              <a:t>click</a:t>
            </a:r>
            <a:r>
              <a:rPr lang="nb-NO" sz="1200"/>
              <a:t> </a:t>
            </a:r>
            <a:r>
              <a:rPr lang="nb-NO" sz="1200" err="1"/>
              <a:t>the</a:t>
            </a:r>
            <a:r>
              <a:rPr lang="nb-NO" sz="1200"/>
              <a:t> alias(alias) </a:t>
            </a:r>
            <a:r>
              <a:rPr lang="nb-NO" sz="1200" err="1"/>
              <a:t>button</a:t>
            </a:r>
            <a:endParaRPr lang="nb-NO" sz="1200"/>
          </a:p>
          <a:p>
            <a:pPr marL="0" indent="0">
              <a:lnSpc>
                <a:spcPct val="110000"/>
              </a:lnSpc>
              <a:buNone/>
            </a:pPr>
            <a:endParaRPr lang="nb-NO" sz="1200"/>
          </a:p>
          <a:p>
            <a:pPr marL="0" indent="0">
              <a:lnSpc>
                <a:spcPct val="110000"/>
              </a:lnSpc>
              <a:buNone/>
            </a:pPr>
            <a:r>
              <a:rPr lang="nb-NO" sz="1200"/>
              <a:t>Type </a:t>
            </a:r>
            <a:r>
              <a:rPr lang="nb-NO" sz="1200" err="1"/>
              <a:t>the</a:t>
            </a:r>
            <a:r>
              <a:rPr lang="nb-NO" sz="1200"/>
              <a:t> </a:t>
            </a:r>
            <a:r>
              <a:rPr lang="nb-NO" sz="1200" err="1"/>
              <a:t>name</a:t>
            </a:r>
            <a:r>
              <a:rPr lang="nb-NO" sz="1200"/>
              <a:t> and press Enter</a:t>
            </a:r>
          </a:p>
        </p:txBody>
      </p:sp>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To </a:t>
            </a:r>
            <a:r>
              <a:rPr lang="nb-NO" sz="1600" dirty="0" err="1"/>
              <a:t>get</a:t>
            </a:r>
            <a:r>
              <a:rPr lang="nb-NO" sz="1600" dirty="0"/>
              <a:t> </a:t>
            </a:r>
            <a:r>
              <a:rPr lang="nb-NO" sz="1600" dirty="0" err="1"/>
              <a:t>the</a:t>
            </a:r>
            <a:r>
              <a:rPr lang="nb-NO" sz="1600" dirty="0"/>
              <a:t> </a:t>
            </a:r>
            <a:r>
              <a:rPr lang="nb-NO" sz="1600" dirty="0" err="1"/>
              <a:t>options</a:t>
            </a:r>
            <a:r>
              <a:rPr lang="nb-NO" sz="1600" dirty="0"/>
              <a:t>, </a:t>
            </a:r>
            <a:r>
              <a:rPr lang="nb-NO" sz="1600" dirty="0" err="1"/>
              <a:t>click</a:t>
            </a:r>
            <a:r>
              <a:rPr lang="nb-NO" sz="1600" dirty="0"/>
              <a:t> </a:t>
            </a:r>
            <a:r>
              <a:rPr lang="nb-NO" sz="1600" dirty="0" err="1"/>
              <a:t>the</a:t>
            </a:r>
            <a:r>
              <a:rPr lang="nb-NO" sz="1600" dirty="0"/>
              <a:t> "+" </a:t>
            </a:r>
            <a:r>
              <a:rPr lang="nb-NO" sz="1600" dirty="0" err="1"/>
              <a:t>signs</a:t>
            </a:r>
            <a:r>
              <a:rPr lang="nb-NO" sz="1600" dirty="0"/>
              <a:t>, like </a:t>
            </a:r>
            <a:r>
              <a:rPr lang="nb-NO" sz="1600" dirty="0" err="1"/>
              <a:t>here</a:t>
            </a:r>
            <a:endParaRPr lang="nb-NO" sz="1600" dirty="0"/>
          </a:p>
          <a:p>
            <a:pPr>
              <a:lnSpc>
                <a:spcPct val="110000"/>
              </a:lnSpc>
            </a:pPr>
            <a:r>
              <a:rPr lang="nb-NO" sz="1600" dirty="0" err="1"/>
              <a:t>You</a:t>
            </a:r>
            <a:r>
              <a:rPr lang="nb-NO" sz="1600" dirty="0"/>
              <a:t> </a:t>
            </a:r>
            <a:r>
              <a:rPr lang="nb-NO" sz="1600" dirty="0" err="1"/>
              <a:t>can</a:t>
            </a:r>
            <a:r>
              <a:rPr lang="nb-NO" sz="1600" dirty="0"/>
              <a:t> </a:t>
            </a:r>
            <a:r>
              <a:rPr lang="nb-NO" sz="1600" dirty="0" err="1"/>
              <a:t>search</a:t>
            </a:r>
            <a:r>
              <a:rPr lang="nb-NO" sz="1600" dirty="0"/>
              <a:t> in </a:t>
            </a:r>
            <a:r>
              <a:rPr lang="nb-NO" sz="1600" dirty="0" err="1"/>
              <a:t>the</a:t>
            </a:r>
            <a:r>
              <a:rPr lang="nb-NO" sz="1600" dirty="0"/>
              <a:t> "</a:t>
            </a:r>
            <a:r>
              <a:rPr lang="nb-NO" sz="1600" dirty="0" err="1"/>
              <a:t>Choose</a:t>
            </a:r>
            <a:r>
              <a:rPr lang="nb-NO" sz="1600" dirty="0"/>
              <a:t>" </a:t>
            </a:r>
            <a:r>
              <a:rPr lang="nb-NO" sz="1600" dirty="0" err="1"/>
              <a:t>field</a:t>
            </a:r>
            <a:r>
              <a:rPr lang="nb-NO" sz="1600" dirty="0"/>
              <a:t> over </a:t>
            </a:r>
            <a:r>
              <a:rPr lang="nb-NO" sz="1600" dirty="0" err="1"/>
              <a:t>the</a:t>
            </a:r>
            <a:r>
              <a:rPr lang="nb-NO" sz="1600" dirty="0"/>
              <a:t> </a:t>
            </a:r>
            <a:r>
              <a:rPr lang="nb-NO" sz="1600" dirty="0" err="1"/>
              <a:t>options</a:t>
            </a:r>
            <a:endParaRPr lang="nb-NO" sz="1600" dirty="0"/>
          </a:p>
          <a:p>
            <a:pPr>
              <a:lnSpc>
                <a:spcPct val="110000"/>
              </a:lnSpc>
            </a:pPr>
            <a:r>
              <a:rPr lang="nb-NO" sz="1600" dirty="0"/>
              <a:t>To </a:t>
            </a:r>
            <a:r>
              <a:rPr lang="nb-NO" sz="1600" dirty="0" err="1"/>
              <a:t>specify</a:t>
            </a:r>
            <a:r>
              <a:rPr lang="nb-NO" sz="1600" dirty="0"/>
              <a:t> </a:t>
            </a:r>
            <a:r>
              <a:rPr lang="nb-NO" sz="1600" dirty="0" err="1"/>
              <a:t>the</a:t>
            </a:r>
            <a:r>
              <a:rPr lang="nb-NO" sz="1600" dirty="0"/>
              <a:t> </a:t>
            </a:r>
            <a:r>
              <a:rPr lang="nb-NO" sz="1600" dirty="0" err="1"/>
              <a:t>value</a:t>
            </a:r>
            <a:r>
              <a:rPr lang="nb-NO" sz="1600" dirty="0"/>
              <a:t> </a:t>
            </a:r>
            <a:r>
              <a:rPr lang="nb-NO" sz="1600" dirty="0" err="1"/>
              <a:t>inside</a:t>
            </a:r>
            <a:r>
              <a:rPr lang="nb-NO" sz="1600" dirty="0"/>
              <a:t> </a:t>
            </a:r>
            <a:r>
              <a:rPr lang="nb-NO" sz="1600" dirty="0" err="1"/>
              <a:t>the</a:t>
            </a:r>
            <a:r>
              <a:rPr lang="nb-NO" sz="1600" dirty="0"/>
              <a:t> "</a:t>
            </a:r>
            <a:r>
              <a:rPr lang="nb-NO" sz="1600" dirty="0" err="1"/>
              <a:t>field</a:t>
            </a:r>
            <a:r>
              <a:rPr lang="nb-NO" sz="1600" dirty="0"/>
              <a:t>(</a:t>
            </a:r>
            <a:r>
              <a:rPr lang="nb-NO" sz="1600" dirty="0" err="1"/>
              <a:t>value</a:t>
            </a:r>
            <a:r>
              <a:rPr lang="nb-NO" sz="1600" dirty="0"/>
              <a:t>)" </a:t>
            </a:r>
            <a:r>
              <a:rPr lang="nb-NO" sz="1600" dirty="0" err="1"/>
              <a:t>click</a:t>
            </a:r>
            <a:r>
              <a:rPr lang="nb-NO" sz="1600" dirty="0"/>
              <a:t> it </a:t>
            </a:r>
          </a:p>
          <a:p>
            <a:pPr>
              <a:lnSpc>
                <a:spcPct val="110000"/>
              </a:lnSpc>
            </a:pPr>
            <a:r>
              <a:rPr lang="nb-NO" sz="1600" dirty="0" err="1"/>
              <a:t>Try</a:t>
            </a:r>
            <a:r>
              <a:rPr lang="nb-NO" sz="1600" dirty="0"/>
              <a:t> to make </a:t>
            </a:r>
            <a:r>
              <a:rPr lang="nb-NO" sz="1600" dirty="0" err="1"/>
              <a:t>the</a:t>
            </a:r>
            <a:r>
              <a:rPr lang="nb-NO" sz="1600" dirty="0"/>
              <a:t> screen match </a:t>
            </a:r>
            <a:r>
              <a:rPr lang="nb-NO" sz="1600" dirty="0" err="1"/>
              <a:t>this</a:t>
            </a:r>
            <a:r>
              <a:rPr lang="nb-NO" sz="1600" dirty="0"/>
              <a:t> image</a:t>
            </a:r>
          </a:p>
          <a:p>
            <a:pPr marL="0" indent="0">
              <a:lnSpc>
                <a:spcPct val="110000"/>
              </a:lnSpc>
              <a:buNone/>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9" name="Picture 8">
            <a:extLst>
              <a:ext uri="{FF2B5EF4-FFF2-40B4-BE49-F238E27FC236}">
                <a16:creationId xmlns:a16="http://schemas.microsoft.com/office/drawing/2014/main" id="{77793A74-87B2-A42F-37E8-1AC87507715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83650" y="2821503"/>
            <a:ext cx="8984722" cy="3044941"/>
          </a:xfrm>
          <a:prstGeom prst="rect">
            <a:avLst/>
          </a:prstGeom>
        </p:spPr>
      </p:pic>
      <p:pic>
        <p:nvPicPr>
          <p:cNvPr id="11" name="Picture 10">
            <a:extLst>
              <a:ext uri="{FF2B5EF4-FFF2-40B4-BE49-F238E27FC236}">
                <a16:creationId xmlns:a16="http://schemas.microsoft.com/office/drawing/2014/main" id="{F71561DF-EBA2-A07B-D2D2-ACFE3322301D}"/>
              </a:ext>
            </a:extLst>
          </p:cNvPr>
          <p:cNvPicPr>
            <a:picLocks noChangeAspect="1"/>
          </p:cNvPicPr>
          <p:nvPr/>
        </p:nvPicPr>
        <p:blipFill>
          <a:blip r:embed="rId4"/>
          <a:stretch>
            <a:fillRect/>
          </a:stretch>
        </p:blipFill>
        <p:spPr>
          <a:xfrm>
            <a:off x="5869271" y="1028416"/>
            <a:ext cx="1581899" cy="445325"/>
          </a:xfrm>
          <a:prstGeom prst="rect">
            <a:avLst/>
          </a:prstGeom>
        </p:spPr>
      </p:pic>
      <p:cxnSp>
        <p:nvCxnSpPr>
          <p:cNvPr id="21" name="Straight Arrow Connector 20">
            <a:extLst>
              <a:ext uri="{FF2B5EF4-FFF2-40B4-BE49-F238E27FC236}">
                <a16:creationId xmlns:a16="http://schemas.microsoft.com/office/drawing/2014/main" id="{38F66337-BD6B-7698-4D5E-7623DA710730}"/>
              </a:ext>
            </a:extLst>
          </p:cNvPr>
          <p:cNvCxnSpPr>
            <a:cxnSpLocks/>
          </p:cNvCxnSpPr>
          <p:nvPr/>
        </p:nvCxnSpPr>
        <p:spPr>
          <a:xfrm flipV="1">
            <a:off x="4792494" y="3305399"/>
            <a:ext cx="4586354" cy="140507"/>
          </a:xfrm>
          <a:prstGeom prst="straightConnector1">
            <a:avLst/>
          </a:prstGeom>
          <a:ln>
            <a:solidFill>
              <a:srgbClr val="19AAF8"/>
            </a:solidFill>
            <a:tailEnd type="triangle"/>
          </a:ln>
        </p:spPr>
        <p:style>
          <a:lnRef idx="3">
            <a:schemeClr val="accent1"/>
          </a:lnRef>
          <a:fillRef idx="0">
            <a:schemeClr val="accent1"/>
          </a:fillRef>
          <a:effectRef idx="2">
            <a:schemeClr val="accent1"/>
          </a:effectRef>
          <a:fontRef idx="minor">
            <a:schemeClr val="tx1"/>
          </a:fontRef>
        </p:style>
      </p:cxnSp>
      <p:pic>
        <p:nvPicPr>
          <p:cNvPr id="26" name="Picture 25">
            <a:extLst>
              <a:ext uri="{FF2B5EF4-FFF2-40B4-BE49-F238E27FC236}">
                <a16:creationId xmlns:a16="http://schemas.microsoft.com/office/drawing/2014/main" id="{E243317D-D2A4-8390-FE68-60FBA55043AC}"/>
              </a:ext>
            </a:extLst>
          </p:cNvPr>
          <p:cNvPicPr>
            <a:picLocks noChangeAspect="1"/>
          </p:cNvPicPr>
          <p:nvPr/>
        </p:nvPicPr>
        <p:blipFill>
          <a:blip r:embed="rId5"/>
          <a:stretch>
            <a:fillRect/>
          </a:stretch>
        </p:blipFill>
        <p:spPr>
          <a:xfrm>
            <a:off x="9354059" y="4957027"/>
            <a:ext cx="1133633" cy="381053"/>
          </a:xfrm>
          <a:prstGeom prst="rect">
            <a:avLst/>
          </a:prstGeom>
        </p:spPr>
      </p:pic>
      <p:pic>
        <p:nvPicPr>
          <p:cNvPr id="28" name="Picture 27">
            <a:extLst>
              <a:ext uri="{FF2B5EF4-FFF2-40B4-BE49-F238E27FC236}">
                <a16:creationId xmlns:a16="http://schemas.microsoft.com/office/drawing/2014/main" id="{DC1BB95E-1242-B452-DF24-41CF3BAD0FB3}"/>
              </a:ext>
            </a:extLst>
          </p:cNvPr>
          <p:cNvPicPr>
            <a:picLocks noChangeAspect="1"/>
          </p:cNvPicPr>
          <p:nvPr/>
        </p:nvPicPr>
        <p:blipFill>
          <a:blip r:embed="rId6"/>
          <a:stretch>
            <a:fillRect/>
          </a:stretch>
        </p:blipFill>
        <p:spPr>
          <a:xfrm>
            <a:off x="9340849" y="5656679"/>
            <a:ext cx="1612495" cy="307441"/>
          </a:xfrm>
          <a:prstGeom prst="rect">
            <a:avLst/>
          </a:prstGeom>
        </p:spPr>
      </p:pic>
      <p:pic>
        <p:nvPicPr>
          <p:cNvPr id="31" name="Picture 30">
            <a:extLst>
              <a:ext uri="{FF2B5EF4-FFF2-40B4-BE49-F238E27FC236}">
                <a16:creationId xmlns:a16="http://schemas.microsoft.com/office/drawing/2014/main" id="{7A2B9376-1960-5182-0FAC-99E44B52AA93}"/>
              </a:ext>
            </a:extLst>
          </p:cNvPr>
          <p:cNvPicPr>
            <a:picLocks noChangeAspect="1"/>
          </p:cNvPicPr>
          <p:nvPr/>
        </p:nvPicPr>
        <p:blipFill>
          <a:blip r:embed="rId7"/>
          <a:stretch>
            <a:fillRect/>
          </a:stretch>
        </p:blipFill>
        <p:spPr>
          <a:xfrm>
            <a:off x="9378849" y="3115183"/>
            <a:ext cx="1108843" cy="619151"/>
          </a:xfrm>
          <a:prstGeom prst="rect">
            <a:avLst/>
          </a:prstGeom>
        </p:spPr>
      </p:pic>
      <p:pic>
        <p:nvPicPr>
          <p:cNvPr id="7" name="Picture 6">
            <a:extLst>
              <a:ext uri="{FF2B5EF4-FFF2-40B4-BE49-F238E27FC236}">
                <a16:creationId xmlns:a16="http://schemas.microsoft.com/office/drawing/2014/main" id="{5F1390CA-788D-92D4-B37A-A246B72B213B}"/>
              </a:ext>
            </a:extLst>
          </p:cNvPr>
          <p:cNvPicPr>
            <a:picLocks noChangeAspect="1"/>
          </p:cNvPicPr>
          <p:nvPr/>
        </p:nvPicPr>
        <p:blipFill>
          <a:blip r:embed="rId8"/>
          <a:stretch>
            <a:fillRect/>
          </a:stretch>
        </p:blipFill>
        <p:spPr>
          <a:xfrm>
            <a:off x="6288869" y="1901239"/>
            <a:ext cx="861231" cy="282371"/>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790F9493-FB49-29E9-9BAC-A5C9104C968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947472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he distance between the headline and the start of the body copy is always constant.…">
            <a:extLst>
              <a:ext uri="{FF2B5EF4-FFF2-40B4-BE49-F238E27FC236}">
                <a16:creationId xmlns:a16="http://schemas.microsoft.com/office/drawing/2014/main" id="{7848AA71-CB34-4960-830D-A63108CB00DB}"/>
              </a:ext>
            </a:extLst>
          </p:cNvPr>
          <p:cNvSpPr txBox="1">
            <a:spLocks/>
          </p:cNvSpPr>
          <p:nvPr/>
        </p:nvSpPr>
        <p:spPr bwMode="gray">
          <a:xfrm>
            <a:off x="6717094" y="330740"/>
            <a:ext cx="5247511" cy="551746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Set </a:t>
            </a:r>
            <a:r>
              <a:rPr lang="nb-NO" sz="1600" dirty="0" err="1"/>
              <a:t>the</a:t>
            </a:r>
            <a:r>
              <a:rPr lang="nb-NO" sz="1600" dirty="0"/>
              <a:t> panel </a:t>
            </a:r>
            <a:r>
              <a:rPr lang="nb-NO" sz="1600" dirty="0" err="1"/>
              <a:t>title</a:t>
            </a: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Under </a:t>
            </a:r>
            <a:r>
              <a:rPr lang="nb-NO" sz="1600" dirty="0" err="1"/>
              <a:t>graph</a:t>
            </a:r>
            <a:r>
              <a:rPr lang="nb-NO" sz="1600" dirty="0"/>
              <a:t> styles </a:t>
            </a:r>
            <a:r>
              <a:rPr lang="nb-NO" sz="1600" dirty="0" err="1"/>
              <a:t>you</a:t>
            </a:r>
            <a:r>
              <a:rPr lang="nb-NO" sz="1600" dirty="0"/>
              <a:t> </a:t>
            </a:r>
            <a:r>
              <a:rPr lang="nb-NO" sz="1600" dirty="0" err="1"/>
              <a:t>can</a:t>
            </a:r>
            <a:r>
              <a:rPr lang="nb-NO" sz="1600" dirty="0"/>
              <a:t> make it </a:t>
            </a:r>
            <a:r>
              <a:rPr lang="nb-NO" sz="1600" dirty="0" err="1"/>
              <a:t>look</a:t>
            </a:r>
            <a:r>
              <a:rPr lang="nb-NO" sz="1600" dirty="0"/>
              <a:t> like </a:t>
            </a:r>
            <a:r>
              <a:rPr lang="nb-NO" sz="1600" dirty="0" err="1"/>
              <a:t>you</a:t>
            </a:r>
            <a:r>
              <a:rPr lang="nb-NO" sz="1600" dirty="0"/>
              <a:t> </a:t>
            </a:r>
            <a:r>
              <a:rPr lang="nb-NO" sz="1600" dirty="0" err="1"/>
              <a:t>want</a:t>
            </a:r>
            <a:r>
              <a:rPr lang="nb-NO" sz="1600" dirty="0"/>
              <a:t> </a:t>
            </a:r>
            <a:r>
              <a:rPr lang="nb-NO" sz="1600" dirty="0">
                <a:sym typeface="Wingdings" panose="05000000000000000000" pitchFamily="2" charset="2"/>
              </a:rPr>
              <a:t> Set Connect null </a:t>
            </a:r>
            <a:r>
              <a:rPr lang="nb-NO" sz="1600" dirty="0" err="1">
                <a:sym typeface="Wingdings" panose="05000000000000000000" pitchFamily="2" charset="2"/>
              </a:rPr>
              <a:t>values</a:t>
            </a:r>
            <a:r>
              <a:rPr lang="nb-NO" sz="1600" dirty="0">
                <a:sym typeface="Wingdings" panose="05000000000000000000" pitchFamily="2" charset="2"/>
              </a:rPr>
              <a:t> to </a:t>
            </a:r>
            <a:r>
              <a:rPr lang="nb-NO" sz="1600" dirty="0" err="1">
                <a:sym typeface="Wingdings" panose="05000000000000000000" pitchFamily="2" charset="2"/>
              </a:rPr>
              <a:t>always</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Fix</a:t>
            </a:r>
            <a:r>
              <a:rPr lang="nb-NO" sz="1600" dirty="0"/>
              <a:t> </a:t>
            </a:r>
            <a:r>
              <a:rPr lang="nb-NO" sz="1600" dirty="0" err="1"/>
              <a:t>values</a:t>
            </a:r>
            <a:r>
              <a:rPr lang="nb-NO" sz="1600" dirty="0"/>
              <a:t> to </a:t>
            </a:r>
            <a:r>
              <a:rPr lang="nb-NO" sz="1600" dirty="0" err="1"/>
              <a:t>percent</a:t>
            </a:r>
            <a:r>
              <a:rPr lang="nb-NO" sz="1600" dirty="0"/>
              <a:t> </a:t>
            </a:r>
          </a:p>
          <a:p>
            <a:pPr>
              <a:lnSpc>
                <a:spcPct val="110000"/>
              </a:lnSpc>
            </a:pPr>
            <a:endParaRPr lang="nb-NO" sz="1600" dirty="0"/>
          </a:p>
        </p:txBody>
      </p:sp>
      <p:sp>
        <p:nvSpPr>
          <p:cNvPr id="181" name="The distance between the headline and the start of the body copy is always constant.…"/>
          <p:cNvSpPr txBox="1">
            <a:spLocks noGrp="1"/>
          </p:cNvSpPr>
          <p:nvPr>
            <p:ph idx="1"/>
          </p:nvPr>
        </p:nvSpPr>
        <p:spPr>
          <a:xfrm>
            <a:off x="539999" y="1009800"/>
            <a:ext cx="5247511" cy="1167656"/>
          </a:xfrm>
        </p:spPr>
        <p:txBody>
          <a:bodyPr>
            <a:normAutofit/>
          </a:bodyPr>
          <a:lstStyle/>
          <a:p>
            <a:pPr>
              <a:lnSpc>
                <a:spcPct val="110000"/>
              </a:lnSpc>
            </a:pPr>
            <a:r>
              <a:rPr lang="nb-NO" sz="1600"/>
              <a:t>In </a:t>
            </a:r>
            <a:r>
              <a:rPr lang="nb-NO" sz="1600" err="1"/>
              <a:t>the</a:t>
            </a:r>
            <a:r>
              <a:rPr lang="nb-NO" sz="1600"/>
              <a:t> </a:t>
            </a:r>
            <a:r>
              <a:rPr lang="nb-NO" sz="1600" err="1"/>
              <a:t>field</a:t>
            </a:r>
            <a:r>
              <a:rPr lang="nb-NO" sz="1600"/>
              <a:t> to </a:t>
            </a:r>
            <a:r>
              <a:rPr lang="nb-NO" sz="1600" err="1"/>
              <a:t>the</a:t>
            </a:r>
            <a:r>
              <a:rPr lang="nb-NO" sz="1600"/>
              <a:t> right, </a:t>
            </a:r>
            <a:r>
              <a:rPr lang="nb-NO" sz="1600" err="1"/>
              <a:t>you</a:t>
            </a:r>
            <a:r>
              <a:rPr lang="nb-NO" sz="1600"/>
              <a:t> have </a:t>
            </a:r>
            <a:r>
              <a:rPr lang="nb-NO" sz="1600" err="1"/>
              <a:t>lots</a:t>
            </a:r>
            <a:r>
              <a:rPr lang="nb-NO" sz="1600"/>
              <a:t> </a:t>
            </a:r>
            <a:r>
              <a:rPr lang="nb-NO" sz="1600" err="1"/>
              <a:t>of</a:t>
            </a:r>
            <a:r>
              <a:rPr lang="nb-NO" sz="1600"/>
              <a:t> </a:t>
            </a:r>
            <a:r>
              <a:rPr lang="nb-NO" sz="1600" err="1"/>
              <a:t>options</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13" name="Picture 12">
            <a:extLst>
              <a:ext uri="{FF2B5EF4-FFF2-40B4-BE49-F238E27FC236}">
                <a16:creationId xmlns:a16="http://schemas.microsoft.com/office/drawing/2014/main" id="{8DF7784F-972E-3BA0-2C60-1BFA5D0EA0A1}"/>
              </a:ext>
            </a:extLst>
          </p:cNvPr>
          <p:cNvPicPr>
            <a:picLocks noChangeAspect="1"/>
          </p:cNvPicPr>
          <p:nvPr/>
        </p:nvPicPr>
        <p:blipFill>
          <a:blip r:embed="rId3"/>
          <a:stretch>
            <a:fillRect/>
          </a:stretch>
        </p:blipFill>
        <p:spPr>
          <a:xfrm>
            <a:off x="9443926" y="3031541"/>
            <a:ext cx="2297827" cy="520656"/>
          </a:xfrm>
          <a:prstGeom prst="rect">
            <a:avLst/>
          </a:prstGeom>
        </p:spPr>
      </p:pic>
      <p:cxnSp>
        <p:nvCxnSpPr>
          <p:cNvPr id="14" name="Straight Arrow Connector 13">
            <a:extLst>
              <a:ext uri="{FF2B5EF4-FFF2-40B4-BE49-F238E27FC236}">
                <a16:creationId xmlns:a16="http://schemas.microsoft.com/office/drawing/2014/main" id="{0D9927B7-D7BB-21A9-F38E-6C0936B35AA2}"/>
              </a:ext>
            </a:extLst>
          </p:cNvPr>
          <p:cNvCxnSpPr>
            <a:cxnSpLocks/>
          </p:cNvCxnSpPr>
          <p:nvPr/>
        </p:nvCxnSpPr>
        <p:spPr>
          <a:xfrm flipH="1">
            <a:off x="10473447" y="2224588"/>
            <a:ext cx="925563" cy="98644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a:extLst>
              <a:ext uri="{FF2B5EF4-FFF2-40B4-BE49-F238E27FC236}">
                <a16:creationId xmlns:a16="http://schemas.microsoft.com/office/drawing/2014/main" id="{FBC5D1D5-EE2A-FF7F-1A15-68B97DAC226C}"/>
              </a:ext>
            </a:extLst>
          </p:cNvPr>
          <p:cNvPicPr>
            <a:picLocks noChangeAspect="1"/>
          </p:cNvPicPr>
          <p:nvPr/>
        </p:nvPicPr>
        <p:blipFill>
          <a:blip r:embed="rId4"/>
          <a:stretch>
            <a:fillRect/>
          </a:stretch>
        </p:blipFill>
        <p:spPr>
          <a:xfrm>
            <a:off x="7000967" y="4238045"/>
            <a:ext cx="2062045" cy="1772155"/>
          </a:xfrm>
          <a:prstGeom prst="rect">
            <a:avLst/>
          </a:prstGeom>
        </p:spPr>
      </p:pic>
      <p:pic>
        <p:nvPicPr>
          <p:cNvPr id="15" name="Picture 14">
            <a:extLst>
              <a:ext uri="{FF2B5EF4-FFF2-40B4-BE49-F238E27FC236}">
                <a16:creationId xmlns:a16="http://schemas.microsoft.com/office/drawing/2014/main" id="{B3151250-CD5A-3864-5FAE-6513F6E5F4CC}"/>
              </a:ext>
            </a:extLst>
          </p:cNvPr>
          <p:cNvPicPr>
            <a:picLocks noChangeAspect="1"/>
          </p:cNvPicPr>
          <p:nvPr/>
        </p:nvPicPr>
        <p:blipFill>
          <a:blip r:embed="rId5"/>
          <a:stretch>
            <a:fillRect/>
          </a:stretch>
        </p:blipFill>
        <p:spPr>
          <a:xfrm>
            <a:off x="577134" y="1590223"/>
            <a:ext cx="5545818" cy="3793066"/>
          </a:xfrm>
          <a:prstGeom prst="rect">
            <a:avLst/>
          </a:prstGeom>
        </p:spPr>
      </p:pic>
      <p:cxnSp>
        <p:nvCxnSpPr>
          <p:cNvPr id="21" name="Straight Arrow Connector 20">
            <a:extLst>
              <a:ext uri="{FF2B5EF4-FFF2-40B4-BE49-F238E27FC236}">
                <a16:creationId xmlns:a16="http://schemas.microsoft.com/office/drawing/2014/main" id="{FE105A85-E684-FDDE-F384-C36EDF3BE32F}"/>
              </a:ext>
            </a:extLst>
          </p:cNvPr>
          <p:cNvCxnSpPr>
            <a:cxnSpLocks/>
          </p:cNvCxnSpPr>
          <p:nvPr/>
        </p:nvCxnSpPr>
        <p:spPr>
          <a:xfrm>
            <a:off x="4543720" y="3911788"/>
            <a:ext cx="1941632" cy="45917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3" name="Straight Arrow Connector 22">
            <a:extLst>
              <a:ext uri="{FF2B5EF4-FFF2-40B4-BE49-F238E27FC236}">
                <a16:creationId xmlns:a16="http://schemas.microsoft.com/office/drawing/2014/main" id="{850A6BFE-EB14-EB1F-6A2F-00BB82B9A96A}"/>
              </a:ext>
            </a:extLst>
          </p:cNvPr>
          <p:cNvCxnSpPr>
            <a:cxnSpLocks/>
          </p:cNvCxnSpPr>
          <p:nvPr/>
        </p:nvCxnSpPr>
        <p:spPr>
          <a:xfrm flipV="1">
            <a:off x="4365656" y="2946212"/>
            <a:ext cx="2410013" cy="77427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5" name="Straight Arrow Connector 24">
            <a:extLst>
              <a:ext uri="{FF2B5EF4-FFF2-40B4-BE49-F238E27FC236}">
                <a16:creationId xmlns:a16="http://schemas.microsoft.com/office/drawing/2014/main" id="{2CDBBF24-D8DA-BDF4-EA84-F22ED2DB976D}"/>
              </a:ext>
            </a:extLst>
          </p:cNvPr>
          <p:cNvCxnSpPr>
            <a:cxnSpLocks/>
          </p:cNvCxnSpPr>
          <p:nvPr/>
        </p:nvCxnSpPr>
        <p:spPr>
          <a:xfrm flipV="1">
            <a:off x="4365656" y="1225082"/>
            <a:ext cx="2292568" cy="151492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7" name="Picture 26">
            <a:extLst>
              <a:ext uri="{FF2B5EF4-FFF2-40B4-BE49-F238E27FC236}">
                <a16:creationId xmlns:a16="http://schemas.microsoft.com/office/drawing/2014/main" id="{EF18B9E3-EE15-0B6E-F5BA-008BEC839C3B}"/>
              </a:ext>
            </a:extLst>
          </p:cNvPr>
          <p:cNvPicPr>
            <a:picLocks noChangeAspect="1"/>
          </p:cNvPicPr>
          <p:nvPr/>
        </p:nvPicPr>
        <p:blipFill>
          <a:blip r:embed="rId6"/>
          <a:stretch>
            <a:fillRect/>
          </a:stretch>
        </p:blipFill>
        <p:spPr>
          <a:xfrm>
            <a:off x="7000967" y="782107"/>
            <a:ext cx="2305372" cy="885949"/>
          </a:xfrm>
          <a:prstGeom prst="rect">
            <a:avLst/>
          </a:prstGeom>
        </p:spPr>
      </p:pic>
      <p:pic>
        <p:nvPicPr>
          <p:cNvPr id="31" name="Picture 30">
            <a:extLst>
              <a:ext uri="{FF2B5EF4-FFF2-40B4-BE49-F238E27FC236}">
                <a16:creationId xmlns:a16="http://schemas.microsoft.com/office/drawing/2014/main" id="{432F3F53-BA94-690D-75BF-2C31599F3A4D}"/>
              </a:ext>
            </a:extLst>
          </p:cNvPr>
          <p:cNvPicPr>
            <a:picLocks noChangeAspect="1"/>
          </p:cNvPicPr>
          <p:nvPr/>
        </p:nvPicPr>
        <p:blipFill>
          <a:blip r:embed="rId7"/>
          <a:stretch>
            <a:fillRect/>
          </a:stretch>
        </p:blipFill>
        <p:spPr>
          <a:xfrm>
            <a:off x="7000967" y="2421922"/>
            <a:ext cx="2147517" cy="1136511"/>
          </a:xfrm>
          <a:prstGeom prst="rect">
            <a:avLst/>
          </a:prstGeom>
        </p:spPr>
      </p:pic>
      <p:cxnSp>
        <p:nvCxnSpPr>
          <p:cNvPr id="17" name="Straight Arrow Connector 16">
            <a:extLst>
              <a:ext uri="{FF2B5EF4-FFF2-40B4-BE49-F238E27FC236}">
                <a16:creationId xmlns:a16="http://schemas.microsoft.com/office/drawing/2014/main" id="{A15BB1B1-9746-6BAC-ABEB-9FE39548A124}"/>
              </a:ext>
            </a:extLst>
          </p:cNvPr>
          <p:cNvCxnSpPr>
            <a:cxnSpLocks/>
          </p:cNvCxnSpPr>
          <p:nvPr/>
        </p:nvCxnSpPr>
        <p:spPr>
          <a:xfrm>
            <a:off x="7592608" y="2251971"/>
            <a:ext cx="276282" cy="100113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616F400B-A7FE-3276-101F-B5002049383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1741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8" name="The distance between the headline and the start of the body copy is always constant.…">
            <a:extLst>
              <a:ext uri="{FF2B5EF4-FFF2-40B4-BE49-F238E27FC236}">
                <a16:creationId xmlns:a16="http://schemas.microsoft.com/office/drawing/2014/main" id="{180A10C2-5446-4BB5-9DDF-263CA9F4DC00}"/>
              </a:ext>
            </a:extLst>
          </p:cNvPr>
          <p:cNvSpPr txBox="1">
            <a:spLocks/>
          </p:cNvSpPr>
          <p:nvPr/>
        </p:nvSpPr>
        <p:spPr bwMode="gray">
          <a:xfrm>
            <a:off x="540000" y="972000"/>
            <a:ext cx="6025260"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do not </a:t>
            </a:r>
            <a:r>
              <a:rPr lang="nb-NO" sz="1600" err="1"/>
              <a:t>want</a:t>
            </a:r>
            <a:r>
              <a:rPr lang="nb-NO" sz="1600"/>
              <a:t> </a:t>
            </a:r>
            <a:r>
              <a:rPr lang="nb-NO" sz="1600" err="1"/>
              <a:t>number</a:t>
            </a:r>
            <a:r>
              <a:rPr lang="nb-NO" sz="1600"/>
              <a:t> </a:t>
            </a:r>
            <a:r>
              <a:rPr lang="nb-NO" sz="1600" err="1"/>
              <a:t>of</a:t>
            </a:r>
            <a:r>
              <a:rPr lang="nb-NO" sz="1600"/>
              <a:t> </a:t>
            </a:r>
            <a:r>
              <a:rPr lang="nb-NO" sz="1600" err="1"/>
              <a:t>clients</a:t>
            </a:r>
            <a:r>
              <a:rPr lang="nb-NO" sz="1600"/>
              <a:t> to show as </a:t>
            </a:r>
            <a:r>
              <a:rPr lang="nb-NO" sz="1600" err="1"/>
              <a:t>percent</a:t>
            </a:r>
            <a:endParaRPr lang="nb-NO" sz="1600"/>
          </a:p>
          <a:p>
            <a:pPr>
              <a:lnSpc>
                <a:spcPct val="110000"/>
              </a:lnSpc>
            </a:pPr>
            <a:r>
              <a:rPr lang="nb-NO" sz="1600" err="1"/>
              <a:t>We</a:t>
            </a:r>
            <a:r>
              <a:rPr lang="nb-NO" sz="1600"/>
              <a:t> </a:t>
            </a:r>
            <a:r>
              <a:rPr lang="nb-NO" sz="1600" err="1"/>
              <a:t>use</a:t>
            </a:r>
            <a:r>
              <a:rPr lang="nb-NO" sz="1600"/>
              <a:t> an </a:t>
            </a:r>
            <a:r>
              <a:rPr lang="nb-NO" sz="1600" err="1"/>
              <a:t>override</a:t>
            </a:r>
            <a:r>
              <a:rPr lang="nb-NO" sz="1600"/>
              <a:t> for </a:t>
            </a:r>
            <a:r>
              <a:rPr lang="nb-NO" sz="1600" err="1"/>
              <a:t>the</a:t>
            </a:r>
            <a:r>
              <a:rPr lang="nb-NO" sz="1600"/>
              <a:t> Clients </a:t>
            </a:r>
            <a:r>
              <a:rPr lang="nb-NO" sz="1600" err="1"/>
              <a:t>graph</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a:p>
            <a:pPr>
              <a:lnSpc>
                <a:spcPct val="110000"/>
              </a:lnSpc>
            </a:pPr>
            <a:r>
              <a:rPr lang="nb-NO" sz="1600"/>
              <a:t>Select </a:t>
            </a:r>
            <a:r>
              <a:rPr lang="nb-NO" sz="1600" err="1"/>
              <a:t>the</a:t>
            </a:r>
            <a:r>
              <a:rPr lang="nb-NO" sz="1600"/>
              <a:t> </a:t>
            </a:r>
            <a:r>
              <a:rPr lang="nb-NO" sz="1600" err="1"/>
              <a:t>regex-override</a:t>
            </a:r>
            <a:endParaRPr lang="nb-NO" sz="1600"/>
          </a:p>
        </p:txBody>
      </p:sp>
      <p:pic>
        <p:nvPicPr>
          <p:cNvPr id="7" name="Picture 6">
            <a:extLst>
              <a:ext uri="{FF2B5EF4-FFF2-40B4-BE49-F238E27FC236}">
                <a16:creationId xmlns:a16="http://schemas.microsoft.com/office/drawing/2014/main" id="{DAC0C2CC-95F0-1CFF-260C-BD6D830D7B4E}"/>
              </a:ext>
            </a:extLst>
          </p:cNvPr>
          <p:cNvPicPr>
            <a:picLocks noChangeAspect="1"/>
          </p:cNvPicPr>
          <p:nvPr/>
        </p:nvPicPr>
        <p:blipFill>
          <a:blip r:embed="rId3"/>
          <a:stretch>
            <a:fillRect/>
          </a:stretch>
        </p:blipFill>
        <p:spPr>
          <a:xfrm>
            <a:off x="560926" y="1944978"/>
            <a:ext cx="5534279" cy="1477997"/>
          </a:xfrm>
          <a:prstGeom prst="rect">
            <a:avLst/>
          </a:prstGeom>
        </p:spPr>
      </p:pic>
      <p:cxnSp>
        <p:nvCxnSpPr>
          <p:cNvPr id="9" name="Straight Arrow Connector 8">
            <a:extLst>
              <a:ext uri="{FF2B5EF4-FFF2-40B4-BE49-F238E27FC236}">
                <a16:creationId xmlns:a16="http://schemas.microsoft.com/office/drawing/2014/main" id="{8471E704-0263-1927-DFCA-B0F3AFD77F2B}"/>
              </a:ext>
            </a:extLst>
          </p:cNvPr>
          <p:cNvCxnSpPr>
            <a:cxnSpLocks/>
          </p:cNvCxnSpPr>
          <p:nvPr/>
        </p:nvCxnSpPr>
        <p:spPr>
          <a:xfrm>
            <a:off x="2458153" y="1834816"/>
            <a:ext cx="1774482" cy="114045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E294D77F-E1BA-D1C5-A7B9-CFEE5B6E282E}"/>
              </a:ext>
            </a:extLst>
          </p:cNvPr>
          <p:cNvPicPr>
            <a:picLocks noChangeAspect="1"/>
          </p:cNvPicPr>
          <p:nvPr/>
        </p:nvPicPr>
        <p:blipFill>
          <a:blip r:embed="rId4"/>
          <a:stretch>
            <a:fillRect/>
          </a:stretch>
        </p:blipFill>
        <p:spPr>
          <a:xfrm>
            <a:off x="560927" y="3579790"/>
            <a:ext cx="5534279" cy="482055"/>
          </a:xfrm>
          <a:prstGeom prst="rect">
            <a:avLst/>
          </a:prstGeom>
        </p:spPr>
      </p:pic>
      <p:pic>
        <p:nvPicPr>
          <p:cNvPr id="16" name="Picture 15">
            <a:extLst>
              <a:ext uri="{FF2B5EF4-FFF2-40B4-BE49-F238E27FC236}">
                <a16:creationId xmlns:a16="http://schemas.microsoft.com/office/drawing/2014/main" id="{D23964F5-9FDA-6D8F-CFB6-38CF808E6A6E}"/>
              </a:ext>
            </a:extLst>
          </p:cNvPr>
          <p:cNvPicPr>
            <a:picLocks noChangeAspect="1"/>
          </p:cNvPicPr>
          <p:nvPr/>
        </p:nvPicPr>
        <p:blipFill>
          <a:blip r:embed="rId5"/>
          <a:stretch>
            <a:fillRect/>
          </a:stretch>
        </p:blipFill>
        <p:spPr>
          <a:xfrm>
            <a:off x="560926" y="4577851"/>
            <a:ext cx="4372987" cy="1420992"/>
          </a:xfrm>
          <a:prstGeom prst="rect">
            <a:avLst/>
          </a:prstGeom>
        </p:spPr>
      </p:pic>
      <p:cxnSp>
        <p:nvCxnSpPr>
          <p:cNvPr id="22" name="Straight Arrow Connector 21">
            <a:extLst>
              <a:ext uri="{FF2B5EF4-FFF2-40B4-BE49-F238E27FC236}">
                <a16:creationId xmlns:a16="http://schemas.microsoft.com/office/drawing/2014/main" id="{29A75A74-57D3-4375-477D-3500D5E16FAF}"/>
              </a:ext>
            </a:extLst>
          </p:cNvPr>
          <p:cNvCxnSpPr>
            <a:cxnSpLocks/>
          </p:cNvCxnSpPr>
          <p:nvPr/>
        </p:nvCxnSpPr>
        <p:spPr>
          <a:xfrm>
            <a:off x="2597594" y="4662815"/>
            <a:ext cx="352996" cy="92007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7" name="TextBox 26">
            <a:extLst>
              <a:ext uri="{FF2B5EF4-FFF2-40B4-BE49-F238E27FC236}">
                <a16:creationId xmlns:a16="http://schemas.microsoft.com/office/drawing/2014/main" id="{0C9B3328-F0DF-A0EE-C007-2C5C8B84351B}"/>
              </a:ext>
            </a:extLst>
          </p:cNvPr>
          <p:cNvSpPr txBox="1"/>
          <p:nvPr/>
        </p:nvSpPr>
        <p:spPr>
          <a:xfrm>
            <a:off x="6814321" y="1196840"/>
            <a:ext cx="5376092" cy="368691"/>
          </a:xfrm>
          <a:prstGeom prst="rect">
            <a:avLst/>
          </a:prstGeom>
          <a:noFill/>
        </p:spPr>
        <p:txBody>
          <a:bodyPr wrap="square">
            <a:spAutoFit/>
          </a:bodyPr>
          <a:lstStyle/>
          <a:p>
            <a:pPr>
              <a:lnSpc>
                <a:spcPct val="110000"/>
              </a:lnSpc>
            </a:pPr>
            <a:r>
              <a:rPr lang="nb-NO" sz="1800"/>
              <a:t>Standard </a:t>
            </a:r>
            <a:r>
              <a:rPr lang="nb-NO" sz="1800" err="1"/>
              <a:t>options</a:t>
            </a:r>
            <a:r>
              <a:rPr lang="nb-NO" sz="1800"/>
              <a:t> &gt; Unit</a:t>
            </a:r>
          </a:p>
        </p:txBody>
      </p:sp>
      <p:sp>
        <p:nvSpPr>
          <p:cNvPr id="34" name="TextBox 33">
            <a:extLst>
              <a:ext uri="{FF2B5EF4-FFF2-40B4-BE49-F238E27FC236}">
                <a16:creationId xmlns:a16="http://schemas.microsoft.com/office/drawing/2014/main" id="{617DB6D2-8B05-D6A3-90A9-E9984734374A}"/>
              </a:ext>
            </a:extLst>
          </p:cNvPr>
          <p:cNvSpPr txBox="1"/>
          <p:nvPr/>
        </p:nvSpPr>
        <p:spPr>
          <a:xfrm>
            <a:off x="6807619" y="3118902"/>
            <a:ext cx="5382794" cy="368691"/>
          </a:xfrm>
          <a:prstGeom prst="rect">
            <a:avLst/>
          </a:prstGeom>
          <a:noFill/>
        </p:spPr>
        <p:txBody>
          <a:bodyPr wrap="square">
            <a:spAutoFit/>
          </a:bodyPr>
          <a:lstStyle/>
          <a:p>
            <a:pPr>
              <a:lnSpc>
                <a:spcPct val="110000"/>
              </a:lnSpc>
            </a:pPr>
            <a:r>
              <a:rPr lang="nb-NO" sz="1800"/>
              <a:t>Standard </a:t>
            </a:r>
            <a:r>
              <a:rPr lang="nb-NO" sz="1800" err="1"/>
              <a:t>options</a:t>
            </a:r>
            <a:r>
              <a:rPr lang="nb-NO" sz="1800"/>
              <a:t> &gt; Unit = </a:t>
            </a:r>
            <a:r>
              <a:rPr lang="nb-NO" sz="1800" err="1"/>
              <a:t>short</a:t>
            </a:r>
            <a:endParaRPr lang="nb-NO" sz="1800"/>
          </a:p>
        </p:txBody>
      </p:sp>
      <p:pic>
        <p:nvPicPr>
          <p:cNvPr id="5" name="Picture 4">
            <a:extLst>
              <a:ext uri="{FF2B5EF4-FFF2-40B4-BE49-F238E27FC236}">
                <a16:creationId xmlns:a16="http://schemas.microsoft.com/office/drawing/2014/main" id="{1024A109-9523-56FA-9534-DF59249F5040}"/>
              </a:ext>
            </a:extLst>
          </p:cNvPr>
          <p:cNvPicPr>
            <a:picLocks noChangeAspect="1"/>
          </p:cNvPicPr>
          <p:nvPr/>
        </p:nvPicPr>
        <p:blipFill>
          <a:blip r:embed="rId6"/>
          <a:stretch>
            <a:fillRect/>
          </a:stretch>
        </p:blipFill>
        <p:spPr>
          <a:xfrm>
            <a:off x="6807619" y="297133"/>
            <a:ext cx="3490730" cy="901404"/>
          </a:xfrm>
          <a:prstGeom prst="rect">
            <a:avLst/>
          </a:prstGeom>
        </p:spPr>
      </p:pic>
      <p:pic>
        <p:nvPicPr>
          <p:cNvPr id="10" name="Picture 9">
            <a:extLst>
              <a:ext uri="{FF2B5EF4-FFF2-40B4-BE49-F238E27FC236}">
                <a16:creationId xmlns:a16="http://schemas.microsoft.com/office/drawing/2014/main" id="{9673614F-FED5-9875-838D-F1B119CC0DF4}"/>
              </a:ext>
            </a:extLst>
          </p:cNvPr>
          <p:cNvPicPr>
            <a:picLocks noChangeAspect="1"/>
          </p:cNvPicPr>
          <p:nvPr/>
        </p:nvPicPr>
        <p:blipFill>
          <a:blip r:embed="rId7"/>
          <a:stretch>
            <a:fillRect/>
          </a:stretch>
        </p:blipFill>
        <p:spPr>
          <a:xfrm>
            <a:off x="6807620" y="1565162"/>
            <a:ext cx="3490730" cy="1517327"/>
          </a:xfrm>
          <a:prstGeom prst="rect">
            <a:avLst/>
          </a:prstGeom>
        </p:spPr>
      </p:pic>
      <p:cxnSp>
        <p:nvCxnSpPr>
          <p:cNvPr id="33" name="Straight Arrow Connector 32">
            <a:extLst>
              <a:ext uri="{FF2B5EF4-FFF2-40B4-BE49-F238E27FC236}">
                <a16:creationId xmlns:a16="http://schemas.microsoft.com/office/drawing/2014/main" id="{3FBE79D5-8528-2FF4-F59B-5C7B199048AE}"/>
              </a:ext>
            </a:extLst>
          </p:cNvPr>
          <p:cNvCxnSpPr>
            <a:cxnSpLocks/>
          </p:cNvCxnSpPr>
          <p:nvPr/>
        </p:nvCxnSpPr>
        <p:spPr>
          <a:xfrm flipH="1">
            <a:off x="8483413" y="1555933"/>
            <a:ext cx="857437" cy="126138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3" name="Picture 12">
            <a:extLst>
              <a:ext uri="{FF2B5EF4-FFF2-40B4-BE49-F238E27FC236}">
                <a16:creationId xmlns:a16="http://schemas.microsoft.com/office/drawing/2014/main" id="{2807E262-921A-3A0B-45A8-C9CDBA27C453}"/>
              </a:ext>
            </a:extLst>
          </p:cNvPr>
          <p:cNvPicPr>
            <a:picLocks noChangeAspect="1"/>
          </p:cNvPicPr>
          <p:nvPr/>
        </p:nvPicPr>
        <p:blipFill>
          <a:blip r:embed="rId8"/>
          <a:stretch>
            <a:fillRect/>
          </a:stretch>
        </p:blipFill>
        <p:spPr>
          <a:xfrm>
            <a:off x="6807620" y="3469434"/>
            <a:ext cx="3490730" cy="1447162"/>
          </a:xfrm>
          <a:prstGeom prst="rect">
            <a:avLst/>
          </a:prstGeom>
        </p:spPr>
      </p:pic>
      <p:cxnSp>
        <p:nvCxnSpPr>
          <p:cNvPr id="36" name="Straight Arrow Connector 35">
            <a:extLst>
              <a:ext uri="{FF2B5EF4-FFF2-40B4-BE49-F238E27FC236}">
                <a16:creationId xmlns:a16="http://schemas.microsoft.com/office/drawing/2014/main" id="{FDBCBEF1-58A8-A812-8FB1-33E9D9F2292D}"/>
              </a:ext>
            </a:extLst>
          </p:cNvPr>
          <p:cNvCxnSpPr>
            <a:cxnSpLocks/>
          </p:cNvCxnSpPr>
          <p:nvPr/>
        </p:nvCxnSpPr>
        <p:spPr>
          <a:xfrm flipH="1">
            <a:off x="7607431" y="3429000"/>
            <a:ext cx="2593641" cy="128567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5" name="Picture 14" descr="A blue logo with a black background&#10;&#10;Description automatically generated">
            <a:extLst>
              <a:ext uri="{FF2B5EF4-FFF2-40B4-BE49-F238E27FC236}">
                <a16:creationId xmlns:a16="http://schemas.microsoft.com/office/drawing/2014/main" id="{5BA09165-4E49-AEA7-CA2E-B36AD1B1AD5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88932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799"/>
            <a:ext cx="8061075" cy="5105655"/>
          </a:xfrm>
        </p:spPr>
        <p:txBody>
          <a:bodyPr>
            <a:normAutofit/>
          </a:bodyPr>
          <a:lstStyle/>
          <a:p>
            <a:pPr>
              <a:lnSpc>
                <a:spcPct val="110000"/>
              </a:lnSpc>
            </a:pPr>
            <a:r>
              <a:rPr lang="nb-NO" sz="1600" b="1"/>
              <a:t>(</a:t>
            </a:r>
            <a:r>
              <a:rPr lang="nb-NO" sz="1600" b="1" err="1"/>
              <a:t>Optional</a:t>
            </a:r>
            <a:r>
              <a:rPr lang="nb-NO" sz="1600" b="1"/>
              <a:t>) </a:t>
            </a:r>
            <a:r>
              <a:rPr lang="nb-NO" sz="1600" err="1"/>
              <a:t>Tooltip</a:t>
            </a:r>
            <a:r>
              <a:rPr lang="nb-NO" sz="1600"/>
              <a:t> -&gt; </a:t>
            </a:r>
            <a:r>
              <a:rPr lang="nb-NO" sz="1600" err="1"/>
              <a:t>Tooltip</a:t>
            </a:r>
            <a:r>
              <a:rPr lang="nb-NO" sz="1600"/>
              <a:t> mode: All</a:t>
            </a:r>
          </a:p>
          <a:p>
            <a:pPr>
              <a:lnSpc>
                <a:spcPct val="110000"/>
              </a:lnSpc>
            </a:pPr>
            <a:r>
              <a:rPr lang="nb-NO" sz="1600" b="1"/>
              <a:t>(</a:t>
            </a:r>
            <a:r>
              <a:rPr lang="nb-NO" sz="1600" b="1" err="1"/>
              <a:t>Optional</a:t>
            </a:r>
            <a:r>
              <a:rPr lang="nb-NO" sz="1600" b="1"/>
              <a:t>) </a:t>
            </a:r>
            <a:r>
              <a:rPr lang="nb-NO" sz="1600" err="1"/>
              <a:t>Legend</a:t>
            </a:r>
            <a:endParaRPr lang="nb-NO" sz="1600"/>
          </a:p>
          <a:p>
            <a:pPr lvl="1">
              <a:lnSpc>
                <a:spcPct val="110000"/>
              </a:lnSpc>
            </a:pPr>
            <a:r>
              <a:rPr lang="nb-NO" sz="1400"/>
              <a:t>Mode: </a:t>
            </a:r>
            <a:r>
              <a:rPr lang="nb-NO" sz="1400" err="1"/>
              <a:t>Table</a:t>
            </a:r>
            <a:endParaRPr lang="nb-NO" sz="1400"/>
          </a:p>
          <a:p>
            <a:pPr lvl="1">
              <a:lnSpc>
                <a:spcPct val="110000"/>
              </a:lnSpc>
            </a:pPr>
            <a:r>
              <a:rPr lang="nb-NO" sz="1400"/>
              <a:t>Placement: Right</a:t>
            </a:r>
          </a:p>
          <a:p>
            <a:pPr lvl="1">
              <a:lnSpc>
                <a:spcPct val="110000"/>
              </a:lnSpc>
            </a:pPr>
            <a:r>
              <a:rPr lang="nb-NO" sz="1400"/>
              <a:t>Values: Last*, Min &amp; Max</a:t>
            </a:r>
          </a:p>
          <a:p>
            <a:pPr>
              <a:lnSpc>
                <a:spcPct val="110000"/>
              </a:lnSpc>
            </a:pPr>
            <a:r>
              <a:rPr lang="nb-NO" sz="1600" b="1"/>
              <a:t>(</a:t>
            </a:r>
            <a:r>
              <a:rPr lang="nb-NO" sz="1600" b="1" err="1"/>
              <a:t>Optional</a:t>
            </a:r>
            <a:r>
              <a:rPr lang="nb-NO" sz="1600" b="1"/>
              <a:t>) </a:t>
            </a:r>
            <a:r>
              <a:rPr lang="nb-NO" sz="1600" err="1"/>
              <a:t>Thresholds</a:t>
            </a:r>
            <a:endParaRPr lang="nb-NO" sz="1600"/>
          </a:p>
          <a:p>
            <a:pPr lvl="1">
              <a:lnSpc>
                <a:spcPct val="110000"/>
              </a:lnSpc>
            </a:pPr>
            <a:r>
              <a:rPr lang="nb-NO" sz="1400"/>
              <a:t>35% (Red)</a:t>
            </a:r>
          </a:p>
          <a:p>
            <a:pPr lvl="1">
              <a:lnSpc>
                <a:spcPct val="110000"/>
              </a:lnSpc>
            </a:pPr>
            <a:r>
              <a:rPr lang="nb-NO" sz="1400" err="1"/>
              <a:t>Percentage</a:t>
            </a:r>
            <a:endParaRPr lang="nb-NO" sz="1400"/>
          </a:p>
          <a:p>
            <a:pPr lvl="1">
              <a:lnSpc>
                <a:spcPct val="110000"/>
              </a:lnSpc>
            </a:pPr>
            <a:r>
              <a:rPr lang="nb-NO" sz="1400"/>
              <a:t>As lines (</a:t>
            </a:r>
            <a:r>
              <a:rPr lang="nb-NO" sz="1400" err="1"/>
              <a:t>dashed</a:t>
            </a:r>
            <a:r>
              <a:rPr lang="nb-NO" sz="1400"/>
              <a:t>)</a:t>
            </a:r>
          </a:p>
          <a:p>
            <a:pPr>
              <a:lnSpc>
                <a:spcPct val="110000"/>
              </a:lnSpc>
            </a:pPr>
            <a:r>
              <a:rPr lang="nb-NO" sz="1600" b="1"/>
              <a:t>(</a:t>
            </a:r>
            <a:r>
              <a:rPr lang="nb-NO" sz="1600" b="1" err="1"/>
              <a:t>Optional</a:t>
            </a:r>
            <a:r>
              <a:rPr lang="nb-NO" sz="1600" b="1"/>
              <a:t>) </a:t>
            </a:r>
            <a:r>
              <a:rPr lang="nb-NO" sz="1600"/>
              <a:t>Graph styles</a:t>
            </a:r>
          </a:p>
          <a:p>
            <a:pPr lvl="1">
              <a:lnSpc>
                <a:spcPct val="110000"/>
              </a:lnSpc>
            </a:pPr>
            <a:r>
              <a:rPr lang="nb-NO" sz="1400" err="1"/>
              <a:t>Fill</a:t>
            </a:r>
            <a:r>
              <a:rPr lang="nb-NO" sz="1400"/>
              <a:t> </a:t>
            </a:r>
            <a:r>
              <a:rPr lang="nb-NO" sz="1400" err="1"/>
              <a:t>opacity</a:t>
            </a:r>
            <a:r>
              <a:rPr lang="nb-NO" sz="1400"/>
              <a:t>: 10</a:t>
            </a:r>
          </a:p>
          <a:p>
            <a:pPr>
              <a:lnSpc>
                <a:spcPct val="110000"/>
              </a:lnSpc>
            </a:pPr>
            <a:r>
              <a:rPr lang="nb-NO" err="1"/>
              <a:t>Remember</a:t>
            </a:r>
            <a:r>
              <a:rPr lang="nb-NO"/>
              <a:t> to </a:t>
            </a:r>
            <a:r>
              <a:rPr lang="nb-NO" err="1"/>
              <a:t>apply</a:t>
            </a:r>
            <a:r>
              <a:rPr lang="nb-NO"/>
              <a:t> </a:t>
            </a:r>
            <a:r>
              <a:rPr lang="nb-NO" err="1"/>
              <a:t>changes</a:t>
            </a:r>
            <a:endParaRPr lang="nb-NO"/>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16" name="The distance between the headline and the start of the body copy is always constant.…">
            <a:extLst>
              <a:ext uri="{FF2B5EF4-FFF2-40B4-BE49-F238E27FC236}">
                <a16:creationId xmlns:a16="http://schemas.microsoft.com/office/drawing/2014/main" id="{339188E5-37DB-E3A5-28A7-48951F65FD19}"/>
              </a:ext>
            </a:extLst>
          </p:cNvPr>
          <p:cNvSpPr txBox="1">
            <a:spLocks/>
          </p:cNvSpPr>
          <p:nvPr/>
        </p:nvSpPr>
        <p:spPr bwMode="gray">
          <a:xfrm>
            <a:off x="8126708" y="242369"/>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Graph </a:t>
            </a:r>
            <a:r>
              <a:rPr lang="nb-NO" sz="1600" err="1"/>
              <a:t>colors</a:t>
            </a:r>
            <a:endParaRPr lang="nb-NO" sz="1600"/>
          </a:p>
        </p:txBody>
      </p:sp>
      <p:pic>
        <p:nvPicPr>
          <p:cNvPr id="5" name="Picture 4">
            <a:extLst>
              <a:ext uri="{FF2B5EF4-FFF2-40B4-BE49-F238E27FC236}">
                <a16:creationId xmlns:a16="http://schemas.microsoft.com/office/drawing/2014/main" id="{0B02106E-C229-85D6-0678-A33DB39E7C3A}"/>
              </a:ext>
            </a:extLst>
          </p:cNvPr>
          <p:cNvPicPr>
            <a:picLocks noChangeAspect="1"/>
          </p:cNvPicPr>
          <p:nvPr/>
        </p:nvPicPr>
        <p:blipFill>
          <a:blip r:embed="rId3"/>
          <a:stretch>
            <a:fillRect/>
          </a:stretch>
        </p:blipFill>
        <p:spPr>
          <a:xfrm>
            <a:off x="8126708" y="676234"/>
            <a:ext cx="1503675" cy="925816"/>
          </a:xfrm>
          <a:prstGeom prst="rect">
            <a:avLst/>
          </a:prstGeom>
        </p:spPr>
      </p:pic>
      <p:pic>
        <p:nvPicPr>
          <p:cNvPr id="11" name="Picture 10">
            <a:extLst>
              <a:ext uri="{FF2B5EF4-FFF2-40B4-BE49-F238E27FC236}">
                <a16:creationId xmlns:a16="http://schemas.microsoft.com/office/drawing/2014/main" id="{E2B53966-16EC-6009-E38A-126AE1138445}"/>
              </a:ext>
            </a:extLst>
          </p:cNvPr>
          <p:cNvPicPr>
            <a:picLocks noChangeAspect="1"/>
          </p:cNvPicPr>
          <p:nvPr/>
        </p:nvPicPr>
        <p:blipFill>
          <a:blip r:embed="rId4"/>
          <a:stretch>
            <a:fillRect/>
          </a:stretch>
        </p:blipFill>
        <p:spPr>
          <a:xfrm>
            <a:off x="4710809" y="2185480"/>
            <a:ext cx="7323961" cy="3778459"/>
          </a:xfrm>
          <a:prstGeom prst="rect">
            <a:avLst/>
          </a:prstGeom>
        </p:spPr>
      </p:pic>
      <p:cxnSp>
        <p:nvCxnSpPr>
          <p:cNvPr id="17" name="Straight Arrow Connector 16">
            <a:extLst>
              <a:ext uri="{FF2B5EF4-FFF2-40B4-BE49-F238E27FC236}">
                <a16:creationId xmlns:a16="http://schemas.microsoft.com/office/drawing/2014/main" id="{A15BB1B1-9746-6BAC-ABEB-9FE39548A124}"/>
              </a:ext>
            </a:extLst>
          </p:cNvPr>
          <p:cNvCxnSpPr>
            <a:cxnSpLocks/>
            <a:endCxn id="5" idx="2"/>
          </p:cNvCxnSpPr>
          <p:nvPr/>
        </p:nvCxnSpPr>
        <p:spPr>
          <a:xfrm flipH="1" flipV="1">
            <a:off x="8878546" y="1602050"/>
            <a:ext cx="751837" cy="128382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The distance between the headline and the start of the body copy is always constant.…">
            <a:extLst>
              <a:ext uri="{FF2B5EF4-FFF2-40B4-BE49-F238E27FC236}">
                <a16:creationId xmlns:a16="http://schemas.microsoft.com/office/drawing/2014/main" id="{3A1DBECD-E0BB-E872-E7F1-BFF05131CA64}"/>
              </a:ext>
            </a:extLst>
          </p:cNvPr>
          <p:cNvSpPr txBox="1">
            <a:spLocks/>
          </p:cNvSpPr>
          <p:nvPr/>
        </p:nvSpPr>
        <p:spPr bwMode="gray">
          <a:xfrm>
            <a:off x="10118330" y="259435"/>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Time range</a:t>
            </a:r>
          </a:p>
        </p:txBody>
      </p:sp>
      <p:sp>
        <p:nvSpPr>
          <p:cNvPr id="18" name="The distance between the headline and the start of the body copy is always constant.…">
            <a:extLst>
              <a:ext uri="{FF2B5EF4-FFF2-40B4-BE49-F238E27FC236}">
                <a16:creationId xmlns:a16="http://schemas.microsoft.com/office/drawing/2014/main" id="{D2DDF42D-5B51-0099-63A9-F7FA84C65A80}"/>
              </a:ext>
            </a:extLst>
          </p:cNvPr>
          <p:cNvSpPr txBox="1">
            <a:spLocks/>
          </p:cNvSpPr>
          <p:nvPr/>
        </p:nvSpPr>
        <p:spPr bwMode="gray">
          <a:xfrm>
            <a:off x="5390425" y="416700"/>
            <a:ext cx="1848397" cy="651692"/>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a:t>Select variable</a:t>
            </a:r>
          </a:p>
        </p:txBody>
      </p:sp>
      <p:pic>
        <p:nvPicPr>
          <p:cNvPr id="20" name="Picture 19">
            <a:extLst>
              <a:ext uri="{FF2B5EF4-FFF2-40B4-BE49-F238E27FC236}">
                <a16:creationId xmlns:a16="http://schemas.microsoft.com/office/drawing/2014/main" id="{C7F6C538-0825-A283-B4CE-DD2C0C435C56}"/>
              </a:ext>
            </a:extLst>
          </p:cNvPr>
          <p:cNvPicPr>
            <a:picLocks noChangeAspect="1"/>
          </p:cNvPicPr>
          <p:nvPr/>
        </p:nvPicPr>
        <p:blipFill>
          <a:blip r:embed="rId5"/>
          <a:stretch>
            <a:fillRect/>
          </a:stretch>
        </p:blipFill>
        <p:spPr>
          <a:xfrm>
            <a:off x="5395711" y="949693"/>
            <a:ext cx="1309889" cy="635098"/>
          </a:xfrm>
          <a:prstGeom prst="rect">
            <a:avLst/>
          </a:prstGeom>
        </p:spPr>
      </p:pic>
      <p:cxnSp>
        <p:nvCxnSpPr>
          <p:cNvPr id="21" name="Straight Arrow Connector 20">
            <a:extLst>
              <a:ext uri="{FF2B5EF4-FFF2-40B4-BE49-F238E27FC236}">
                <a16:creationId xmlns:a16="http://schemas.microsoft.com/office/drawing/2014/main" id="{30B39F66-DE5F-025A-D9CA-A2D7816DC6F4}"/>
              </a:ext>
            </a:extLst>
          </p:cNvPr>
          <p:cNvCxnSpPr>
            <a:cxnSpLocks/>
          </p:cNvCxnSpPr>
          <p:nvPr/>
        </p:nvCxnSpPr>
        <p:spPr>
          <a:xfrm flipV="1">
            <a:off x="5526650" y="1568626"/>
            <a:ext cx="514654" cy="64191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4" name="Picture 23">
            <a:extLst>
              <a:ext uri="{FF2B5EF4-FFF2-40B4-BE49-F238E27FC236}">
                <a16:creationId xmlns:a16="http://schemas.microsoft.com/office/drawing/2014/main" id="{7C98043E-4284-5E17-1494-8B25D8C39AC8}"/>
              </a:ext>
            </a:extLst>
          </p:cNvPr>
          <p:cNvPicPr>
            <a:picLocks noChangeAspect="1"/>
          </p:cNvPicPr>
          <p:nvPr/>
        </p:nvPicPr>
        <p:blipFill>
          <a:blip r:embed="rId6"/>
          <a:stretch>
            <a:fillRect/>
          </a:stretch>
        </p:blipFill>
        <p:spPr>
          <a:xfrm>
            <a:off x="10148266" y="680381"/>
            <a:ext cx="1349827" cy="1041076"/>
          </a:xfrm>
          <a:prstGeom prst="rect">
            <a:avLst/>
          </a:prstGeom>
        </p:spPr>
      </p:pic>
      <p:cxnSp>
        <p:nvCxnSpPr>
          <p:cNvPr id="25" name="Straight Arrow Connector 24">
            <a:extLst>
              <a:ext uri="{FF2B5EF4-FFF2-40B4-BE49-F238E27FC236}">
                <a16:creationId xmlns:a16="http://schemas.microsoft.com/office/drawing/2014/main" id="{82DDF8C8-4574-5288-41E0-3C22D7AD9214}"/>
              </a:ext>
            </a:extLst>
          </p:cNvPr>
          <p:cNvCxnSpPr>
            <a:cxnSpLocks/>
          </p:cNvCxnSpPr>
          <p:nvPr/>
        </p:nvCxnSpPr>
        <p:spPr>
          <a:xfrm flipH="1" flipV="1">
            <a:off x="11027955" y="1721457"/>
            <a:ext cx="162665" cy="50524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8" name="Picture 27">
            <a:extLst>
              <a:ext uri="{FF2B5EF4-FFF2-40B4-BE49-F238E27FC236}">
                <a16:creationId xmlns:a16="http://schemas.microsoft.com/office/drawing/2014/main" id="{4AA29CEF-49EA-6D2C-0E6D-50383CE9A31D}"/>
              </a:ext>
            </a:extLst>
          </p:cNvPr>
          <p:cNvPicPr>
            <a:picLocks noChangeAspect="1"/>
          </p:cNvPicPr>
          <p:nvPr/>
        </p:nvPicPr>
        <p:blipFill>
          <a:blip r:embed="rId7"/>
          <a:stretch>
            <a:fillRect/>
          </a:stretch>
        </p:blipFill>
        <p:spPr>
          <a:xfrm>
            <a:off x="1807910" y="5629095"/>
            <a:ext cx="1933845" cy="438211"/>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D54E82D2-1FEB-215D-8710-EC3A5885FEC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39211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8B40C26-7848-3AE7-EEF0-ABA2629B36BF}"/>
              </a:ext>
            </a:extLst>
          </p:cNvPr>
          <p:cNvPicPr>
            <a:picLocks noChangeAspect="1"/>
          </p:cNvPicPr>
          <p:nvPr/>
        </p:nvPicPr>
        <p:blipFill>
          <a:blip r:embed="rId3"/>
          <a:stretch>
            <a:fillRect/>
          </a:stretch>
        </p:blipFill>
        <p:spPr>
          <a:xfrm>
            <a:off x="7493676" y="702000"/>
            <a:ext cx="4696737" cy="1882895"/>
          </a:xfrm>
          <a:prstGeom prst="rect">
            <a:avLst/>
          </a:prstGeom>
        </p:spPr>
      </p:pic>
      <p:sp>
        <p:nvSpPr>
          <p:cNvPr id="181" name="The distance between the headline and the start of the body copy is always constant.…"/>
          <p:cNvSpPr txBox="1">
            <a:spLocks noGrp="1"/>
          </p:cNvSpPr>
          <p:nvPr>
            <p:ph idx="1"/>
          </p:nvPr>
        </p:nvSpPr>
        <p:spPr>
          <a:xfrm>
            <a:off x="539999" y="1009799"/>
            <a:ext cx="8061075" cy="5105655"/>
          </a:xfrm>
        </p:spPr>
        <p:txBody>
          <a:bodyPr>
            <a:normAutofit/>
          </a:bodyPr>
          <a:lstStyle/>
          <a:p>
            <a:pPr>
              <a:lnSpc>
                <a:spcPct val="110000"/>
              </a:lnSpc>
            </a:pPr>
            <a:r>
              <a:rPr lang="nb-NO" sz="1600" dirty="0"/>
              <a:t>If </a:t>
            </a:r>
            <a:r>
              <a:rPr lang="nb-NO" sz="1600" dirty="0" err="1"/>
              <a:t>you</a:t>
            </a:r>
            <a:r>
              <a:rPr lang="nb-NO" sz="1600" dirty="0"/>
              <a:t> </a:t>
            </a:r>
            <a:r>
              <a:rPr lang="nb-NO" sz="1600" dirty="0" err="1"/>
              <a:t>want</a:t>
            </a:r>
            <a:r>
              <a:rPr lang="nb-NO" sz="1600" dirty="0"/>
              <a:t> to save </a:t>
            </a:r>
            <a:r>
              <a:rPr lang="nb-NO" sz="1600" dirty="0" err="1"/>
              <a:t>your</a:t>
            </a:r>
            <a:r>
              <a:rPr lang="nb-NO" sz="1600" dirty="0"/>
              <a:t> </a:t>
            </a:r>
            <a:r>
              <a:rPr lang="nb-NO" sz="1600" dirty="0" err="1"/>
              <a:t>work</a:t>
            </a:r>
            <a:r>
              <a:rPr lang="nb-NO" sz="1600" dirty="0"/>
              <a:t> as a «</a:t>
            </a:r>
            <a:r>
              <a:rPr lang="nb-NO" sz="1600" dirty="0" err="1"/>
              <a:t>template</a:t>
            </a:r>
            <a:r>
              <a:rPr lang="nb-NO" sz="1600" dirty="0"/>
              <a:t>»</a:t>
            </a:r>
          </a:p>
          <a:p>
            <a:pPr lvl="1">
              <a:lnSpc>
                <a:spcPct val="110000"/>
              </a:lnSpc>
            </a:pPr>
            <a:r>
              <a:rPr lang="nb-NO" sz="1400" dirty="0"/>
              <a:t>Great </a:t>
            </a:r>
            <a:r>
              <a:rPr lang="nb-NO" sz="1400" dirty="0" err="1"/>
              <a:t>when</a:t>
            </a:r>
            <a:r>
              <a:rPr lang="nb-NO" sz="1400" dirty="0"/>
              <a:t> </a:t>
            </a:r>
            <a:r>
              <a:rPr lang="nb-NO" sz="1400" dirty="0" err="1"/>
              <a:t>you</a:t>
            </a:r>
            <a:r>
              <a:rPr lang="nb-NO" sz="1400" dirty="0"/>
              <a:t> make </a:t>
            </a:r>
            <a:r>
              <a:rPr lang="nb-NO" sz="1400" dirty="0" err="1"/>
              <a:t>new</a:t>
            </a:r>
            <a:r>
              <a:rPr lang="nb-NO" sz="1400" dirty="0"/>
              <a:t> </a:t>
            </a:r>
            <a:r>
              <a:rPr lang="nb-NO" sz="1400" dirty="0" err="1"/>
              <a:t>dashboards</a:t>
            </a:r>
            <a:r>
              <a:rPr lang="nb-NO" sz="1400" dirty="0"/>
              <a:t>.</a:t>
            </a:r>
          </a:p>
          <a:p>
            <a:pPr>
              <a:lnSpc>
                <a:spcPct val="110000"/>
              </a:lnSpc>
            </a:pPr>
            <a:r>
              <a:rPr lang="nb-NO" sz="1600" b="1" dirty="0"/>
              <a:t>WARNING!</a:t>
            </a:r>
          </a:p>
          <a:p>
            <a:pPr lvl="1">
              <a:lnSpc>
                <a:spcPct val="110000"/>
              </a:lnSpc>
            </a:pPr>
            <a:r>
              <a:rPr lang="nb-NO" sz="1400" dirty="0" err="1"/>
              <a:t>Unlink</a:t>
            </a:r>
            <a:r>
              <a:rPr lang="nb-NO" sz="1400" dirty="0"/>
              <a:t> </a:t>
            </a:r>
            <a:r>
              <a:rPr lang="nb-NO" sz="1400" dirty="0" err="1"/>
              <a:t>the</a:t>
            </a:r>
            <a:r>
              <a:rPr lang="nb-NO" sz="1400" dirty="0"/>
              <a:t> panel </a:t>
            </a:r>
            <a:r>
              <a:rPr lang="nb-NO" sz="1400" dirty="0" err="1"/>
              <a:t>because</a:t>
            </a:r>
            <a:r>
              <a:rPr lang="nb-NO" sz="1400" dirty="0"/>
              <a:t> from </a:t>
            </a:r>
            <a:r>
              <a:rPr lang="nb-NO" sz="1400" dirty="0" err="1"/>
              <a:t>the</a:t>
            </a:r>
            <a:r>
              <a:rPr lang="nb-NO" sz="1400" dirty="0"/>
              <a:t> </a:t>
            </a:r>
            <a:r>
              <a:rPr lang="nb-NO" sz="1400" dirty="0" err="1"/>
              <a:t>template</a:t>
            </a:r>
            <a:r>
              <a:rPr lang="nb-NO" sz="1400" dirty="0"/>
              <a:t> (#2)</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2B84C098-D291-2F9E-2202-2245660284B7}"/>
              </a:ext>
            </a:extLst>
          </p:cNvPr>
          <p:cNvPicPr>
            <a:picLocks noChangeAspect="1"/>
          </p:cNvPicPr>
          <p:nvPr/>
        </p:nvPicPr>
        <p:blipFill>
          <a:blip r:embed="rId4"/>
          <a:stretch>
            <a:fillRect/>
          </a:stretch>
        </p:blipFill>
        <p:spPr>
          <a:xfrm>
            <a:off x="393570" y="2845499"/>
            <a:ext cx="6916115" cy="2857899"/>
          </a:xfrm>
          <a:prstGeom prst="rect">
            <a:avLst/>
          </a:prstGeom>
        </p:spPr>
      </p:pic>
      <p:pic>
        <p:nvPicPr>
          <p:cNvPr id="19" name="Picture 18">
            <a:extLst>
              <a:ext uri="{FF2B5EF4-FFF2-40B4-BE49-F238E27FC236}">
                <a16:creationId xmlns:a16="http://schemas.microsoft.com/office/drawing/2014/main" id="{A46106E6-8576-A2A2-4DB6-58115B296A86}"/>
              </a:ext>
            </a:extLst>
          </p:cNvPr>
          <p:cNvPicPr>
            <a:picLocks noChangeAspect="1"/>
          </p:cNvPicPr>
          <p:nvPr/>
        </p:nvPicPr>
        <p:blipFill>
          <a:blip r:embed="rId5"/>
          <a:stretch>
            <a:fillRect/>
          </a:stretch>
        </p:blipFill>
        <p:spPr>
          <a:xfrm>
            <a:off x="6958610" y="2871451"/>
            <a:ext cx="333422" cy="295316"/>
          </a:xfrm>
          <a:prstGeom prst="rect">
            <a:avLst/>
          </a:prstGeom>
        </p:spPr>
      </p:pic>
      <p:cxnSp>
        <p:nvCxnSpPr>
          <p:cNvPr id="7" name="Straight Arrow Connector 6">
            <a:extLst>
              <a:ext uri="{FF2B5EF4-FFF2-40B4-BE49-F238E27FC236}">
                <a16:creationId xmlns:a16="http://schemas.microsoft.com/office/drawing/2014/main" id="{5DEC0DC6-C37D-F71C-A406-0B0EEB86BA2E}"/>
              </a:ext>
            </a:extLst>
          </p:cNvPr>
          <p:cNvCxnSpPr>
            <a:cxnSpLocks/>
            <a:endCxn id="19" idx="1"/>
          </p:cNvCxnSpPr>
          <p:nvPr/>
        </p:nvCxnSpPr>
        <p:spPr>
          <a:xfrm>
            <a:off x="5541386" y="1509170"/>
            <a:ext cx="1417224" cy="150993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9" name="Straight Arrow Connector 8">
            <a:extLst>
              <a:ext uri="{FF2B5EF4-FFF2-40B4-BE49-F238E27FC236}">
                <a16:creationId xmlns:a16="http://schemas.microsoft.com/office/drawing/2014/main" id="{0066E16B-10AE-5344-1E17-B9398DFD43F8}"/>
              </a:ext>
            </a:extLst>
          </p:cNvPr>
          <p:cNvCxnSpPr>
            <a:cxnSpLocks/>
          </p:cNvCxnSpPr>
          <p:nvPr/>
        </p:nvCxnSpPr>
        <p:spPr>
          <a:xfrm flipH="1">
            <a:off x="6143523" y="3166767"/>
            <a:ext cx="838986" cy="161445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3" name="Straight Arrow Connector 22">
            <a:extLst>
              <a:ext uri="{FF2B5EF4-FFF2-40B4-BE49-F238E27FC236}">
                <a16:creationId xmlns:a16="http://schemas.microsoft.com/office/drawing/2014/main" id="{03369816-74D5-0E35-1719-74251CA15561}"/>
              </a:ext>
            </a:extLst>
          </p:cNvPr>
          <p:cNvCxnSpPr>
            <a:cxnSpLocks/>
          </p:cNvCxnSpPr>
          <p:nvPr/>
        </p:nvCxnSpPr>
        <p:spPr>
          <a:xfrm flipH="1">
            <a:off x="5102956" y="4880726"/>
            <a:ext cx="876860" cy="48694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2" name="Straight Arrow Connector 31">
            <a:extLst>
              <a:ext uri="{FF2B5EF4-FFF2-40B4-BE49-F238E27FC236}">
                <a16:creationId xmlns:a16="http://schemas.microsoft.com/office/drawing/2014/main" id="{9A96CED8-A146-3CE1-39B4-E01E6407F1E5}"/>
              </a:ext>
            </a:extLst>
          </p:cNvPr>
          <p:cNvCxnSpPr>
            <a:cxnSpLocks/>
          </p:cNvCxnSpPr>
          <p:nvPr/>
        </p:nvCxnSpPr>
        <p:spPr>
          <a:xfrm>
            <a:off x="5697723" y="1361512"/>
            <a:ext cx="1850154"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21B67A91-84B8-C4BE-124C-2BFDBF12821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4" name="Picture 13">
            <a:extLst>
              <a:ext uri="{FF2B5EF4-FFF2-40B4-BE49-F238E27FC236}">
                <a16:creationId xmlns:a16="http://schemas.microsoft.com/office/drawing/2014/main" id="{D0ADFA3D-0822-13A0-59A8-F06C188A51BE}"/>
              </a:ext>
            </a:extLst>
          </p:cNvPr>
          <p:cNvPicPr>
            <a:picLocks noChangeAspect="1"/>
          </p:cNvPicPr>
          <p:nvPr/>
        </p:nvPicPr>
        <p:blipFill>
          <a:blip r:embed="rId7"/>
          <a:stretch>
            <a:fillRect/>
          </a:stretch>
        </p:blipFill>
        <p:spPr>
          <a:xfrm>
            <a:off x="7456114" y="3634262"/>
            <a:ext cx="4616514" cy="2106022"/>
          </a:xfrm>
          <a:prstGeom prst="rect">
            <a:avLst/>
          </a:prstGeom>
        </p:spPr>
      </p:pic>
      <p:cxnSp>
        <p:nvCxnSpPr>
          <p:cNvPr id="17" name="Straight Arrow Connector 16">
            <a:extLst>
              <a:ext uri="{FF2B5EF4-FFF2-40B4-BE49-F238E27FC236}">
                <a16:creationId xmlns:a16="http://schemas.microsoft.com/office/drawing/2014/main" id="{1ED247BF-34F4-9BBC-1C4E-6F585F1E5866}"/>
              </a:ext>
            </a:extLst>
          </p:cNvPr>
          <p:cNvCxnSpPr>
            <a:cxnSpLocks/>
          </p:cNvCxnSpPr>
          <p:nvPr/>
        </p:nvCxnSpPr>
        <p:spPr>
          <a:xfrm>
            <a:off x="7236714" y="3019109"/>
            <a:ext cx="1659948" cy="69845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0" name="Rectangle 19">
            <a:extLst>
              <a:ext uri="{FF2B5EF4-FFF2-40B4-BE49-F238E27FC236}">
                <a16:creationId xmlns:a16="http://schemas.microsoft.com/office/drawing/2014/main" id="{906BA7F9-5A99-4AB5-20EA-C973DC56749E}"/>
              </a:ext>
            </a:extLst>
          </p:cNvPr>
          <p:cNvSpPr/>
          <p:nvPr/>
        </p:nvSpPr>
        <p:spPr>
          <a:xfrm>
            <a:off x="9031574" y="3800007"/>
            <a:ext cx="45719"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sp>
        <p:nvSpPr>
          <p:cNvPr id="21" name="TextBox 20">
            <a:extLst>
              <a:ext uri="{FF2B5EF4-FFF2-40B4-BE49-F238E27FC236}">
                <a16:creationId xmlns:a16="http://schemas.microsoft.com/office/drawing/2014/main" id="{8FCAF6DB-F082-994A-C486-92D68D9B8931}"/>
              </a:ext>
            </a:extLst>
          </p:cNvPr>
          <p:cNvSpPr txBox="1"/>
          <p:nvPr/>
        </p:nvSpPr>
        <p:spPr>
          <a:xfrm>
            <a:off x="8548608" y="3260361"/>
            <a:ext cx="914400" cy="914400"/>
          </a:xfrm>
          <a:prstGeom prst="rect">
            <a:avLst/>
          </a:prstGeom>
          <a:noFill/>
        </p:spPr>
        <p:txBody>
          <a:bodyPr wrap="none" lIns="90000" tIns="46800" rIns="90000" bIns="46800" rtlCol="0">
            <a:noAutofit/>
          </a:bodyPr>
          <a:lstStyle/>
          <a:p>
            <a:pPr algn="l"/>
            <a:r>
              <a:rPr lang="en-GB" dirty="0"/>
              <a:t>#2</a:t>
            </a:r>
          </a:p>
        </p:txBody>
      </p:sp>
    </p:spTree>
    <p:extLst>
      <p:ext uri="{BB962C8B-B14F-4D97-AF65-F5344CB8AC3E}">
        <p14:creationId xmlns:p14="http://schemas.microsoft.com/office/powerpoint/2010/main" val="343412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he distance between the headline and the start of the body copy is always constant.…">
            <a:extLst>
              <a:ext uri="{FF2B5EF4-FFF2-40B4-BE49-F238E27FC236}">
                <a16:creationId xmlns:a16="http://schemas.microsoft.com/office/drawing/2014/main" id="{9BA6C978-19CF-7181-4570-4FCE9A0BD06B}"/>
              </a:ext>
            </a:extLst>
          </p:cNvPr>
          <p:cNvSpPr txBox="1">
            <a:spLocks/>
          </p:cNvSpPr>
          <p:nvPr/>
        </p:nvSpPr>
        <p:spPr bwMode="gray">
          <a:xfrm>
            <a:off x="539999" y="972000"/>
            <a:ext cx="9194145"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You can duplicate the visualization, then edit the second one to create a 5GHz varian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Edit </a:t>
            </a:r>
            <a:r>
              <a:rPr lang="nb-NO" sz="1600" err="1"/>
              <a:t>the</a:t>
            </a:r>
            <a:r>
              <a:rPr lang="nb-NO" sz="1600"/>
              <a:t> </a:t>
            </a:r>
            <a:r>
              <a:rPr lang="nb-NO" sz="1600" err="1"/>
              <a:t>duplicated</a:t>
            </a:r>
            <a:r>
              <a:rPr lang="nb-NO" sz="1600"/>
              <a:t> </a:t>
            </a:r>
            <a:r>
              <a:rPr lang="nb-NO" sz="1600" err="1"/>
              <a:t>visualization</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Duplicate dashboards</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61EDD2F5-A2D3-410E-CADF-BD3DFEF9337B}"/>
              </a:ext>
            </a:extLst>
          </p:cNvPr>
          <p:cNvPicPr>
            <a:picLocks noChangeAspect="1"/>
          </p:cNvPicPr>
          <p:nvPr/>
        </p:nvPicPr>
        <p:blipFill>
          <a:blip r:embed="rId3"/>
          <a:stretch>
            <a:fillRect/>
          </a:stretch>
        </p:blipFill>
        <p:spPr>
          <a:xfrm>
            <a:off x="535667" y="1499524"/>
            <a:ext cx="8506873" cy="2721219"/>
          </a:xfrm>
          <a:prstGeom prst="rect">
            <a:avLst/>
          </a:prstGeom>
        </p:spPr>
      </p:pic>
      <p:pic>
        <p:nvPicPr>
          <p:cNvPr id="7" name="Picture 6">
            <a:extLst>
              <a:ext uri="{FF2B5EF4-FFF2-40B4-BE49-F238E27FC236}">
                <a16:creationId xmlns:a16="http://schemas.microsoft.com/office/drawing/2014/main" id="{4E9F689C-B396-F332-4BA8-A60166739F8D}"/>
              </a:ext>
            </a:extLst>
          </p:cNvPr>
          <p:cNvPicPr>
            <a:picLocks noChangeAspect="1"/>
          </p:cNvPicPr>
          <p:nvPr/>
        </p:nvPicPr>
        <p:blipFill>
          <a:blip r:embed="rId4"/>
          <a:stretch>
            <a:fillRect/>
          </a:stretch>
        </p:blipFill>
        <p:spPr>
          <a:xfrm>
            <a:off x="7557175" y="2001943"/>
            <a:ext cx="178764" cy="287300"/>
          </a:xfrm>
          <a:prstGeom prst="rect">
            <a:avLst/>
          </a:prstGeom>
        </p:spPr>
      </p:pic>
      <p:cxnSp>
        <p:nvCxnSpPr>
          <p:cNvPr id="8" name="Straight Arrow Connector 7">
            <a:extLst>
              <a:ext uri="{FF2B5EF4-FFF2-40B4-BE49-F238E27FC236}">
                <a16:creationId xmlns:a16="http://schemas.microsoft.com/office/drawing/2014/main" id="{8F31DA23-1BAE-EAEC-6C79-03A0B4F56433}"/>
              </a:ext>
            </a:extLst>
          </p:cNvPr>
          <p:cNvCxnSpPr>
            <a:cxnSpLocks/>
          </p:cNvCxnSpPr>
          <p:nvPr/>
        </p:nvCxnSpPr>
        <p:spPr>
          <a:xfrm>
            <a:off x="7646557" y="2244254"/>
            <a:ext cx="487521" cy="10890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a16="http://schemas.microsoft.com/office/drawing/2014/main" id="{7CF3E698-020D-8D36-80C7-1BD3A34B8737}"/>
              </a:ext>
            </a:extLst>
          </p:cNvPr>
          <p:cNvPicPr>
            <a:picLocks noChangeAspect="1"/>
          </p:cNvPicPr>
          <p:nvPr/>
        </p:nvPicPr>
        <p:blipFill>
          <a:blip r:embed="rId5"/>
          <a:stretch>
            <a:fillRect/>
          </a:stretch>
        </p:blipFill>
        <p:spPr>
          <a:xfrm>
            <a:off x="1044792" y="4594843"/>
            <a:ext cx="1060550" cy="1453157"/>
          </a:xfrm>
          <a:prstGeom prst="rect">
            <a:avLst/>
          </a:prstGeom>
        </p:spPr>
      </p:pic>
      <p:sp>
        <p:nvSpPr>
          <p:cNvPr id="12" name="Rectangle: Rounded Corners 11">
            <a:extLst>
              <a:ext uri="{FF2B5EF4-FFF2-40B4-BE49-F238E27FC236}">
                <a16:creationId xmlns:a16="http://schemas.microsoft.com/office/drawing/2014/main" id="{74572F38-352E-A823-A504-BB80697FDF0C}"/>
              </a:ext>
            </a:extLst>
          </p:cNvPr>
          <p:cNvSpPr/>
          <p:nvPr/>
        </p:nvSpPr>
        <p:spPr>
          <a:xfrm>
            <a:off x="1044792" y="4957730"/>
            <a:ext cx="1060550" cy="25529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4" name="Picture 3" descr="A blue logo with a black background&#10;&#10;Description automatically generated">
            <a:extLst>
              <a:ext uri="{FF2B5EF4-FFF2-40B4-BE49-F238E27FC236}">
                <a16:creationId xmlns:a16="http://schemas.microsoft.com/office/drawing/2014/main" id="{693EFD5F-104D-3F72-3431-01329BD7A1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21182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he distance between the headline and the start of the body copy is always constant.…">
            <a:extLst>
              <a:ext uri="{FF2B5EF4-FFF2-40B4-BE49-F238E27FC236}">
                <a16:creationId xmlns:a16="http://schemas.microsoft.com/office/drawing/2014/main" id="{9BA6C978-19CF-7181-4570-4FCE9A0BD06B}"/>
              </a:ext>
            </a:extLst>
          </p:cNvPr>
          <p:cNvSpPr txBox="1">
            <a:spLocks/>
          </p:cNvSpPr>
          <p:nvPr/>
        </p:nvSpPr>
        <p:spPr bwMode="gray">
          <a:xfrm>
            <a:off x="539999" y="972000"/>
            <a:ext cx="9194145"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dirty="0"/>
              <a:t>You can add everything in one huge panel by duplicate the query inside the pane</a:t>
            </a:r>
          </a:p>
          <a:p>
            <a:pPr lvl="1">
              <a:lnSpc>
                <a:spcPct val="110000"/>
              </a:lnSpc>
            </a:pPr>
            <a:r>
              <a:rPr lang="en-US" sz="1400" dirty="0"/>
              <a:t>Useful when you need multiple variables in a single panel</a:t>
            </a:r>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r>
              <a:rPr lang="en-US" sz="1600" dirty="0"/>
              <a:t>Now we have query B for 5GHz</a:t>
            </a:r>
          </a:p>
          <a:p>
            <a:pPr lvl="1">
              <a:lnSpc>
                <a:spcPct val="110000"/>
              </a:lnSpc>
            </a:pPr>
            <a:r>
              <a:rPr lang="en-US" sz="1400" dirty="0"/>
              <a:t>Change radio-slot to 1 (or 2 if it is dual-5GHz)</a:t>
            </a:r>
          </a:p>
          <a:p>
            <a:pPr lvl="1">
              <a:lnSpc>
                <a:spcPct val="110000"/>
              </a:lnSpc>
            </a:pPr>
            <a:r>
              <a:rPr lang="en-US" sz="1400" dirty="0"/>
              <a:t>Rename alias to 5GHz</a:t>
            </a:r>
          </a:p>
          <a:p>
            <a:pPr>
              <a:lnSpc>
                <a:spcPct val="110000"/>
              </a:lnSpc>
            </a:pPr>
            <a:r>
              <a:rPr lang="en-US" sz="1600" dirty="0"/>
              <a:t>Repeat for 6GHz</a:t>
            </a:r>
          </a:p>
          <a:p>
            <a:pPr>
              <a:lnSpc>
                <a:spcPct val="110000"/>
              </a:lnSpc>
            </a:pPr>
            <a:r>
              <a:rPr lang="en-US" sz="1600" dirty="0"/>
              <a:t>Hide queries with the eye.</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r add everything in one panel?</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6829674F-A9C1-BA29-C8C3-493E32F46454}"/>
              </a:ext>
            </a:extLst>
          </p:cNvPr>
          <p:cNvPicPr>
            <a:picLocks noChangeAspect="1"/>
          </p:cNvPicPr>
          <p:nvPr/>
        </p:nvPicPr>
        <p:blipFill>
          <a:blip r:embed="rId3"/>
          <a:stretch>
            <a:fillRect/>
          </a:stretch>
        </p:blipFill>
        <p:spPr>
          <a:xfrm>
            <a:off x="6578665" y="1442408"/>
            <a:ext cx="4884491" cy="4505652"/>
          </a:xfrm>
          <a:prstGeom prst="rect">
            <a:avLst/>
          </a:prstGeom>
        </p:spPr>
      </p:pic>
      <p:pic>
        <p:nvPicPr>
          <p:cNvPr id="10" name="Picture 9">
            <a:extLst>
              <a:ext uri="{FF2B5EF4-FFF2-40B4-BE49-F238E27FC236}">
                <a16:creationId xmlns:a16="http://schemas.microsoft.com/office/drawing/2014/main" id="{91C4617E-CC8F-D1EE-409C-0A209576574F}"/>
              </a:ext>
            </a:extLst>
          </p:cNvPr>
          <p:cNvPicPr>
            <a:picLocks noChangeAspect="1"/>
          </p:cNvPicPr>
          <p:nvPr/>
        </p:nvPicPr>
        <p:blipFill>
          <a:blip r:embed="rId4"/>
          <a:stretch>
            <a:fillRect/>
          </a:stretch>
        </p:blipFill>
        <p:spPr>
          <a:xfrm>
            <a:off x="818317" y="1839581"/>
            <a:ext cx="4193770" cy="1589419"/>
          </a:xfrm>
          <a:prstGeom prst="rect">
            <a:avLst/>
          </a:prstGeom>
        </p:spPr>
      </p:pic>
      <p:cxnSp>
        <p:nvCxnSpPr>
          <p:cNvPr id="14" name="Straight Arrow Connector 13">
            <a:extLst>
              <a:ext uri="{FF2B5EF4-FFF2-40B4-BE49-F238E27FC236}">
                <a16:creationId xmlns:a16="http://schemas.microsoft.com/office/drawing/2014/main" id="{466727A5-B254-D890-8C16-39F965848203}"/>
              </a:ext>
            </a:extLst>
          </p:cNvPr>
          <p:cNvCxnSpPr>
            <a:cxnSpLocks/>
          </p:cNvCxnSpPr>
          <p:nvPr/>
        </p:nvCxnSpPr>
        <p:spPr>
          <a:xfrm flipH="1">
            <a:off x="2718783" y="1839581"/>
            <a:ext cx="3040994" cy="45631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98F99124-07DC-2C0B-D455-83617720A8D8}"/>
              </a:ext>
            </a:extLst>
          </p:cNvPr>
          <p:cNvCxnSpPr>
            <a:cxnSpLocks/>
          </p:cNvCxnSpPr>
          <p:nvPr/>
        </p:nvCxnSpPr>
        <p:spPr>
          <a:xfrm>
            <a:off x="4129790" y="3665095"/>
            <a:ext cx="2448874" cy="18737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2" name="Picture 21">
            <a:extLst>
              <a:ext uri="{FF2B5EF4-FFF2-40B4-BE49-F238E27FC236}">
                <a16:creationId xmlns:a16="http://schemas.microsoft.com/office/drawing/2014/main" id="{BA2B4A87-62B5-A836-446D-351C6F3B608C}"/>
              </a:ext>
            </a:extLst>
          </p:cNvPr>
          <p:cNvPicPr>
            <a:picLocks noChangeAspect="1"/>
          </p:cNvPicPr>
          <p:nvPr/>
        </p:nvPicPr>
        <p:blipFill>
          <a:blip r:embed="rId5"/>
          <a:stretch>
            <a:fillRect/>
          </a:stretch>
        </p:blipFill>
        <p:spPr>
          <a:xfrm>
            <a:off x="846994" y="5300939"/>
            <a:ext cx="1627360" cy="716713"/>
          </a:xfrm>
          <a:prstGeom prst="rect">
            <a:avLst/>
          </a:prstGeom>
        </p:spPr>
      </p:pic>
      <p:pic>
        <p:nvPicPr>
          <p:cNvPr id="4" name="Picture 3" descr="A blue logo with a black background&#10;&#10;Description automatically generated">
            <a:extLst>
              <a:ext uri="{FF2B5EF4-FFF2-40B4-BE49-F238E27FC236}">
                <a16:creationId xmlns:a16="http://schemas.microsoft.com/office/drawing/2014/main" id="{2620FFE8-B2FD-3C0E-E226-20D0870DFA3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
        <p:nvSpPr>
          <p:cNvPr id="11" name="Rectangle 10">
            <a:extLst>
              <a:ext uri="{FF2B5EF4-FFF2-40B4-BE49-F238E27FC236}">
                <a16:creationId xmlns:a16="http://schemas.microsoft.com/office/drawing/2014/main" id="{D4FBED7E-699C-CFBF-DE40-349BED121BDF}"/>
              </a:ext>
            </a:extLst>
          </p:cNvPr>
          <p:cNvSpPr/>
          <p:nvPr/>
        </p:nvSpPr>
        <p:spPr>
          <a:xfrm>
            <a:off x="10643016" y="1512000"/>
            <a:ext cx="820140" cy="211869"/>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sp>
        <p:nvSpPr>
          <p:cNvPr id="15" name="Rectangle 14">
            <a:extLst>
              <a:ext uri="{FF2B5EF4-FFF2-40B4-BE49-F238E27FC236}">
                <a16:creationId xmlns:a16="http://schemas.microsoft.com/office/drawing/2014/main" id="{4FD20EE7-B252-5802-C025-93260F0D438E}"/>
              </a:ext>
            </a:extLst>
          </p:cNvPr>
          <p:cNvSpPr/>
          <p:nvPr/>
        </p:nvSpPr>
        <p:spPr>
          <a:xfrm>
            <a:off x="2106118" y="1930070"/>
            <a:ext cx="612665" cy="633248"/>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cxnSp>
        <p:nvCxnSpPr>
          <p:cNvPr id="19" name="Straight Arrow Connector 18">
            <a:extLst>
              <a:ext uri="{FF2B5EF4-FFF2-40B4-BE49-F238E27FC236}">
                <a16:creationId xmlns:a16="http://schemas.microsoft.com/office/drawing/2014/main" id="{EDAC81E7-DAC2-D1AE-8B42-5041B4EDAE8D}"/>
              </a:ext>
            </a:extLst>
          </p:cNvPr>
          <p:cNvCxnSpPr>
            <a:cxnSpLocks/>
          </p:cNvCxnSpPr>
          <p:nvPr/>
        </p:nvCxnSpPr>
        <p:spPr>
          <a:xfrm>
            <a:off x="5390425" y="3994878"/>
            <a:ext cx="2059686" cy="22485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1" name="Rectangle 20">
            <a:extLst>
              <a:ext uri="{FF2B5EF4-FFF2-40B4-BE49-F238E27FC236}">
                <a16:creationId xmlns:a16="http://schemas.microsoft.com/office/drawing/2014/main" id="{FD0069BF-5343-B661-E674-92E435591B39}"/>
              </a:ext>
            </a:extLst>
          </p:cNvPr>
          <p:cNvSpPr/>
          <p:nvPr/>
        </p:nvSpPr>
        <p:spPr>
          <a:xfrm>
            <a:off x="6840102" y="1855871"/>
            <a:ext cx="1044723" cy="211869"/>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sp>
        <p:nvSpPr>
          <p:cNvPr id="23" name="Rectangle 22">
            <a:extLst>
              <a:ext uri="{FF2B5EF4-FFF2-40B4-BE49-F238E27FC236}">
                <a16:creationId xmlns:a16="http://schemas.microsoft.com/office/drawing/2014/main" id="{B84D6250-4FEC-997A-5429-28F672100ABA}"/>
              </a:ext>
            </a:extLst>
          </p:cNvPr>
          <p:cNvSpPr/>
          <p:nvPr/>
        </p:nvSpPr>
        <p:spPr>
          <a:xfrm>
            <a:off x="6840101" y="4088923"/>
            <a:ext cx="1044723" cy="211869"/>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cxnSp>
        <p:nvCxnSpPr>
          <p:cNvPr id="25" name="Straight Arrow Connector 24">
            <a:extLst>
              <a:ext uri="{FF2B5EF4-FFF2-40B4-BE49-F238E27FC236}">
                <a16:creationId xmlns:a16="http://schemas.microsoft.com/office/drawing/2014/main" id="{37ACCD14-85F3-B785-27E5-A253F715DABB}"/>
              </a:ext>
            </a:extLst>
          </p:cNvPr>
          <p:cNvCxnSpPr>
            <a:cxnSpLocks/>
          </p:cNvCxnSpPr>
          <p:nvPr/>
        </p:nvCxnSpPr>
        <p:spPr>
          <a:xfrm>
            <a:off x="3330739" y="4392472"/>
            <a:ext cx="5041268" cy="33350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7" name="Rectangle 26">
            <a:extLst>
              <a:ext uri="{FF2B5EF4-FFF2-40B4-BE49-F238E27FC236}">
                <a16:creationId xmlns:a16="http://schemas.microsoft.com/office/drawing/2014/main" id="{FC56BBB0-F5A2-4BD2-5904-0607FD9AB7EC}"/>
              </a:ext>
            </a:extLst>
          </p:cNvPr>
          <p:cNvSpPr/>
          <p:nvPr/>
        </p:nvSpPr>
        <p:spPr>
          <a:xfrm>
            <a:off x="8282066" y="4240698"/>
            <a:ext cx="1452078" cy="1060241"/>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spTree>
    <p:extLst>
      <p:ext uri="{BB962C8B-B14F-4D97-AF65-F5344CB8AC3E}">
        <p14:creationId xmlns:p14="http://schemas.microsoft.com/office/powerpoint/2010/main" val="369305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BEF3682-0D11-7084-6264-561B7673FB2C}"/>
              </a:ext>
            </a:extLst>
          </p:cNvPr>
          <p:cNvSpPr>
            <a:spLocks noGrp="1"/>
          </p:cNvSpPr>
          <p:nvPr>
            <p:ph idx="1"/>
          </p:nvPr>
        </p:nvSpPr>
        <p:spPr>
          <a:xfrm>
            <a:off x="540000" y="972000"/>
            <a:ext cx="11109600" cy="4838400"/>
          </a:xfrm>
        </p:spPr>
        <p:txBody>
          <a:bodyPr/>
          <a:lstStyle/>
          <a:p>
            <a:r>
              <a:rPr lang="nb-NO" dirty="0" err="1"/>
              <a:t>Hour</a:t>
            </a:r>
            <a:r>
              <a:rPr lang="nb-NO" dirty="0"/>
              <a:t> 1</a:t>
            </a:r>
          </a:p>
          <a:p>
            <a:pPr lvl="1">
              <a:buFont typeface="Arial" panose="020B0604020202020204" pitchFamily="34" charset="0"/>
              <a:buChar char="•"/>
            </a:pPr>
            <a:r>
              <a:rPr lang="en-US" sz="1400" dirty="0"/>
              <a:t>Finish the pre-lab tasks</a:t>
            </a:r>
          </a:p>
          <a:p>
            <a:pPr lvl="1">
              <a:buFont typeface="Arial" panose="020B0604020202020204" pitchFamily="34" charset="0"/>
              <a:buChar char="•"/>
            </a:pPr>
            <a:r>
              <a:rPr lang="nb-NO" sz="1400" b="0" i="0" dirty="0" err="1"/>
              <a:t>Get</a:t>
            </a:r>
            <a:r>
              <a:rPr lang="nb-NO" sz="1400" b="0" i="0" dirty="0"/>
              <a:t> to </a:t>
            </a:r>
            <a:r>
              <a:rPr lang="nb-NO" sz="1400" b="0" i="0" dirty="0" err="1"/>
              <a:t>know</a:t>
            </a:r>
            <a:r>
              <a:rPr lang="nb-NO" sz="1400" b="0" i="0" dirty="0"/>
              <a:t> </a:t>
            </a:r>
            <a:r>
              <a:rPr lang="nb-NO" sz="1400" b="0" i="0" dirty="0" err="1"/>
              <a:t>the</a:t>
            </a:r>
            <a:r>
              <a:rPr lang="nb-NO" sz="1400" b="0" i="0" dirty="0"/>
              <a:t> lab </a:t>
            </a:r>
            <a:r>
              <a:rPr lang="nb-NO" sz="1400" b="0" i="0" dirty="0" err="1"/>
              <a:t>environment</a:t>
            </a:r>
            <a:endParaRPr lang="en-US" sz="1400" dirty="0"/>
          </a:p>
          <a:p>
            <a:pPr lvl="1">
              <a:buFont typeface="Arial" panose="020B0604020202020204" pitchFamily="34" charset="0"/>
              <a:buChar char="•"/>
            </a:pPr>
            <a:r>
              <a:rPr lang="en-US" sz="1400" dirty="0"/>
              <a:t>Configure your AP</a:t>
            </a:r>
          </a:p>
          <a:p>
            <a:pPr lvl="1">
              <a:buFont typeface="Arial" panose="020B0604020202020204" pitchFamily="34" charset="0"/>
              <a:buChar char="•"/>
            </a:pPr>
            <a:r>
              <a:rPr lang="nb-NO" sz="1400" dirty="0" err="1"/>
              <a:t>Install</a:t>
            </a:r>
            <a:r>
              <a:rPr lang="nb-NO" sz="1400" dirty="0"/>
              <a:t> and </a:t>
            </a:r>
            <a:r>
              <a:rPr lang="nb-NO" sz="1400" dirty="0" err="1"/>
              <a:t>explore</a:t>
            </a:r>
            <a:r>
              <a:rPr lang="nb-NO" sz="1400" dirty="0"/>
              <a:t> </a:t>
            </a:r>
            <a:r>
              <a:rPr lang="nb-NO" sz="1400" dirty="0" err="1"/>
              <a:t>Ansible</a:t>
            </a:r>
            <a:endParaRPr lang="nb-NO" sz="1400" dirty="0"/>
          </a:p>
          <a:p>
            <a:r>
              <a:rPr lang="nb-NO" dirty="0" err="1"/>
              <a:t>Hour</a:t>
            </a:r>
            <a:r>
              <a:rPr lang="nb-NO" dirty="0"/>
              <a:t> 2</a:t>
            </a:r>
          </a:p>
          <a:p>
            <a:pPr lvl="1">
              <a:buFont typeface="Arial" panose="020B0604020202020204" pitchFamily="34" charset="0"/>
              <a:buChar char="•"/>
            </a:pPr>
            <a:r>
              <a:rPr lang="nb-NO" sz="1400" dirty="0" err="1"/>
              <a:t>Explore</a:t>
            </a:r>
            <a:r>
              <a:rPr lang="nb-NO" sz="1400" dirty="0"/>
              <a:t> Python </a:t>
            </a:r>
            <a:r>
              <a:rPr lang="nb-NO" sz="1400" dirty="0" err="1"/>
              <a:t>automation</a:t>
            </a:r>
            <a:endParaRPr lang="nb-NO" sz="1400" dirty="0"/>
          </a:p>
          <a:p>
            <a:pPr lvl="1">
              <a:buFont typeface="Arial" panose="020B0604020202020204" pitchFamily="34" charset="0"/>
              <a:buChar char="•"/>
            </a:pPr>
            <a:r>
              <a:rPr lang="en-US" sz="1400" dirty="0"/>
              <a:t>Install (optional) and explore YANG Suite</a:t>
            </a:r>
          </a:p>
          <a:p>
            <a:pPr lvl="1">
              <a:buFont typeface="Arial" panose="020B0604020202020204" pitchFamily="34" charset="0"/>
              <a:buChar char="•"/>
            </a:pPr>
            <a:r>
              <a:rPr lang="en-US" sz="1400" dirty="0"/>
              <a:t>Explore Postman</a:t>
            </a:r>
          </a:p>
          <a:p>
            <a:r>
              <a:rPr lang="nb-NO" dirty="0" err="1"/>
              <a:t>Hour</a:t>
            </a:r>
            <a:r>
              <a:rPr lang="nb-NO" dirty="0"/>
              <a:t> 3</a:t>
            </a:r>
          </a:p>
          <a:p>
            <a:pPr marL="720000" marR="0" lvl="1" indent="-270000" algn="l" defTabSz="914400" rtl="0" eaLnBrk="1" fontAlgn="auto" latinLnBrk="0" hangingPunct="1">
              <a:lnSpc>
                <a:spcPct val="120000"/>
              </a:lnSpc>
              <a:spcBef>
                <a:spcPts val="0"/>
              </a:spcBef>
              <a:spcAft>
                <a:spcPts val="1000"/>
              </a:spcAft>
              <a:buClrTx/>
              <a:buSzTx/>
              <a:buFont typeface="Arial" panose="020B0604020202020204" pitchFamily="34" charset="0"/>
              <a:buChar char="•"/>
              <a:tabLst/>
              <a:defRPr/>
            </a:pP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Install</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nd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explore</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stack</a:t>
            </a:r>
            <a:r>
              <a:rPr kumimoji="0" lang="nb-NO" sz="14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 </a:t>
            </a:r>
            <a:r>
              <a:rPr kumimoji="0" lang="nb-NO" sz="14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Grafana</a:t>
            </a:r>
            <a:endParaRPr lang="nb-NO" dirty="0"/>
          </a:p>
        </p:txBody>
      </p:sp>
      <p:sp>
        <p:nvSpPr>
          <p:cNvPr id="3" name="Slide Number Placeholder 2">
            <a:extLst>
              <a:ext uri="{FF2B5EF4-FFF2-40B4-BE49-F238E27FC236}">
                <a16:creationId xmlns:a16="http://schemas.microsoft.com/office/drawing/2014/main" id="{515D40B8-9F4D-C6BF-C6FE-86445B6D9AE1}"/>
              </a:ext>
            </a:extLst>
          </p:cNvPr>
          <p:cNvSpPr>
            <a:spLocks noGrp="1"/>
          </p:cNvSpPr>
          <p:nvPr>
            <p:ph type="sldNum" sz="quarter" idx="12"/>
          </p:nvPr>
        </p:nvSpPr>
        <p:spPr/>
        <p:txBody>
          <a:bodyPr/>
          <a:lstStyle/>
          <a:p>
            <a:fld id="{02CEFE82-39F2-4F47-8A0C-D5AB3496FA5C}" type="slidenum">
              <a:rPr lang="en-GB" smtClean="0"/>
              <a:pPr/>
              <a:t>11</a:t>
            </a:fld>
            <a:endParaRPr lang="en-GB"/>
          </a:p>
        </p:txBody>
      </p:sp>
      <p:sp>
        <p:nvSpPr>
          <p:cNvPr id="4" name="Title 3">
            <a:extLst>
              <a:ext uri="{FF2B5EF4-FFF2-40B4-BE49-F238E27FC236}">
                <a16:creationId xmlns:a16="http://schemas.microsoft.com/office/drawing/2014/main" id="{9F68312D-E12C-2B5C-542E-8E059F2E7D58}"/>
              </a:ext>
            </a:extLst>
          </p:cNvPr>
          <p:cNvSpPr>
            <a:spLocks noGrp="1"/>
          </p:cNvSpPr>
          <p:nvPr>
            <p:ph type="title"/>
          </p:nvPr>
        </p:nvSpPr>
        <p:spPr/>
        <p:txBody>
          <a:bodyPr/>
          <a:lstStyle/>
          <a:p>
            <a:r>
              <a:rPr lang="nb-NO"/>
              <a:t>Tentative </a:t>
            </a:r>
            <a:r>
              <a:rPr lang="nb-NO" err="1"/>
              <a:t>schedule</a:t>
            </a:r>
            <a:r>
              <a:rPr lang="nb-NO"/>
              <a:t> for </a:t>
            </a:r>
            <a:r>
              <a:rPr lang="nb-NO" err="1"/>
              <a:t>day</a:t>
            </a:r>
            <a:r>
              <a:rPr lang="nb-NO"/>
              <a:t> 1</a:t>
            </a:r>
          </a:p>
        </p:txBody>
      </p:sp>
      <p:sp>
        <p:nvSpPr>
          <p:cNvPr id="6" name="Footer Placeholder 6">
            <a:extLst>
              <a:ext uri="{FF2B5EF4-FFF2-40B4-BE49-F238E27FC236}">
                <a16:creationId xmlns:a16="http://schemas.microsoft.com/office/drawing/2014/main" id="{3F672B9A-E116-DD21-B7B8-5DAADE8F179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6B3307C6-C2DC-633D-4E9B-1391F30C6AF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Tentative schedule</a:t>
            </a:r>
          </a:p>
        </p:txBody>
      </p:sp>
    </p:spTree>
    <p:extLst>
      <p:ext uri="{BB962C8B-B14F-4D97-AF65-F5344CB8AC3E}">
        <p14:creationId xmlns:p14="http://schemas.microsoft.com/office/powerpoint/2010/main" val="53753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Edit the values for the </a:t>
            </a:r>
            <a:r>
              <a:rPr lang="en-GB" err="1"/>
              <a:t>5GHz</a:t>
            </a:r>
            <a:r>
              <a:rPr lang="en-GB"/>
              <a:t> visualization</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9" name="The distance between the headline and the start of the body copy is always constant.…">
            <a:extLst>
              <a:ext uri="{FF2B5EF4-FFF2-40B4-BE49-F238E27FC236}">
                <a16:creationId xmlns:a16="http://schemas.microsoft.com/office/drawing/2014/main" id="{B2DA24EF-7FF1-F9B1-988F-B7110363BB17}"/>
              </a:ext>
            </a:extLst>
          </p:cNvPr>
          <p:cNvSpPr txBox="1">
            <a:spLocks/>
          </p:cNvSpPr>
          <p:nvPr/>
        </p:nvSpPr>
        <p:spPr bwMode="gray">
          <a:xfrm>
            <a:off x="539999" y="972000"/>
            <a:ext cx="9194145" cy="52758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Panel Options: Title</a:t>
            </a:r>
          </a:p>
          <a:p>
            <a:pPr>
              <a:lnSpc>
                <a:spcPct val="110000"/>
              </a:lnSpc>
            </a:pPr>
            <a:endParaRPr lang="en-US" sz="1600"/>
          </a:p>
          <a:p>
            <a:pPr>
              <a:lnSpc>
                <a:spcPct val="110000"/>
              </a:lnSpc>
            </a:pPr>
            <a:endParaRPr lang="en-US" sz="1600"/>
          </a:p>
          <a:p>
            <a:pPr>
              <a:lnSpc>
                <a:spcPct val="110000"/>
              </a:lnSpc>
            </a:pPr>
            <a:r>
              <a:rPr lang="en-US" sz="1600"/>
              <a:t>FROM in Query: </a:t>
            </a:r>
            <a:r>
              <a:rPr lang="en-US" sz="1600" err="1"/>
              <a:t>radio_slot_id</a:t>
            </a:r>
            <a:r>
              <a:rPr lang="en-US" sz="1600"/>
              <a:t>::tag =1</a:t>
            </a:r>
          </a:p>
          <a:p>
            <a:pPr lvl="1">
              <a:lnSpc>
                <a:spcPct val="110000"/>
              </a:lnSpc>
            </a:pPr>
            <a:r>
              <a:rPr lang="en-US" sz="1400"/>
              <a:t>If the AP is dual 5GHz (for example 9136, 9166) 5GHz is at 1 and 2</a:t>
            </a:r>
          </a:p>
          <a:p>
            <a:pPr marL="0" indent="0">
              <a:lnSpc>
                <a:spcPct val="110000"/>
              </a:lnSpc>
              <a:buNone/>
            </a:pPr>
            <a:endParaRPr lang="en-US" sz="1600"/>
          </a:p>
          <a:p>
            <a:pPr marL="0" indent="0">
              <a:lnSpc>
                <a:spcPct val="110000"/>
              </a:lnSpc>
              <a:buNone/>
            </a:pPr>
            <a:endParaRPr lang="en-US" sz="1600"/>
          </a:p>
          <a:p>
            <a:pPr>
              <a:lnSpc>
                <a:spcPct val="110000"/>
              </a:lnSpc>
            </a:pPr>
            <a:r>
              <a:rPr lang="en-US" sz="1600"/>
              <a:t>alias fields for all SELECT statements</a:t>
            </a:r>
          </a:p>
        </p:txBody>
      </p:sp>
      <p:pic>
        <p:nvPicPr>
          <p:cNvPr id="13" name="Picture 12">
            <a:extLst>
              <a:ext uri="{FF2B5EF4-FFF2-40B4-BE49-F238E27FC236}">
                <a16:creationId xmlns:a16="http://schemas.microsoft.com/office/drawing/2014/main" id="{62F26CA1-1446-D9BF-C0CF-DCC7CB88467E}"/>
              </a:ext>
            </a:extLst>
          </p:cNvPr>
          <p:cNvPicPr>
            <a:picLocks noChangeAspect="1"/>
          </p:cNvPicPr>
          <p:nvPr/>
        </p:nvPicPr>
        <p:blipFill>
          <a:blip r:embed="rId3"/>
          <a:stretch>
            <a:fillRect/>
          </a:stretch>
        </p:blipFill>
        <p:spPr>
          <a:xfrm>
            <a:off x="3005655" y="1102367"/>
            <a:ext cx="3470756" cy="1117921"/>
          </a:xfrm>
          <a:prstGeom prst="rect">
            <a:avLst/>
          </a:prstGeom>
        </p:spPr>
      </p:pic>
      <p:pic>
        <p:nvPicPr>
          <p:cNvPr id="15" name="Picture 14">
            <a:extLst>
              <a:ext uri="{FF2B5EF4-FFF2-40B4-BE49-F238E27FC236}">
                <a16:creationId xmlns:a16="http://schemas.microsoft.com/office/drawing/2014/main" id="{33E2FC05-AA44-86A3-10A4-25A2660C8478}"/>
              </a:ext>
            </a:extLst>
          </p:cNvPr>
          <p:cNvPicPr>
            <a:picLocks noChangeAspect="1"/>
          </p:cNvPicPr>
          <p:nvPr/>
        </p:nvPicPr>
        <p:blipFill>
          <a:blip r:embed="rId4"/>
          <a:stretch>
            <a:fillRect/>
          </a:stretch>
        </p:blipFill>
        <p:spPr>
          <a:xfrm>
            <a:off x="539999" y="3067654"/>
            <a:ext cx="10804692" cy="434621"/>
          </a:xfrm>
          <a:prstGeom prst="rect">
            <a:avLst/>
          </a:prstGeom>
        </p:spPr>
      </p:pic>
      <p:sp>
        <p:nvSpPr>
          <p:cNvPr id="16" name="Rectangle: Rounded Corners 15">
            <a:extLst>
              <a:ext uri="{FF2B5EF4-FFF2-40B4-BE49-F238E27FC236}">
                <a16:creationId xmlns:a16="http://schemas.microsoft.com/office/drawing/2014/main" id="{C64D0783-B8E0-D7D9-EC7F-2B22B3E3C86B}"/>
              </a:ext>
            </a:extLst>
          </p:cNvPr>
          <p:cNvSpPr/>
          <p:nvPr/>
        </p:nvSpPr>
        <p:spPr>
          <a:xfrm>
            <a:off x="10379163" y="3067654"/>
            <a:ext cx="414779"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8" name="Picture 17">
            <a:extLst>
              <a:ext uri="{FF2B5EF4-FFF2-40B4-BE49-F238E27FC236}">
                <a16:creationId xmlns:a16="http://schemas.microsoft.com/office/drawing/2014/main" id="{48F101A1-3F10-9E90-AFAB-595E7E76A5B2}"/>
              </a:ext>
            </a:extLst>
          </p:cNvPr>
          <p:cNvPicPr>
            <a:picLocks noChangeAspect="1"/>
          </p:cNvPicPr>
          <p:nvPr/>
        </p:nvPicPr>
        <p:blipFill>
          <a:blip r:embed="rId5"/>
          <a:stretch>
            <a:fillRect/>
          </a:stretch>
        </p:blipFill>
        <p:spPr>
          <a:xfrm>
            <a:off x="737358" y="4185443"/>
            <a:ext cx="2859682" cy="1700557"/>
          </a:xfrm>
          <a:prstGeom prst="rect">
            <a:avLst/>
          </a:prstGeom>
        </p:spPr>
      </p:pic>
      <p:pic>
        <p:nvPicPr>
          <p:cNvPr id="5" name="Picture 4">
            <a:extLst>
              <a:ext uri="{FF2B5EF4-FFF2-40B4-BE49-F238E27FC236}">
                <a16:creationId xmlns:a16="http://schemas.microsoft.com/office/drawing/2014/main" id="{673B1770-01E3-04EB-9C79-24B0B2E7C1D2}"/>
              </a:ext>
            </a:extLst>
          </p:cNvPr>
          <p:cNvPicPr>
            <a:picLocks noChangeAspect="1"/>
          </p:cNvPicPr>
          <p:nvPr/>
        </p:nvPicPr>
        <p:blipFill>
          <a:blip r:embed="rId6"/>
          <a:stretch>
            <a:fillRect/>
          </a:stretch>
        </p:blipFill>
        <p:spPr>
          <a:xfrm>
            <a:off x="5555846" y="4204275"/>
            <a:ext cx="3627029" cy="884919"/>
          </a:xfrm>
          <a:prstGeom prst="rect">
            <a:avLst/>
          </a:prstGeom>
        </p:spPr>
      </p:pic>
      <p:sp>
        <p:nvSpPr>
          <p:cNvPr id="6" name="The distance between the headline and the start of the body copy is always constant.…">
            <a:extLst>
              <a:ext uri="{FF2B5EF4-FFF2-40B4-BE49-F238E27FC236}">
                <a16:creationId xmlns:a16="http://schemas.microsoft.com/office/drawing/2014/main" id="{C9EDCB52-19F7-8070-2D0F-55F7ED455CD2}"/>
              </a:ext>
            </a:extLst>
          </p:cNvPr>
          <p:cNvSpPr txBox="1">
            <a:spLocks/>
          </p:cNvSpPr>
          <p:nvPr/>
        </p:nvSpPr>
        <p:spPr bwMode="gray">
          <a:xfrm>
            <a:off x="5555847" y="3705080"/>
            <a:ext cx="6520097" cy="67438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dirty="0"/>
              <a:t>You can edit the query manually by pressing the pencil</a:t>
            </a:r>
          </a:p>
        </p:txBody>
      </p:sp>
      <p:cxnSp>
        <p:nvCxnSpPr>
          <p:cNvPr id="7" name="Straight Arrow Connector 6">
            <a:extLst>
              <a:ext uri="{FF2B5EF4-FFF2-40B4-BE49-F238E27FC236}">
                <a16:creationId xmlns:a16="http://schemas.microsoft.com/office/drawing/2014/main" id="{1A22CD9F-4043-CCDD-84D7-5A122BCA4BB7}"/>
              </a:ext>
            </a:extLst>
          </p:cNvPr>
          <p:cNvCxnSpPr>
            <a:cxnSpLocks/>
          </p:cNvCxnSpPr>
          <p:nvPr/>
        </p:nvCxnSpPr>
        <p:spPr>
          <a:xfrm flipH="1">
            <a:off x="8959396" y="4185443"/>
            <a:ext cx="2095850" cy="2589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F3B72AE6-C504-7647-1004-6217844E536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0" name="Picture 9">
            <a:extLst>
              <a:ext uri="{FF2B5EF4-FFF2-40B4-BE49-F238E27FC236}">
                <a16:creationId xmlns:a16="http://schemas.microsoft.com/office/drawing/2014/main" id="{14A60EC2-EFDD-23D4-4066-60F301C8E08C}"/>
              </a:ext>
            </a:extLst>
          </p:cNvPr>
          <p:cNvPicPr>
            <a:picLocks noChangeAspect="1"/>
          </p:cNvPicPr>
          <p:nvPr/>
        </p:nvPicPr>
        <p:blipFill>
          <a:blip r:embed="rId8"/>
          <a:stretch>
            <a:fillRect/>
          </a:stretch>
        </p:blipFill>
        <p:spPr>
          <a:xfrm>
            <a:off x="9314859" y="4792217"/>
            <a:ext cx="2672595" cy="1120389"/>
          </a:xfrm>
          <a:prstGeom prst="rect">
            <a:avLst/>
          </a:prstGeom>
        </p:spPr>
      </p:pic>
      <p:sp>
        <p:nvSpPr>
          <p:cNvPr id="12" name="The distance between the headline and the start of the body copy is always constant.…">
            <a:extLst>
              <a:ext uri="{FF2B5EF4-FFF2-40B4-BE49-F238E27FC236}">
                <a16:creationId xmlns:a16="http://schemas.microsoft.com/office/drawing/2014/main" id="{781F48AD-8C79-F46C-53BC-4CF5821AFEF5}"/>
              </a:ext>
            </a:extLst>
          </p:cNvPr>
          <p:cNvSpPr txBox="1">
            <a:spLocks/>
          </p:cNvSpPr>
          <p:nvPr/>
        </p:nvSpPr>
        <p:spPr bwMode="gray">
          <a:xfrm>
            <a:off x="5542534" y="5091700"/>
            <a:ext cx="3640341" cy="993378"/>
          </a:xfrm>
          <a:prstGeom prst="rect">
            <a:avLst/>
          </a:prstGeom>
        </p:spPr>
        <p:txBody>
          <a:bodyPr vert="horz" lIns="0" tIns="180000" rIns="0" bIns="180000" rtlCol="0">
            <a:normAutofit fontScale="92500"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10000"/>
              </a:lnSpc>
            </a:pPr>
            <a:r>
              <a:rPr lang="en-US" sz="1400" dirty="0"/>
              <a:t>If you edit query manually you cannot go back to edit visual editor mode</a:t>
            </a:r>
          </a:p>
        </p:txBody>
      </p:sp>
      <p:cxnSp>
        <p:nvCxnSpPr>
          <p:cNvPr id="14" name="Straight Arrow Connector 13">
            <a:extLst>
              <a:ext uri="{FF2B5EF4-FFF2-40B4-BE49-F238E27FC236}">
                <a16:creationId xmlns:a16="http://schemas.microsoft.com/office/drawing/2014/main" id="{96B50222-3A9E-474D-A3F4-E2D902344E36}"/>
              </a:ext>
            </a:extLst>
          </p:cNvPr>
          <p:cNvCxnSpPr>
            <a:cxnSpLocks/>
          </p:cNvCxnSpPr>
          <p:nvPr/>
        </p:nvCxnSpPr>
        <p:spPr>
          <a:xfrm flipV="1">
            <a:off x="8745985" y="5055734"/>
            <a:ext cx="617262" cy="43191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1" name="Rectangle 20">
            <a:extLst>
              <a:ext uri="{FF2B5EF4-FFF2-40B4-BE49-F238E27FC236}">
                <a16:creationId xmlns:a16="http://schemas.microsoft.com/office/drawing/2014/main" id="{BED890D3-040C-9246-6DEF-51C65F401BE1}"/>
              </a:ext>
            </a:extLst>
          </p:cNvPr>
          <p:cNvSpPr/>
          <p:nvPr/>
        </p:nvSpPr>
        <p:spPr>
          <a:xfrm>
            <a:off x="5910625" y="5157113"/>
            <a:ext cx="3061005" cy="811781"/>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dirty="0" err="1"/>
          </a:p>
        </p:txBody>
      </p:sp>
    </p:spTree>
    <p:extLst>
      <p:ext uri="{BB962C8B-B14F-4D97-AF65-F5344CB8AC3E}">
        <p14:creationId xmlns:p14="http://schemas.microsoft.com/office/powerpoint/2010/main" val="307909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800"/>
            <a:ext cx="8061075" cy="4838400"/>
          </a:xfrm>
        </p:spPr>
        <p:txBody>
          <a:bodyPr>
            <a:normAutofit/>
          </a:bodyPr>
          <a:lstStyle/>
          <a:p>
            <a:pPr>
              <a:lnSpc>
                <a:spcPct val="110000"/>
              </a:lnSpc>
            </a:pPr>
            <a:r>
              <a:rPr lang="nb-NO" sz="1600" err="1"/>
              <a:t>Add</a:t>
            </a:r>
            <a:r>
              <a:rPr lang="nb-NO" sz="1600"/>
              <a:t> </a:t>
            </a:r>
            <a:r>
              <a:rPr lang="nb-NO" sz="1600" err="1"/>
              <a:t>the</a:t>
            </a:r>
            <a:r>
              <a:rPr lang="nb-NO" sz="1600"/>
              <a:t> </a:t>
            </a:r>
            <a:r>
              <a:rPr lang="nb-NO" sz="1600" err="1"/>
              <a:t>following</a:t>
            </a:r>
            <a:r>
              <a:rPr lang="nb-NO" sz="1600"/>
              <a:t> data for 2.4, 5 and </a:t>
            </a:r>
            <a:r>
              <a:rPr lang="nb-NO" sz="1600" err="1"/>
              <a:t>6GHz</a:t>
            </a:r>
            <a:r>
              <a:rPr lang="nb-NO" sz="1600"/>
              <a:t> (hint, </a:t>
            </a:r>
            <a:r>
              <a:rPr lang="nb-NO" sz="1600" err="1"/>
              <a:t>radio_slot_id</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A3BF8CF0-7EF6-D1C7-AAD7-59A38092CBC2}"/>
              </a:ext>
            </a:extLst>
          </p:cNvPr>
          <p:cNvPicPr>
            <a:picLocks noChangeAspect="1"/>
          </p:cNvPicPr>
          <p:nvPr/>
        </p:nvPicPr>
        <p:blipFill>
          <a:blip r:embed="rId3"/>
          <a:stretch>
            <a:fillRect/>
          </a:stretch>
        </p:blipFill>
        <p:spPr>
          <a:xfrm>
            <a:off x="84806" y="1635300"/>
            <a:ext cx="9600323" cy="3809219"/>
          </a:xfrm>
          <a:prstGeom prst="rect">
            <a:avLst/>
          </a:prstGeom>
        </p:spPr>
      </p:pic>
      <p:cxnSp>
        <p:nvCxnSpPr>
          <p:cNvPr id="4" name="Straight Arrow Connector 3">
            <a:extLst>
              <a:ext uri="{FF2B5EF4-FFF2-40B4-BE49-F238E27FC236}">
                <a16:creationId xmlns:a16="http://schemas.microsoft.com/office/drawing/2014/main" id="{48A4BBA4-B039-50B7-1512-7DA24B89961F}"/>
              </a:ext>
            </a:extLst>
          </p:cNvPr>
          <p:cNvCxnSpPr>
            <a:cxnSpLocks/>
          </p:cNvCxnSpPr>
          <p:nvPr/>
        </p:nvCxnSpPr>
        <p:spPr>
          <a:xfrm flipH="1">
            <a:off x="4118290" y="1450066"/>
            <a:ext cx="2080086" cy="100694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0" name="TextBox 9">
            <a:extLst>
              <a:ext uri="{FF2B5EF4-FFF2-40B4-BE49-F238E27FC236}">
                <a16:creationId xmlns:a16="http://schemas.microsoft.com/office/drawing/2014/main" id="{1867BDB8-1CC8-07DF-138D-A919FCD9096B}"/>
              </a:ext>
            </a:extLst>
          </p:cNvPr>
          <p:cNvSpPr txBox="1"/>
          <p:nvPr/>
        </p:nvSpPr>
        <p:spPr>
          <a:xfrm>
            <a:off x="9814094" y="847800"/>
            <a:ext cx="2156867" cy="1357929"/>
          </a:xfrm>
          <a:prstGeom prst="rect">
            <a:avLst/>
          </a:prstGeom>
          <a:noFill/>
          <a:ln>
            <a:solidFill>
              <a:schemeClr val="tx1"/>
            </a:solidFill>
          </a:ln>
        </p:spPr>
        <p:txBody>
          <a:bodyPr wrap="square" lIns="90000" tIns="46800" rIns="90000" bIns="46800" rtlCol="0">
            <a:noAutofit/>
          </a:bodyPr>
          <a:lstStyle/>
          <a:p>
            <a:pPr algn="l"/>
            <a:r>
              <a:rPr lang="nb-NO" sz="500">
                <a:latin typeface="Consolas" panose="020B0609020204030204" pitchFamily="49" charset="0"/>
              </a:rPr>
              <a:t>SELECT last("</a:t>
            </a:r>
            <a:r>
              <a:rPr lang="nb-NO" sz="500" err="1">
                <a:latin typeface="Consolas" panose="020B0609020204030204" pitchFamily="49" charset="0"/>
              </a:rPr>
              <a:t>curr_freq</a:t>
            </a:r>
            <a:r>
              <a:rPr lang="nb-NO" sz="500">
                <a:latin typeface="Consolas" panose="020B0609020204030204" pitchFamily="49" charset="0"/>
              </a:rPr>
              <a:t>") AS "Channel", last("</a:t>
            </a:r>
            <a:r>
              <a:rPr lang="nb-NO" sz="500" err="1">
                <a:latin typeface="Consolas" panose="020B0609020204030204" pitchFamily="49" charset="0"/>
              </a:rPr>
              <a:t>chan_width</a:t>
            </a:r>
            <a:r>
              <a:rPr lang="nb-NO" sz="500">
                <a:latin typeface="Consolas" panose="020B0609020204030204" pitchFamily="49" charset="0"/>
              </a:rPr>
              <a:t>") AS "</a:t>
            </a:r>
            <a:r>
              <a:rPr lang="nb-NO" sz="500" err="1">
                <a:latin typeface="Consolas" panose="020B0609020204030204" pitchFamily="49" charset="0"/>
              </a:rPr>
              <a:t>Ch</a:t>
            </a:r>
            <a:r>
              <a:rPr lang="nb-NO" sz="500">
                <a:latin typeface="Consolas" panose="020B0609020204030204" pitchFamily="49" charset="0"/>
              </a:rPr>
              <a:t> Width", last("</a:t>
            </a:r>
            <a:r>
              <a:rPr lang="nb-NO" sz="500" err="1">
                <a:latin typeface="Consolas" panose="020B0609020204030204" pitchFamily="49" charset="0"/>
              </a:rPr>
              <a:t>rrm_channel_change_reason</a:t>
            </a:r>
            <a:r>
              <a:rPr lang="nb-NO" sz="500">
                <a:latin typeface="Consolas" panose="020B0609020204030204" pitchFamily="49" charset="0"/>
              </a:rPr>
              <a:t>") AS "</a:t>
            </a:r>
            <a:r>
              <a:rPr lang="nb-NO" sz="500" err="1">
                <a:latin typeface="Consolas" panose="020B0609020204030204" pitchFamily="49" charset="0"/>
              </a:rPr>
              <a:t>RRM</a:t>
            </a:r>
            <a:r>
              <a:rPr lang="nb-NO" sz="500">
                <a:latin typeface="Consolas" panose="020B0609020204030204" pitchFamily="49" charset="0"/>
              </a:rPr>
              <a:t> </a:t>
            </a:r>
            <a:r>
              <a:rPr lang="nb-NO" sz="500" err="1">
                <a:latin typeface="Consolas" panose="020B0609020204030204" pitchFamily="49" charset="0"/>
              </a:rPr>
              <a:t>channel</a:t>
            </a:r>
            <a:r>
              <a:rPr lang="nb-NO" sz="500">
                <a:latin typeface="Consolas" panose="020B0609020204030204" pitchFamily="49" charset="0"/>
              </a:rPr>
              <a:t> </a:t>
            </a:r>
            <a:r>
              <a:rPr lang="nb-NO" sz="500" err="1">
                <a:latin typeface="Consolas" panose="020B0609020204030204" pitchFamily="49" charset="0"/>
              </a:rPr>
              <a:t>change</a:t>
            </a:r>
            <a:r>
              <a:rPr lang="nb-NO" sz="500">
                <a:latin typeface="Consolas" panose="020B0609020204030204" pitchFamily="49" charset="0"/>
              </a:rPr>
              <a:t> </a:t>
            </a:r>
            <a:r>
              <a:rPr lang="nb-NO" sz="500" err="1">
                <a:latin typeface="Consolas" panose="020B0609020204030204" pitchFamily="49" charset="0"/>
              </a:rPr>
              <a:t>reason</a:t>
            </a:r>
            <a:r>
              <a:rPr lang="nb-NO" sz="500">
                <a:latin typeface="Consolas" panose="020B0609020204030204" pitchFamily="49" charset="0"/>
              </a:rPr>
              <a:t>", last("</a:t>
            </a:r>
            <a:r>
              <a:rPr lang="nb-NO" sz="500" err="1">
                <a:latin typeface="Consolas" panose="020B0609020204030204" pitchFamily="49" charset="0"/>
              </a:rPr>
              <a:t>freq_string</a:t>
            </a:r>
            <a:r>
              <a:rPr lang="nb-NO" sz="500">
                <a:latin typeface="Consolas" panose="020B0609020204030204" pitchFamily="49" charset="0"/>
              </a:rPr>
              <a:t>") AS "</a:t>
            </a:r>
            <a:r>
              <a:rPr lang="nb-NO" sz="500" err="1">
                <a:latin typeface="Consolas" panose="020B0609020204030204" pitchFamily="49" charset="0"/>
              </a:rPr>
              <a:t>Freq</a:t>
            </a:r>
            <a:r>
              <a:rPr lang="nb-NO" sz="500">
                <a:latin typeface="Consolas" panose="020B0609020204030204" pitchFamily="49" charset="0"/>
              </a:rPr>
              <a:t> </a:t>
            </a:r>
            <a:r>
              <a:rPr lang="nb-NO" sz="500" err="1">
                <a:latin typeface="Consolas" panose="020B0609020204030204" pitchFamily="49" charset="0"/>
              </a:rPr>
              <a:t>string</a:t>
            </a:r>
            <a:r>
              <a:rPr lang="nb-NO" sz="500">
                <a:latin typeface="Consolas" panose="020B0609020204030204" pitchFamily="49" charset="0"/>
              </a:rPr>
              <a:t>" FROM "</a:t>
            </a:r>
            <a:r>
              <a:rPr lang="nb-NO" sz="500" err="1">
                <a:latin typeface="Consolas" panose="020B0609020204030204" pitchFamily="49" charset="0"/>
              </a:rPr>
              <a:t>Cisco-IOS-XE-wireless-access-point-oper:access-point-oper-data</a:t>
            </a:r>
            <a:r>
              <a:rPr lang="nb-NO" sz="500">
                <a:latin typeface="Consolas" panose="020B0609020204030204" pitchFamily="49" charset="0"/>
              </a:rPr>
              <a:t>/radio-</a:t>
            </a:r>
            <a:r>
              <a:rPr lang="nb-NO" sz="500" err="1">
                <a:latin typeface="Consolas" panose="020B0609020204030204" pitchFamily="49" charset="0"/>
              </a:rPr>
              <a:t>oper</a:t>
            </a:r>
            <a:r>
              <a:rPr lang="nb-NO" sz="500">
                <a:latin typeface="Consolas" panose="020B0609020204030204" pitchFamily="49" charset="0"/>
              </a:rPr>
              <a:t>-data/</a:t>
            </a:r>
            <a:r>
              <a:rPr lang="nb-NO" sz="500" err="1">
                <a:latin typeface="Consolas" panose="020B0609020204030204" pitchFamily="49" charset="0"/>
              </a:rPr>
              <a:t>phy-ht-cfg</a:t>
            </a:r>
            <a:r>
              <a:rPr lang="nb-NO" sz="500">
                <a:latin typeface="Consolas" panose="020B0609020204030204" pitchFamily="49" charset="0"/>
              </a:rPr>
              <a:t>/</a:t>
            </a:r>
            <a:r>
              <a:rPr lang="nb-NO" sz="500" err="1">
                <a:latin typeface="Consolas" panose="020B0609020204030204" pitchFamily="49" charset="0"/>
              </a:rPr>
              <a:t>cfg</a:t>
            </a:r>
            <a:r>
              <a:rPr lang="nb-NO" sz="500">
                <a:latin typeface="Consolas" panose="020B0609020204030204" pitchFamily="49" charset="0"/>
              </a:rPr>
              <a:t>-data" </a:t>
            </a:r>
            <a:r>
              <a:rPr lang="nb-NO" sz="500" err="1">
                <a:latin typeface="Consolas" panose="020B0609020204030204" pitchFamily="49" charset="0"/>
              </a:rPr>
              <a:t>WHERE</a:t>
            </a:r>
            <a:r>
              <a:rPr lang="nb-NO" sz="500">
                <a:latin typeface="Consolas" panose="020B0609020204030204" pitchFamily="49" charset="0"/>
              </a:rPr>
              <a:t> ("</a:t>
            </a:r>
            <a:r>
              <a:rPr lang="nb-NO" sz="500" err="1">
                <a:latin typeface="Consolas" panose="020B0609020204030204" pitchFamily="49" charset="0"/>
              </a:rPr>
              <a:t>wtp_mac</a:t>
            </a:r>
            <a:r>
              <a:rPr lang="nb-NO" sz="500">
                <a:latin typeface="Consolas" panose="020B0609020204030204" pitchFamily="49" charset="0"/>
              </a:rPr>
              <a:t>"::tag =~ /^$</a:t>
            </a:r>
            <a:r>
              <a:rPr lang="nb-NO" sz="500" err="1">
                <a:latin typeface="Consolas" panose="020B0609020204030204" pitchFamily="49" charset="0"/>
              </a:rPr>
              <a:t>APMac</a:t>
            </a:r>
            <a:r>
              <a:rPr lang="nb-NO" sz="500">
                <a:latin typeface="Consolas" panose="020B0609020204030204" pitchFamily="49" charset="0"/>
              </a:rPr>
              <a:t>$/ AND "</a:t>
            </a:r>
            <a:r>
              <a:rPr lang="nb-NO" sz="500" err="1">
                <a:latin typeface="Consolas" panose="020B0609020204030204" pitchFamily="49" charset="0"/>
              </a:rPr>
              <a:t>radio_slot_id</a:t>
            </a:r>
            <a:r>
              <a:rPr lang="nb-NO" sz="500">
                <a:latin typeface="Consolas" panose="020B0609020204030204" pitchFamily="49" charset="0"/>
              </a:rPr>
              <a:t>"::tag = '0') AND $</a:t>
            </a:r>
            <a:r>
              <a:rPr lang="nb-NO" sz="500" err="1">
                <a:latin typeface="Consolas" panose="020B0609020204030204" pitchFamily="49" charset="0"/>
              </a:rPr>
              <a:t>timeFilter</a:t>
            </a:r>
            <a:r>
              <a:rPr lang="nb-NO" sz="500">
                <a:latin typeface="Consolas" panose="020B0609020204030204" pitchFamily="49" charset="0"/>
              </a:rPr>
              <a:t> GROUP BY time($__</a:t>
            </a:r>
            <a:r>
              <a:rPr lang="nb-NO" sz="500" err="1">
                <a:latin typeface="Consolas" panose="020B0609020204030204" pitchFamily="49" charset="0"/>
              </a:rPr>
              <a:t>interval</a:t>
            </a:r>
            <a:r>
              <a:rPr lang="nb-NO" sz="500">
                <a:latin typeface="Consolas" panose="020B0609020204030204" pitchFamily="49" charset="0"/>
              </a:rPr>
              <a:t>) </a:t>
            </a:r>
            <a:r>
              <a:rPr lang="nb-NO" sz="500" err="1">
                <a:latin typeface="Consolas" panose="020B0609020204030204" pitchFamily="49" charset="0"/>
              </a:rPr>
              <a:t>fill</a:t>
            </a:r>
            <a:r>
              <a:rPr lang="nb-NO" sz="500">
                <a:latin typeface="Consolas" panose="020B0609020204030204" pitchFamily="49" charset="0"/>
              </a:rPr>
              <a:t>(null)</a:t>
            </a:r>
          </a:p>
        </p:txBody>
      </p:sp>
      <p:pic>
        <p:nvPicPr>
          <p:cNvPr id="5" name="Picture 4" descr="A blue logo with a black background&#10;&#10;Description automatically generated">
            <a:extLst>
              <a:ext uri="{FF2B5EF4-FFF2-40B4-BE49-F238E27FC236}">
                <a16:creationId xmlns:a16="http://schemas.microsoft.com/office/drawing/2014/main" id="{3A92763D-06D8-57F3-A9AE-DD82E2324C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835930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800"/>
            <a:ext cx="8061075" cy="4838400"/>
          </a:xfrm>
        </p:spPr>
        <p:txBody>
          <a:bodyPr>
            <a:normAutofit/>
          </a:bodyPr>
          <a:lstStyle/>
          <a:p>
            <a:pPr>
              <a:lnSpc>
                <a:spcPct val="110000"/>
              </a:lnSpc>
            </a:pPr>
            <a:r>
              <a:rPr lang="nb-NO" sz="1600" dirty="0" err="1"/>
              <a:t>Add</a:t>
            </a:r>
            <a:r>
              <a:rPr lang="nb-NO" sz="1600" dirty="0"/>
              <a:t> a </a:t>
            </a:r>
            <a:r>
              <a:rPr lang="nb-NO" sz="1600" dirty="0" err="1"/>
              <a:t>new</a:t>
            </a:r>
            <a:r>
              <a:rPr lang="nb-NO" sz="1600" dirty="0"/>
              <a:t> </a:t>
            </a:r>
            <a:r>
              <a:rPr lang="nb-NO" sz="1600" dirty="0" err="1"/>
              <a:t>visualization</a:t>
            </a:r>
            <a:r>
              <a:rPr lang="nb-NO" sz="1600" dirty="0"/>
              <a:t> to </a:t>
            </a:r>
            <a:r>
              <a:rPr lang="nb-NO" sz="1600" dirty="0" err="1"/>
              <a:t>your</a:t>
            </a:r>
            <a:r>
              <a:rPr lang="nb-NO" sz="1600" dirty="0"/>
              <a:t> AP Dashboard</a:t>
            </a:r>
          </a:p>
          <a:p>
            <a:pPr>
              <a:lnSpc>
                <a:spcPct val="110000"/>
              </a:lnSpc>
            </a:pPr>
            <a:endParaRPr lang="nb-NO" sz="1600" dirty="0"/>
          </a:p>
          <a:p>
            <a:pPr marL="0" indent="0">
              <a:lnSpc>
                <a:spcPct val="110000"/>
              </a:lnSpc>
              <a:buNone/>
            </a:pPr>
            <a:endParaRPr lang="nb-NO" sz="1600" dirty="0"/>
          </a:p>
          <a:p>
            <a:pPr>
              <a:lnSpc>
                <a:spcPct val="110000"/>
              </a:lnSpc>
            </a:pPr>
            <a:r>
              <a:rPr lang="nb-NO" sz="1600" dirty="0"/>
              <a:t>Press </a:t>
            </a:r>
            <a:r>
              <a:rPr lang="nb-NO" sz="1600" dirty="0" err="1"/>
              <a:t>the</a:t>
            </a:r>
            <a:r>
              <a:rPr lang="nb-NO" sz="1600" dirty="0"/>
              <a:t> </a:t>
            </a:r>
            <a:r>
              <a:rPr lang="nb-NO" sz="1600" dirty="0" err="1"/>
              <a:t>field</a:t>
            </a:r>
            <a:r>
              <a:rPr lang="nb-NO" sz="1600" dirty="0"/>
              <a:t> </a:t>
            </a:r>
            <a:r>
              <a:rPr lang="nb-NO" sz="1600" dirty="0" err="1"/>
              <a:t>where</a:t>
            </a:r>
            <a:r>
              <a:rPr lang="nb-NO" sz="1600" dirty="0"/>
              <a:t> it </a:t>
            </a:r>
            <a:r>
              <a:rPr lang="nb-NO" sz="1600" dirty="0" err="1"/>
              <a:t>defaults</a:t>
            </a:r>
            <a:r>
              <a:rPr lang="nb-NO" sz="1600" dirty="0"/>
              <a:t> to "Time series"</a:t>
            </a:r>
          </a:p>
          <a:p>
            <a:pPr>
              <a:lnSpc>
                <a:spcPct val="110000"/>
              </a:lnSpc>
            </a:pPr>
            <a:endParaRPr lang="nb-NO" sz="1600" dirty="0"/>
          </a:p>
          <a:p>
            <a:pPr>
              <a:lnSpc>
                <a:spcPct val="110000"/>
              </a:lnSpc>
            </a:pPr>
            <a:r>
              <a:rPr lang="nb-NO" sz="1600" dirty="0" err="1"/>
              <a:t>Search</a:t>
            </a:r>
            <a:r>
              <a:rPr lang="nb-NO" sz="1600" dirty="0"/>
              <a:t> for and </a:t>
            </a:r>
            <a:r>
              <a:rPr lang="nb-NO" sz="1600" dirty="0" err="1"/>
              <a:t>select</a:t>
            </a:r>
            <a:r>
              <a:rPr lang="nb-NO" sz="1600" dirty="0"/>
              <a:t> "State </a:t>
            </a:r>
            <a:r>
              <a:rPr lang="nb-NO" sz="1600" dirty="0" err="1"/>
              <a:t>timeline</a:t>
            </a:r>
            <a:r>
              <a:rPr lang="nb-NO" sz="1600" dirty="0"/>
              <a:t> "</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01814438-6CC5-9FBA-B2FD-A8D2FB1DA1CF}"/>
              </a:ext>
            </a:extLst>
          </p:cNvPr>
          <p:cNvPicPr>
            <a:picLocks noChangeAspect="1"/>
          </p:cNvPicPr>
          <p:nvPr/>
        </p:nvPicPr>
        <p:blipFill>
          <a:blip r:embed="rId3"/>
          <a:stretch>
            <a:fillRect/>
          </a:stretch>
        </p:blipFill>
        <p:spPr>
          <a:xfrm>
            <a:off x="787654" y="3495540"/>
            <a:ext cx="4053038" cy="1678009"/>
          </a:xfrm>
          <a:prstGeom prst="rect">
            <a:avLst/>
          </a:prstGeom>
        </p:spPr>
      </p:pic>
      <p:pic>
        <p:nvPicPr>
          <p:cNvPr id="9" name="Picture 8">
            <a:extLst>
              <a:ext uri="{FF2B5EF4-FFF2-40B4-BE49-F238E27FC236}">
                <a16:creationId xmlns:a16="http://schemas.microsoft.com/office/drawing/2014/main" id="{9396002D-3E4B-63C0-EF9D-E090B4EFCA34}"/>
              </a:ext>
            </a:extLst>
          </p:cNvPr>
          <p:cNvPicPr>
            <a:picLocks noChangeAspect="1"/>
          </p:cNvPicPr>
          <p:nvPr/>
        </p:nvPicPr>
        <p:blipFill>
          <a:blip r:embed="rId4"/>
          <a:stretch>
            <a:fillRect/>
          </a:stretch>
        </p:blipFill>
        <p:spPr>
          <a:xfrm>
            <a:off x="787654" y="1573488"/>
            <a:ext cx="2137129" cy="676307"/>
          </a:xfrm>
          <a:prstGeom prst="rect">
            <a:avLst/>
          </a:prstGeom>
        </p:spPr>
      </p:pic>
      <p:pic>
        <p:nvPicPr>
          <p:cNvPr id="5" name="Picture 4">
            <a:extLst>
              <a:ext uri="{FF2B5EF4-FFF2-40B4-BE49-F238E27FC236}">
                <a16:creationId xmlns:a16="http://schemas.microsoft.com/office/drawing/2014/main" id="{1EB56045-D552-C39C-BC16-522D78705856}"/>
              </a:ext>
            </a:extLst>
          </p:cNvPr>
          <p:cNvPicPr>
            <a:picLocks noChangeAspect="1"/>
          </p:cNvPicPr>
          <p:nvPr/>
        </p:nvPicPr>
        <p:blipFill rotWithShape="1">
          <a:blip r:embed="rId5"/>
          <a:srcRect l="3322" t="13119" r="3378" b="19259"/>
          <a:stretch/>
        </p:blipFill>
        <p:spPr>
          <a:xfrm>
            <a:off x="787654" y="2651442"/>
            <a:ext cx="3741906" cy="444498"/>
          </a:xfrm>
          <a:prstGeom prst="rect">
            <a:avLst/>
          </a:prstGeom>
        </p:spPr>
      </p:pic>
      <p:sp>
        <p:nvSpPr>
          <p:cNvPr id="4" name="Rectangle: Rounded Corners 3">
            <a:extLst>
              <a:ext uri="{FF2B5EF4-FFF2-40B4-BE49-F238E27FC236}">
                <a16:creationId xmlns:a16="http://schemas.microsoft.com/office/drawing/2014/main" id="{AD8D309C-B635-4A3A-47DA-F4ABD1FF2F50}"/>
              </a:ext>
            </a:extLst>
          </p:cNvPr>
          <p:cNvSpPr/>
          <p:nvPr/>
        </p:nvSpPr>
        <p:spPr>
          <a:xfrm>
            <a:off x="1648828" y="1535688"/>
            <a:ext cx="689019" cy="3957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6" name="Straight Arrow Connector 5">
            <a:extLst>
              <a:ext uri="{FF2B5EF4-FFF2-40B4-BE49-F238E27FC236}">
                <a16:creationId xmlns:a16="http://schemas.microsoft.com/office/drawing/2014/main" id="{1874E492-5F54-2590-99CA-D546913A21AD}"/>
              </a:ext>
            </a:extLst>
          </p:cNvPr>
          <p:cNvCxnSpPr>
            <a:cxnSpLocks/>
          </p:cNvCxnSpPr>
          <p:nvPr/>
        </p:nvCxnSpPr>
        <p:spPr>
          <a:xfrm>
            <a:off x="1131216" y="1385740"/>
            <a:ext cx="517612" cy="29871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7" descr="A blue logo with a black background&#10;&#10;Description automatically generated">
            <a:extLst>
              <a:ext uri="{FF2B5EF4-FFF2-40B4-BE49-F238E27FC236}">
                <a16:creationId xmlns:a16="http://schemas.microsoft.com/office/drawing/2014/main" id="{7421EF8C-F0FB-094E-1CEA-AEF20E2C43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03451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39999" y="1009800"/>
            <a:ext cx="9589839" cy="4838400"/>
          </a:xfrm>
        </p:spPr>
        <p:txBody>
          <a:bodyPr>
            <a:normAutofit/>
          </a:bodyPr>
          <a:lstStyle/>
          <a:p>
            <a:pPr>
              <a:lnSpc>
                <a:spcPct val="110000"/>
              </a:lnSpc>
            </a:pPr>
            <a:r>
              <a:rPr lang="nb-NO" sz="1600" err="1"/>
              <a:t>You</a:t>
            </a:r>
            <a:r>
              <a:rPr lang="nb-NO" sz="1600"/>
              <a:t> </a:t>
            </a:r>
            <a:r>
              <a:rPr lang="nb-NO" sz="1600" err="1"/>
              <a:t>probably</a:t>
            </a:r>
            <a:r>
              <a:rPr lang="nb-NO" sz="1600"/>
              <a:t> </a:t>
            </a:r>
            <a:r>
              <a:rPr lang="nb-NO" sz="1600" err="1"/>
              <a:t>see</a:t>
            </a:r>
            <a:r>
              <a:rPr lang="nb-NO" sz="1600"/>
              <a:t> </a:t>
            </a:r>
            <a:r>
              <a:rPr lang="nb-NO" sz="1600" err="1"/>
              <a:t>that</a:t>
            </a:r>
            <a:r>
              <a:rPr lang="nb-NO" sz="1600"/>
              <a:t> </a:t>
            </a:r>
            <a:r>
              <a:rPr lang="nb-NO" sz="1600" err="1"/>
              <a:t>your</a:t>
            </a:r>
            <a:r>
              <a:rPr lang="nb-NO" sz="1600"/>
              <a:t> </a:t>
            </a:r>
            <a:r>
              <a:rPr lang="nb-NO" sz="1600" err="1"/>
              <a:t>timeline</a:t>
            </a:r>
            <a:r>
              <a:rPr lang="nb-NO" sz="1600"/>
              <a:t> variables </a:t>
            </a:r>
            <a:r>
              <a:rPr lang="nb-NO" sz="1600" err="1"/>
              <a:t>looks</a:t>
            </a:r>
            <a:r>
              <a:rPr lang="nb-NO" sz="1600"/>
              <a:t> a bit </a:t>
            </a:r>
            <a:r>
              <a:rPr lang="nb-NO" sz="1600" err="1"/>
              <a:t>weird</a:t>
            </a:r>
            <a:r>
              <a:rPr lang="nb-NO" sz="1600"/>
              <a:t>?</a:t>
            </a:r>
          </a:p>
          <a:p>
            <a:pPr lvl="1">
              <a:lnSpc>
                <a:spcPct val="110000"/>
              </a:lnSpc>
            </a:pPr>
            <a:r>
              <a:rPr lang="nb-NO" sz="1400" err="1"/>
              <a:t>That</a:t>
            </a:r>
            <a:r>
              <a:rPr lang="nb-NO" sz="1400"/>
              <a:t> is </a:t>
            </a:r>
            <a:r>
              <a:rPr lang="nb-NO" sz="1400" err="1"/>
              <a:t>why</a:t>
            </a:r>
            <a:r>
              <a:rPr lang="nb-NO" sz="1400"/>
              <a:t> </a:t>
            </a:r>
            <a:r>
              <a:rPr lang="nb-NO" sz="1400" err="1"/>
              <a:t>we</a:t>
            </a:r>
            <a:r>
              <a:rPr lang="nb-NO" sz="1400"/>
              <a:t> </a:t>
            </a:r>
            <a:r>
              <a:rPr lang="nb-NO" sz="1400" err="1"/>
              <a:t>use</a:t>
            </a:r>
            <a:r>
              <a:rPr lang="nb-NO" sz="1400"/>
              <a:t> a </a:t>
            </a:r>
            <a:r>
              <a:rPr lang="nb-NO" sz="1400" err="1"/>
              <a:t>color</a:t>
            </a:r>
            <a:r>
              <a:rPr lang="nb-NO" sz="1400"/>
              <a:t> </a:t>
            </a:r>
            <a:r>
              <a:rPr lang="nb-NO" sz="1400" err="1"/>
              <a:t>scheme</a:t>
            </a:r>
            <a:r>
              <a:rPr lang="nb-NO" sz="1400"/>
              <a:t> </a:t>
            </a:r>
            <a:r>
              <a:rPr lang="nb-NO" sz="1400" err="1"/>
              <a:t>that</a:t>
            </a:r>
            <a:r>
              <a:rPr lang="nb-NO" sz="1400"/>
              <a:t> </a:t>
            </a:r>
            <a:r>
              <a:rPr lang="nb-NO" sz="1400" err="1"/>
              <a:t>derive</a:t>
            </a:r>
            <a:r>
              <a:rPr lang="nb-NO" sz="1400"/>
              <a:t> </a:t>
            </a:r>
            <a:r>
              <a:rPr lang="nb-NO" sz="1400" err="1"/>
              <a:t>colors</a:t>
            </a:r>
            <a:r>
              <a:rPr lang="nb-NO" sz="1400"/>
              <a:t> from </a:t>
            </a:r>
            <a:r>
              <a:rPr lang="nb-NO" sz="1400" err="1"/>
              <a:t>thresholds</a:t>
            </a:r>
            <a:endParaRPr lang="nb-NO" sz="1400"/>
          </a:p>
          <a:p>
            <a:pPr>
              <a:lnSpc>
                <a:spcPct val="110000"/>
              </a:lnSpc>
            </a:pPr>
            <a:r>
              <a:rPr lang="nb-NO" sz="1600" err="1"/>
              <a:t>Naviagate</a:t>
            </a:r>
            <a:r>
              <a:rPr lang="nb-NO" sz="1600"/>
              <a:t> to Standard Options</a:t>
            </a:r>
          </a:p>
          <a:p>
            <a:pPr lvl="1">
              <a:lnSpc>
                <a:spcPct val="110000"/>
              </a:lnSpc>
            </a:pPr>
            <a:r>
              <a:rPr lang="nb-NO" sz="1400"/>
              <a:t>At </a:t>
            </a:r>
            <a:r>
              <a:rPr lang="nb-NO" sz="1400" err="1"/>
              <a:t>the</a:t>
            </a:r>
            <a:r>
              <a:rPr lang="nb-NO" sz="1400"/>
              <a:t> </a:t>
            </a:r>
            <a:r>
              <a:rPr lang="nb-NO" sz="1400" err="1"/>
              <a:t>bottom</a:t>
            </a:r>
            <a:r>
              <a:rPr lang="nb-NO" sz="1400"/>
              <a:t> </a:t>
            </a:r>
            <a:r>
              <a:rPr lang="nb-NO" sz="1400" err="1"/>
              <a:t>you</a:t>
            </a:r>
            <a:r>
              <a:rPr lang="nb-NO" sz="1400"/>
              <a:t> </a:t>
            </a:r>
            <a:r>
              <a:rPr lang="nb-NO" sz="1400" err="1"/>
              <a:t>will</a:t>
            </a:r>
            <a:r>
              <a:rPr lang="nb-NO" sz="1400"/>
              <a:t> </a:t>
            </a:r>
            <a:r>
              <a:rPr lang="nb-NO" sz="1400" err="1"/>
              <a:t>find</a:t>
            </a:r>
            <a:r>
              <a:rPr lang="nb-NO" sz="1400"/>
              <a:t> </a:t>
            </a:r>
            <a:r>
              <a:rPr lang="nb-NO" sz="1400" err="1"/>
              <a:t>Color</a:t>
            </a:r>
            <a:r>
              <a:rPr lang="nb-NO" sz="1400"/>
              <a:t> </a:t>
            </a:r>
            <a:r>
              <a:rPr lang="nb-NO" sz="1400" err="1"/>
              <a:t>scheme</a:t>
            </a:r>
            <a:endParaRPr lang="nb-NO" sz="1400"/>
          </a:p>
          <a:p>
            <a:pPr lvl="1">
              <a:lnSpc>
                <a:spcPct val="110000"/>
              </a:lnSpc>
            </a:pPr>
            <a:r>
              <a:rPr lang="nb-NO" sz="1400" err="1"/>
              <a:t>Change</a:t>
            </a:r>
            <a:r>
              <a:rPr lang="nb-NO" sz="1400"/>
              <a:t> it to </a:t>
            </a:r>
            <a:r>
              <a:rPr lang="nb-NO" sz="1400" err="1"/>
              <a:t>f.ex</a:t>
            </a:r>
            <a:r>
              <a:rPr lang="nb-NO" sz="1400"/>
              <a:t> </a:t>
            </a:r>
            <a:r>
              <a:rPr lang="nb-NO" sz="1400" err="1"/>
              <a:t>classic</a:t>
            </a:r>
            <a:r>
              <a:rPr lang="nb-NO" sz="1400"/>
              <a:t> </a:t>
            </a:r>
            <a:r>
              <a:rPr lang="nb-NO" sz="1400" err="1"/>
              <a:t>palette</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3C55DF18-88E2-9094-81C6-87695AFC44A8}"/>
              </a:ext>
            </a:extLst>
          </p:cNvPr>
          <p:cNvPicPr>
            <a:picLocks noChangeAspect="1"/>
          </p:cNvPicPr>
          <p:nvPr/>
        </p:nvPicPr>
        <p:blipFill>
          <a:blip r:embed="rId3"/>
          <a:stretch>
            <a:fillRect/>
          </a:stretch>
        </p:blipFill>
        <p:spPr>
          <a:xfrm>
            <a:off x="5924276" y="2416205"/>
            <a:ext cx="5725324" cy="3362794"/>
          </a:xfrm>
          <a:prstGeom prst="rect">
            <a:avLst/>
          </a:prstGeom>
        </p:spPr>
      </p:pic>
      <p:pic>
        <p:nvPicPr>
          <p:cNvPr id="9" name="Picture 8">
            <a:extLst>
              <a:ext uri="{FF2B5EF4-FFF2-40B4-BE49-F238E27FC236}">
                <a16:creationId xmlns:a16="http://schemas.microsoft.com/office/drawing/2014/main" id="{C55D64AF-DCC6-4F54-A067-51FDB81EF8F3}"/>
              </a:ext>
            </a:extLst>
          </p:cNvPr>
          <p:cNvPicPr>
            <a:picLocks noChangeAspect="1"/>
          </p:cNvPicPr>
          <p:nvPr/>
        </p:nvPicPr>
        <p:blipFill>
          <a:blip r:embed="rId4"/>
          <a:stretch>
            <a:fillRect/>
          </a:stretch>
        </p:blipFill>
        <p:spPr>
          <a:xfrm>
            <a:off x="814267" y="3064970"/>
            <a:ext cx="4782227" cy="2714029"/>
          </a:xfrm>
          <a:prstGeom prst="rect">
            <a:avLst/>
          </a:prstGeom>
        </p:spPr>
      </p:pic>
      <p:cxnSp>
        <p:nvCxnSpPr>
          <p:cNvPr id="10" name="Straight Arrow Connector 9">
            <a:extLst>
              <a:ext uri="{FF2B5EF4-FFF2-40B4-BE49-F238E27FC236}">
                <a16:creationId xmlns:a16="http://schemas.microsoft.com/office/drawing/2014/main" id="{C6E3439E-A21C-0CD1-7F05-BBEEB5C05835}"/>
              </a:ext>
            </a:extLst>
          </p:cNvPr>
          <p:cNvCxnSpPr>
            <a:cxnSpLocks/>
          </p:cNvCxnSpPr>
          <p:nvPr/>
        </p:nvCxnSpPr>
        <p:spPr>
          <a:xfrm>
            <a:off x="1226189" y="2309567"/>
            <a:ext cx="0" cy="318117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3" name="Straight Arrow Connector 12">
            <a:extLst>
              <a:ext uri="{FF2B5EF4-FFF2-40B4-BE49-F238E27FC236}">
                <a16:creationId xmlns:a16="http://schemas.microsoft.com/office/drawing/2014/main" id="{137F0FE3-1839-D041-CF52-4B7C557697E9}"/>
              </a:ext>
            </a:extLst>
          </p:cNvPr>
          <p:cNvCxnSpPr>
            <a:cxnSpLocks/>
          </p:cNvCxnSpPr>
          <p:nvPr/>
        </p:nvCxnSpPr>
        <p:spPr>
          <a:xfrm>
            <a:off x="4187776" y="2831395"/>
            <a:ext cx="2071622" cy="219309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797F9295-4F55-930A-BC22-4877EED0051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02520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95505" y="857996"/>
            <a:ext cx="5871283" cy="4838400"/>
          </a:xfrm>
        </p:spPr>
        <p:txBody>
          <a:bodyPr>
            <a:normAutofit/>
          </a:bodyPr>
          <a:lstStyle/>
          <a:p>
            <a:pPr>
              <a:lnSpc>
                <a:spcPct val="110000"/>
              </a:lnSpc>
            </a:pPr>
            <a:r>
              <a:rPr lang="nb-NO" sz="1600" err="1"/>
              <a:t>Name</a:t>
            </a:r>
            <a:r>
              <a:rPr lang="nb-NO" sz="1600"/>
              <a:t> </a:t>
            </a:r>
            <a:r>
              <a:rPr lang="nb-NO" sz="1600" err="1"/>
              <a:t>the</a:t>
            </a:r>
            <a:r>
              <a:rPr lang="nb-NO" sz="1600"/>
              <a:t> panel</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Edit </a:t>
            </a:r>
            <a:r>
              <a:rPr lang="nb-NO" sz="1600" err="1"/>
              <a:t>the</a:t>
            </a:r>
            <a:r>
              <a:rPr lang="nb-NO" sz="1600"/>
              <a:t> panel (</a:t>
            </a:r>
            <a:r>
              <a:rPr lang="nb-NO" sz="1600" err="1"/>
              <a:t>top</a:t>
            </a:r>
            <a:r>
              <a:rPr lang="nb-NO" sz="1600"/>
              <a:t> right corner and </a:t>
            </a:r>
            <a:r>
              <a:rPr lang="nb-NO" sz="1600" err="1"/>
              <a:t>duplicate</a:t>
            </a:r>
            <a:r>
              <a:rPr lang="nb-NO" sz="1600"/>
              <a:t>) and make </a:t>
            </a:r>
            <a:r>
              <a:rPr lang="nb-NO" sz="1600" err="1"/>
              <a:t>one</a:t>
            </a:r>
            <a:r>
              <a:rPr lang="nb-NO" sz="1600"/>
              <a:t> for 2.4, 5 and </a:t>
            </a:r>
            <a:r>
              <a:rPr lang="nb-NO" sz="1600" err="1"/>
              <a:t>6GHz</a:t>
            </a:r>
            <a:r>
              <a:rPr lang="nb-NO" sz="1600"/>
              <a:t> (radio-</a:t>
            </a:r>
            <a:r>
              <a:rPr lang="nb-NO" sz="1600" err="1"/>
              <a:t>slot</a:t>
            </a:r>
            <a:r>
              <a:rPr lang="nb-NO" sz="1600"/>
              <a:t>)</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8" name="Picture 7">
            <a:extLst>
              <a:ext uri="{FF2B5EF4-FFF2-40B4-BE49-F238E27FC236}">
                <a16:creationId xmlns:a16="http://schemas.microsoft.com/office/drawing/2014/main" id="{92279F5A-4E6F-EFB7-4788-CA1620B9D12E}"/>
              </a:ext>
            </a:extLst>
          </p:cNvPr>
          <p:cNvPicPr>
            <a:picLocks noChangeAspect="1"/>
          </p:cNvPicPr>
          <p:nvPr/>
        </p:nvPicPr>
        <p:blipFill>
          <a:blip r:embed="rId3"/>
          <a:stretch>
            <a:fillRect/>
          </a:stretch>
        </p:blipFill>
        <p:spPr>
          <a:xfrm>
            <a:off x="577745" y="3277196"/>
            <a:ext cx="6975620" cy="2514691"/>
          </a:xfrm>
          <a:prstGeom prst="rect">
            <a:avLst/>
          </a:prstGeom>
        </p:spPr>
      </p:pic>
      <p:pic>
        <p:nvPicPr>
          <p:cNvPr id="5" name="Picture 4">
            <a:extLst>
              <a:ext uri="{FF2B5EF4-FFF2-40B4-BE49-F238E27FC236}">
                <a16:creationId xmlns:a16="http://schemas.microsoft.com/office/drawing/2014/main" id="{53587A43-55F7-A37C-8C73-E5F4128EB575}"/>
              </a:ext>
            </a:extLst>
          </p:cNvPr>
          <p:cNvPicPr>
            <a:picLocks noChangeAspect="1"/>
          </p:cNvPicPr>
          <p:nvPr/>
        </p:nvPicPr>
        <p:blipFill>
          <a:blip r:embed="rId4"/>
          <a:stretch>
            <a:fillRect/>
          </a:stretch>
        </p:blipFill>
        <p:spPr>
          <a:xfrm>
            <a:off x="595505" y="1427913"/>
            <a:ext cx="2996532" cy="1070190"/>
          </a:xfrm>
          <a:prstGeom prst="rect">
            <a:avLst/>
          </a:prstGeom>
        </p:spPr>
      </p:pic>
      <p:pic>
        <p:nvPicPr>
          <p:cNvPr id="6" name="Picture 5">
            <a:extLst>
              <a:ext uri="{FF2B5EF4-FFF2-40B4-BE49-F238E27FC236}">
                <a16:creationId xmlns:a16="http://schemas.microsoft.com/office/drawing/2014/main" id="{3383F2EE-95A7-59EE-906A-61050911BCDD}"/>
              </a:ext>
            </a:extLst>
          </p:cNvPr>
          <p:cNvPicPr>
            <a:picLocks noChangeAspect="1"/>
          </p:cNvPicPr>
          <p:nvPr/>
        </p:nvPicPr>
        <p:blipFill>
          <a:blip r:embed="rId5"/>
          <a:stretch>
            <a:fillRect/>
          </a:stretch>
        </p:blipFill>
        <p:spPr>
          <a:xfrm>
            <a:off x="8002310" y="3038778"/>
            <a:ext cx="3524742" cy="2753109"/>
          </a:xfrm>
          <a:prstGeom prst="rect">
            <a:avLst/>
          </a:prstGeom>
        </p:spPr>
      </p:pic>
      <p:cxnSp>
        <p:nvCxnSpPr>
          <p:cNvPr id="7" name="Straight Arrow Connector 6">
            <a:extLst>
              <a:ext uri="{FF2B5EF4-FFF2-40B4-BE49-F238E27FC236}">
                <a16:creationId xmlns:a16="http://schemas.microsoft.com/office/drawing/2014/main" id="{84E02731-ADC5-1910-407C-B1C622789F71}"/>
              </a:ext>
            </a:extLst>
          </p:cNvPr>
          <p:cNvCxnSpPr>
            <a:cxnSpLocks/>
          </p:cNvCxnSpPr>
          <p:nvPr/>
        </p:nvCxnSpPr>
        <p:spPr>
          <a:xfrm>
            <a:off x="5266172" y="3038778"/>
            <a:ext cx="4007530" cy="149431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The distance between the headline and the start of the body copy is always constant.…">
            <a:extLst>
              <a:ext uri="{FF2B5EF4-FFF2-40B4-BE49-F238E27FC236}">
                <a16:creationId xmlns:a16="http://schemas.microsoft.com/office/drawing/2014/main" id="{16BE2A3B-C7B7-E67C-A166-C1AB23396548}"/>
              </a:ext>
            </a:extLst>
          </p:cNvPr>
          <p:cNvSpPr txBox="1">
            <a:spLocks/>
          </p:cNvSpPr>
          <p:nvPr/>
        </p:nvSpPr>
        <p:spPr bwMode="gray">
          <a:xfrm>
            <a:off x="8002310" y="1237648"/>
            <a:ext cx="4001654" cy="1773899"/>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Slot 0 = 2.4GHz</a:t>
            </a:r>
          </a:p>
          <a:p>
            <a:pPr>
              <a:lnSpc>
                <a:spcPct val="110000"/>
              </a:lnSpc>
            </a:pPr>
            <a:r>
              <a:rPr lang="en-US" sz="1600"/>
              <a:t>Slot 1 = 5GHz</a:t>
            </a:r>
          </a:p>
          <a:p>
            <a:pPr>
              <a:lnSpc>
                <a:spcPct val="110000"/>
              </a:lnSpc>
            </a:pPr>
            <a:r>
              <a:rPr lang="en-US" sz="1600"/>
              <a:t>Slot 2 (if AP is dual 5GHz) = 5GHz</a:t>
            </a:r>
          </a:p>
          <a:p>
            <a:pPr>
              <a:lnSpc>
                <a:spcPct val="110000"/>
              </a:lnSpc>
            </a:pPr>
            <a:r>
              <a:rPr lang="en-US" sz="1600"/>
              <a:t>Slot 3 = </a:t>
            </a:r>
            <a:r>
              <a:rPr lang="en-US" sz="1600" err="1"/>
              <a:t>6GHz</a:t>
            </a:r>
            <a:endParaRPr lang="en-US" sz="1600"/>
          </a:p>
        </p:txBody>
      </p:sp>
      <p:pic>
        <p:nvPicPr>
          <p:cNvPr id="4" name="Picture 3" descr="A blue logo with a black background&#10;&#10;Description automatically generated">
            <a:extLst>
              <a:ext uri="{FF2B5EF4-FFF2-40B4-BE49-F238E27FC236}">
                <a16:creationId xmlns:a16="http://schemas.microsoft.com/office/drawing/2014/main" id="{6ED36DB1-C570-7A05-16BD-22935B2552E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18032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Grafana (optional)</a:t>
            </a:r>
          </a:p>
        </p:txBody>
      </p:sp>
      <p:sp>
        <p:nvSpPr>
          <p:cNvPr id="2" name="Footer Placeholder 6">
            <a:extLst>
              <a:ext uri="{FF2B5EF4-FFF2-40B4-BE49-F238E27FC236}">
                <a16:creationId xmlns:a16="http://schemas.microsoft.com/office/drawing/2014/main" id="{0E0A0551-72DF-0801-B2A0-F36EBAA01C3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AEB67DE2-4419-6A35-1303-4FFA243B08D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cxnSp>
        <p:nvCxnSpPr>
          <p:cNvPr id="7" name="Straight Arrow Connector 6">
            <a:extLst>
              <a:ext uri="{FF2B5EF4-FFF2-40B4-BE49-F238E27FC236}">
                <a16:creationId xmlns:a16="http://schemas.microsoft.com/office/drawing/2014/main" id="{84E02731-ADC5-1910-407C-B1C622789F71}"/>
              </a:ext>
            </a:extLst>
          </p:cNvPr>
          <p:cNvCxnSpPr>
            <a:cxnSpLocks/>
          </p:cNvCxnSpPr>
          <p:nvPr/>
        </p:nvCxnSpPr>
        <p:spPr>
          <a:xfrm>
            <a:off x="3879131" y="1871994"/>
            <a:ext cx="2663145" cy="28280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9" name="Content Placeholder 8">
            <a:extLst>
              <a:ext uri="{FF2B5EF4-FFF2-40B4-BE49-F238E27FC236}">
                <a16:creationId xmlns:a16="http://schemas.microsoft.com/office/drawing/2014/main" id="{9CB3148F-8967-BB32-E42F-C7A24334C2F6}"/>
              </a:ext>
            </a:extLst>
          </p:cNvPr>
          <p:cNvSpPr>
            <a:spLocks noGrp="1"/>
          </p:cNvSpPr>
          <p:nvPr>
            <p:ph idx="1"/>
          </p:nvPr>
        </p:nvSpPr>
        <p:spPr>
          <a:xfrm>
            <a:off x="540000" y="1512000"/>
            <a:ext cx="5634557" cy="4298400"/>
          </a:xfrm>
        </p:spPr>
        <p:txBody>
          <a:bodyPr/>
          <a:lstStyle/>
          <a:p>
            <a:r>
              <a:rPr lang="en-GB"/>
              <a:t>Merge consecutive values</a:t>
            </a:r>
          </a:p>
          <a:p>
            <a:r>
              <a:rPr lang="en-GB"/>
              <a:t>Align to text to </a:t>
            </a:r>
            <a:r>
              <a:rPr lang="en-GB" err="1"/>
              <a:t>center</a:t>
            </a:r>
            <a:r>
              <a:rPr lang="en-GB"/>
              <a:t>.</a:t>
            </a:r>
          </a:p>
          <a:p>
            <a:r>
              <a:rPr lang="en-GB"/>
              <a:t>Changer row hight and fill opacity</a:t>
            </a:r>
          </a:p>
        </p:txBody>
      </p:sp>
      <p:pic>
        <p:nvPicPr>
          <p:cNvPr id="11" name="Picture 10">
            <a:extLst>
              <a:ext uri="{FF2B5EF4-FFF2-40B4-BE49-F238E27FC236}">
                <a16:creationId xmlns:a16="http://schemas.microsoft.com/office/drawing/2014/main" id="{9E43F5D6-7D54-C91C-8F3C-DCF06C04E72E}"/>
              </a:ext>
            </a:extLst>
          </p:cNvPr>
          <p:cNvPicPr>
            <a:picLocks noChangeAspect="1"/>
          </p:cNvPicPr>
          <p:nvPr/>
        </p:nvPicPr>
        <p:blipFill>
          <a:blip r:embed="rId3"/>
          <a:stretch>
            <a:fillRect/>
          </a:stretch>
        </p:blipFill>
        <p:spPr>
          <a:xfrm>
            <a:off x="6528135" y="1786079"/>
            <a:ext cx="5121464" cy="3999707"/>
          </a:xfrm>
          <a:prstGeom prst="rect">
            <a:avLst/>
          </a:prstGeom>
        </p:spPr>
      </p:pic>
      <p:cxnSp>
        <p:nvCxnSpPr>
          <p:cNvPr id="18" name="Straight Arrow Connector 17">
            <a:extLst>
              <a:ext uri="{FF2B5EF4-FFF2-40B4-BE49-F238E27FC236}">
                <a16:creationId xmlns:a16="http://schemas.microsoft.com/office/drawing/2014/main" id="{02FBC91B-F087-85D0-D44F-5DA79BF0BEFE}"/>
              </a:ext>
            </a:extLst>
          </p:cNvPr>
          <p:cNvCxnSpPr>
            <a:cxnSpLocks/>
          </p:cNvCxnSpPr>
          <p:nvPr/>
        </p:nvCxnSpPr>
        <p:spPr>
          <a:xfrm>
            <a:off x="4769963" y="2805485"/>
            <a:ext cx="1630837" cy="9898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2" name="Picture 21">
            <a:extLst>
              <a:ext uri="{FF2B5EF4-FFF2-40B4-BE49-F238E27FC236}">
                <a16:creationId xmlns:a16="http://schemas.microsoft.com/office/drawing/2014/main" id="{A83D75D9-2A04-5C6B-C8A0-C47585958862}"/>
              </a:ext>
            </a:extLst>
          </p:cNvPr>
          <p:cNvPicPr>
            <a:picLocks noChangeAspect="1"/>
          </p:cNvPicPr>
          <p:nvPr/>
        </p:nvPicPr>
        <p:blipFill>
          <a:blip r:embed="rId4"/>
          <a:stretch>
            <a:fillRect/>
          </a:stretch>
        </p:blipFill>
        <p:spPr>
          <a:xfrm>
            <a:off x="932958" y="3096179"/>
            <a:ext cx="3610761" cy="1345311"/>
          </a:xfrm>
          <a:prstGeom prst="rect">
            <a:avLst/>
          </a:prstGeom>
        </p:spPr>
      </p:pic>
      <p:pic>
        <p:nvPicPr>
          <p:cNvPr id="24" name="Picture 23">
            <a:extLst>
              <a:ext uri="{FF2B5EF4-FFF2-40B4-BE49-F238E27FC236}">
                <a16:creationId xmlns:a16="http://schemas.microsoft.com/office/drawing/2014/main" id="{3418784B-9AB4-25B3-68C7-B82F0DA9AD1F}"/>
              </a:ext>
            </a:extLst>
          </p:cNvPr>
          <p:cNvPicPr>
            <a:picLocks noChangeAspect="1"/>
          </p:cNvPicPr>
          <p:nvPr/>
        </p:nvPicPr>
        <p:blipFill>
          <a:blip r:embed="rId5"/>
          <a:stretch>
            <a:fillRect/>
          </a:stretch>
        </p:blipFill>
        <p:spPr>
          <a:xfrm>
            <a:off x="932959" y="4506422"/>
            <a:ext cx="3639042" cy="1393270"/>
          </a:xfrm>
          <a:prstGeom prst="rect">
            <a:avLst/>
          </a:prstGeom>
        </p:spPr>
      </p:pic>
      <p:cxnSp>
        <p:nvCxnSpPr>
          <p:cNvPr id="25" name="Straight Arrow Connector 24">
            <a:extLst>
              <a:ext uri="{FF2B5EF4-FFF2-40B4-BE49-F238E27FC236}">
                <a16:creationId xmlns:a16="http://schemas.microsoft.com/office/drawing/2014/main" id="{8A02824E-4815-8401-90CF-5BF0A44953AA}"/>
              </a:ext>
            </a:extLst>
          </p:cNvPr>
          <p:cNvCxnSpPr>
            <a:cxnSpLocks/>
          </p:cNvCxnSpPr>
          <p:nvPr/>
        </p:nvCxnSpPr>
        <p:spPr>
          <a:xfrm flipH="1">
            <a:off x="4769963" y="4227189"/>
            <a:ext cx="1630837" cy="21430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8" name="Straight Arrow Connector 27">
            <a:extLst>
              <a:ext uri="{FF2B5EF4-FFF2-40B4-BE49-F238E27FC236}">
                <a16:creationId xmlns:a16="http://schemas.microsoft.com/office/drawing/2014/main" id="{9AACB0BE-F521-D02C-7A03-53C135141BBC}"/>
              </a:ext>
            </a:extLst>
          </p:cNvPr>
          <p:cNvCxnSpPr>
            <a:cxnSpLocks/>
          </p:cNvCxnSpPr>
          <p:nvPr/>
        </p:nvCxnSpPr>
        <p:spPr>
          <a:xfrm>
            <a:off x="3469065" y="2355616"/>
            <a:ext cx="3073211" cy="65127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 name="Picture 3" descr="A blue logo with a black background&#10;&#10;Description automatically generated">
            <a:extLst>
              <a:ext uri="{FF2B5EF4-FFF2-40B4-BE49-F238E27FC236}">
                <a16:creationId xmlns:a16="http://schemas.microsoft.com/office/drawing/2014/main" id="{FF4D4D91-D78A-BDA4-81FD-600AADD28CB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761467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My first AP Dashboard (example)</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5" name="Picture 4">
            <a:extLst>
              <a:ext uri="{FF2B5EF4-FFF2-40B4-BE49-F238E27FC236}">
                <a16:creationId xmlns:a16="http://schemas.microsoft.com/office/drawing/2014/main" id="{4E7607A7-4FEE-A46B-BF48-AE65FC6B126C}"/>
              </a:ext>
            </a:extLst>
          </p:cNvPr>
          <p:cNvPicPr>
            <a:picLocks noChangeAspect="1"/>
          </p:cNvPicPr>
          <p:nvPr/>
        </p:nvPicPr>
        <p:blipFill>
          <a:blip r:embed="rId3"/>
          <a:stretch>
            <a:fillRect/>
          </a:stretch>
        </p:blipFill>
        <p:spPr>
          <a:xfrm>
            <a:off x="925403" y="1071898"/>
            <a:ext cx="10339606" cy="4816094"/>
          </a:xfrm>
          <a:prstGeom prst="rect">
            <a:avLst/>
          </a:prstGeom>
        </p:spPr>
      </p:pic>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68454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My first AP Dashboard (example 2)</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10" name="Picture 9">
            <a:extLst>
              <a:ext uri="{FF2B5EF4-FFF2-40B4-BE49-F238E27FC236}">
                <a16:creationId xmlns:a16="http://schemas.microsoft.com/office/drawing/2014/main" id="{F5EB3B6A-F72C-D695-BB06-80016894F4DE}"/>
              </a:ext>
            </a:extLst>
          </p:cNvPr>
          <p:cNvPicPr>
            <a:picLocks noChangeAspect="1"/>
          </p:cNvPicPr>
          <p:nvPr/>
        </p:nvPicPr>
        <p:blipFill>
          <a:blip r:embed="rId4"/>
          <a:stretch>
            <a:fillRect/>
          </a:stretch>
        </p:blipFill>
        <p:spPr>
          <a:xfrm>
            <a:off x="826588" y="1000368"/>
            <a:ext cx="10102306" cy="4970976"/>
          </a:xfrm>
          <a:prstGeom prst="rect">
            <a:avLst/>
          </a:prstGeom>
        </p:spPr>
      </p:pic>
    </p:spTree>
    <p:extLst>
      <p:ext uri="{BB962C8B-B14F-4D97-AF65-F5344CB8AC3E}">
        <p14:creationId xmlns:p14="http://schemas.microsoft.com/office/powerpoint/2010/main" val="382458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Save your dashboard to JSON</a:t>
            </a:r>
            <a:endParaRPr lang="en-GB"/>
          </a:p>
        </p:txBody>
      </p:sp>
      <p:sp>
        <p:nvSpPr>
          <p:cNvPr id="7" name="The distance between the headline and the start of the body copy is always constant.…">
            <a:extLst>
              <a:ext uri="{FF2B5EF4-FFF2-40B4-BE49-F238E27FC236}">
                <a16:creationId xmlns:a16="http://schemas.microsoft.com/office/drawing/2014/main" id="{AB39B2EF-DA75-2EBD-A607-63447DACDE5B}"/>
              </a:ext>
            </a:extLst>
          </p:cNvPr>
          <p:cNvSpPr txBox="1">
            <a:spLocks/>
          </p:cNvSpPr>
          <p:nvPr/>
        </p:nvSpPr>
        <p:spPr bwMode="gray">
          <a:xfrm>
            <a:off x="540000" y="886656"/>
            <a:ext cx="111096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p:txBody>
      </p:sp>
      <p:sp>
        <p:nvSpPr>
          <p:cNvPr id="2" name="Footer Placeholder 6">
            <a:extLst>
              <a:ext uri="{FF2B5EF4-FFF2-40B4-BE49-F238E27FC236}">
                <a16:creationId xmlns:a16="http://schemas.microsoft.com/office/drawing/2014/main" id="{A6A1603D-E614-D490-5E97-7F11D3A4015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50E6E05E-D759-39DF-4A3C-A48ED2CBDA8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descr="A blue logo with a black background&#10;&#10;Description automatically generated">
            <a:extLst>
              <a:ext uri="{FF2B5EF4-FFF2-40B4-BE49-F238E27FC236}">
                <a16:creationId xmlns:a16="http://schemas.microsoft.com/office/drawing/2014/main" id="{DF2E9DA2-A91A-2582-4805-84C9911914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pic>
        <p:nvPicPr>
          <p:cNvPr id="5" name="Picture 4">
            <a:extLst>
              <a:ext uri="{FF2B5EF4-FFF2-40B4-BE49-F238E27FC236}">
                <a16:creationId xmlns:a16="http://schemas.microsoft.com/office/drawing/2014/main" id="{CA34340B-21CB-8F62-F694-8DA4EE11F656}"/>
              </a:ext>
            </a:extLst>
          </p:cNvPr>
          <p:cNvPicPr>
            <a:picLocks noChangeAspect="1"/>
          </p:cNvPicPr>
          <p:nvPr/>
        </p:nvPicPr>
        <p:blipFill>
          <a:blip r:embed="rId4"/>
          <a:stretch>
            <a:fillRect/>
          </a:stretch>
        </p:blipFill>
        <p:spPr>
          <a:xfrm>
            <a:off x="540000" y="1420318"/>
            <a:ext cx="9269119" cy="3677163"/>
          </a:xfrm>
          <a:prstGeom prst="rect">
            <a:avLst/>
          </a:prstGeom>
        </p:spPr>
      </p:pic>
      <p:cxnSp>
        <p:nvCxnSpPr>
          <p:cNvPr id="9" name="Straight Arrow Connector 8">
            <a:extLst>
              <a:ext uri="{FF2B5EF4-FFF2-40B4-BE49-F238E27FC236}">
                <a16:creationId xmlns:a16="http://schemas.microsoft.com/office/drawing/2014/main" id="{84A049F0-FA3A-2C3F-EE40-3731C62C1615}"/>
              </a:ext>
            </a:extLst>
          </p:cNvPr>
          <p:cNvCxnSpPr>
            <a:cxnSpLocks/>
          </p:cNvCxnSpPr>
          <p:nvPr/>
        </p:nvCxnSpPr>
        <p:spPr>
          <a:xfrm>
            <a:off x="5928610" y="792743"/>
            <a:ext cx="3224817" cy="7155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Rectangle: Rounded Corners 14">
            <a:extLst>
              <a:ext uri="{FF2B5EF4-FFF2-40B4-BE49-F238E27FC236}">
                <a16:creationId xmlns:a16="http://schemas.microsoft.com/office/drawing/2014/main" id="{5DEC4C56-2F0C-2608-9DAF-6C680EF38DC6}"/>
              </a:ext>
            </a:extLst>
          </p:cNvPr>
          <p:cNvSpPr/>
          <p:nvPr/>
        </p:nvSpPr>
        <p:spPr>
          <a:xfrm>
            <a:off x="3346516" y="2601953"/>
            <a:ext cx="876692"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6" name="Straight Arrow Connector 15">
            <a:extLst>
              <a:ext uri="{FF2B5EF4-FFF2-40B4-BE49-F238E27FC236}">
                <a16:creationId xmlns:a16="http://schemas.microsoft.com/office/drawing/2014/main" id="{3FDF1817-039B-3A2D-5235-E0E6C59F4C39}"/>
              </a:ext>
            </a:extLst>
          </p:cNvPr>
          <p:cNvCxnSpPr>
            <a:cxnSpLocks/>
          </p:cNvCxnSpPr>
          <p:nvPr/>
        </p:nvCxnSpPr>
        <p:spPr>
          <a:xfrm>
            <a:off x="4223208" y="3046612"/>
            <a:ext cx="2875176" cy="131175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107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Get</a:t>
            </a:r>
            <a:r>
              <a:rPr lang="nb-NO" sz="1600"/>
              <a:t> </a:t>
            </a:r>
            <a:r>
              <a:rPr lang="nb-NO" sz="1600" err="1"/>
              <a:t>help</a:t>
            </a:r>
            <a:r>
              <a:rPr lang="nb-NO" sz="1600"/>
              <a:t> to </a:t>
            </a:r>
            <a:r>
              <a:rPr lang="nb-NO" sz="1600" err="1"/>
              <a:t>whatever</a:t>
            </a:r>
            <a:r>
              <a:rPr lang="nb-NO" sz="1600"/>
              <a:t> </a:t>
            </a:r>
            <a:r>
              <a:rPr lang="nb-NO" sz="1600" err="1"/>
              <a:t>you</a:t>
            </a:r>
            <a:r>
              <a:rPr lang="nb-NO" sz="1600"/>
              <a:t> </a:t>
            </a:r>
            <a:r>
              <a:rPr lang="nb-NO" sz="1600" err="1"/>
              <a:t>did</a:t>
            </a:r>
            <a:r>
              <a:rPr lang="nb-NO" sz="1600"/>
              <a:t> not finish</a:t>
            </a:r>
          </a:p>
          <a:p>
            <a:pPr>
              <a:lnSpc>
                <a:spcPct val="110000"/>
              </a:lnSpc>
            </a:pPr>
            <a:r>
              <a:rPr lang="nb-NO" sz="1600" err="1"/>
              <a:t>There</a:t>
            </a:r>
            <a:r>
              <a:rPr lang="nb-NO" sz="1600"/>
              <a:t> </a:t>
            </a:r>
            <a:r>
              <a:rPr lang="nb-NO" sz="1600" err="1"/>
              <a:t>will</a:t>
            </a:r>
            <a:r>
              <a:rPr lang="nb-NO" sz="1600"/>
              <a:t> </a:t>
            </a:r>
            <a:r>
              <a:rPr lang="nb-NO" sz="1600" err="1"/>
              <a:t>probably</a:t>
            </a:r>
            <a:r>
              <a:rPr lang="nb-NO" sz="1600"/>
              <a:t> (</a:t>
            </a:r>
            <a:r>
              <a:rPr lang="nb-NO" sz="1600" err="1"/>
              <a:t>always</a:t>
            </a:r>
            <a:r>
              <a:rPr lang="nb-NO" sz="1600"/>
              <a:t>) be </a:t>
            </a:r>
            <a:r>
              <a:rPr lang="nb-NO" sz="1600" err="1"/>
              <a:t>some</a:t>
            </a:r>
            <a:r>
              <a:rPr lang="nb-NO" sz="1600"/>
              <a:t> cases </a:t>
            </a:r>
            <a:r>
              <a:rPr lang="nb-NO" sz="1600" err="1"/>
              <a:t>which</a:t>
            </a:r>
            <a:r>
              <a:rPr lang="nb-NO" sz="1600"/>
              <a:t> falls </a:t>
            </a:r>
            <a:r>
              <a:rPr lang="nb-NO" sz="1600" err="1"/>
              <a:t>outside</a:t>
            </a:r>
            <a:r>
              <a:rPr lang="nb-NO" sz="1600"/>
              <a:t> </a:t>
            </a:r>
            <a:r>
              <a:rPr lang="nb-NO" sz="1600" err="1"/>
              <a:t>what</a:t>
            </a:r>
            <a:r>
              <a:rPr lang="nb-NO" sz="1600"/>
              <a:t> is </a:t>
            </a:r>
            <a:r>
              <a:rPr lang="nb-NO" sz="1600" err="1"/>
              <a:t>tested</a:t>
            </a:r>
            <a:endParaRPr lang="nb-NO" sz="14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0: Finish the pre-lab tasks</a:t>
            </a:r>
          </a:p>
        </p:txBody>
      </p:sp>
      <p:sp>
        <p:nvSpPr>
          <p:cNvPr id="3" name="Footer Placeholder 6">
            <a:extLst>
              <a:ext uri="{FF2B5EF4-FFF2-40B4-BE49-F238E27FC236}">
                <a16:creationId xmlns:a16="http://schemas.microsoft.com/office/drawing/2014/main" id="{8B0EB746-8244-5757-EA77-ABE9D60BF1D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D5A99BA-E2FE-FBF1-0ABF-DEC72FED1C6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0: Finish the pre-lab tasks</a:t>
            </a:r>
          </a:p>
        </p:txBody>
      </p:sp>
    </p:spTree>
    <p:extLst>
      <p:ext uri="{BB962C8B-B14F-4D97-AF65-F5344CB8AC3E}">
        <p14:creationId xmlns:p14="http://schemas.microsoft.com/office/powerpoint/2010/main" val="263322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Connect </a:t>
            </a:r>
            <a:r>
              <a:rPr lang="nb-NO" sz="1600" dirty="0" err="1"/>
              <a:t>your</a:t>
            </a:r>
            <a:r>
              <a:rPr lang="nb-NO" sz="1600" dirty="0"/>
              <a:t> laptop to </a:t>
            </a:r>
            <a:r>
              <a:rPr lang="nb-NO" sz="1600" dirty="0" err="1"/>
              <a:t>one</a:t>
            </a:r>
            <a:r>
              <a:rPr lang="nb-NO" sz="1600" dirty="0"/>
              <a:t> </a:t>
            </a:r>
            <a:r>
              <a:rPr lang="nb-NO" sz="1600" dirty="0" err="1"/>
              <a:t>of</a:t>
            </a:r>
            <a:r>
              <a:rPr lang="nb-NO" sz="1600" dirty="0"/>
              <a:t> </a:t>
            </a:r>
            <a:r>
              <a:rPr lang="nb-NO" sz="1600" dirty="0" err="1"/>
              <a:t>the</a:t>
            </a:r>
            <a:r>
              <a:rPr lang="nb-NO" sz="1600" dirty="0"/>
              <a:t> ports in </a:t>
            </a:r>
            <a:r>
              <a:rPr lang="nb-NO" sz="1600" dirty="0" err="1"/>
              <a:t>the</a:t>
            </a:r>
            <a:r>
              <a:rPr lang="nb-NO" sz="1600" dirty="0"/>
              <a:t> </a:t>
            </a:r>
            <a:r>
              <a:rPr lang="nb-NO" sz="1600" dirty="0" err="1"/>
              <a:t>switch</a:t>
            </a:r>
            <a:endParaRPr lang="nb-NO" sz="1600" dirty="0"/>
          </a:p>
          <a:p>
            <a:pPr lvl="1">
              <a:lnSpc>
                <a:spcPct val="110000"/>
              </a:lnSpc>
            </a:pPr>
            <a:r>
              <a:rPr lang="nb-NO" sz="1400" dirty="0"/>
              <a:t>Ensure </a:t>
            </a:r>
            <a:r>
              <a:rPr lang="nb-NO" sz="1400" dirty="0" err="1"/>
              <a:t>you</a:t>
            </a:r>
            <a:r>
              <a:rPr lang="nb-NO" sz="1400" dirty="0"/>
              <a:t> </a:t>
            </a:r>
            <a:r>
              <a:rPr lang="nb-NO" sz="1400" dirty="0" err="1"/>
              <a:t>get</a:t>
            </a:r>
            <a:r>
              <a:rPr lang="nb-NO" sz="1400" dirty="0"/>
              <a:t> </a:t>
            </a:r>
            <a:r>
              <a:rPr lang="nb-NO" sz="1400" dirty="0" err="1"/>
              <a:t>DHCP</a:t>
            </a:r>
            <a:r>
              <a:rPr lang="nb-NO" sz="1400" dirty="0"/>
              <a:t> in </a:t>
            </a:r>
            <a:r>
              <a:rPr lang="nb-NO" sz="1400" dirty="0" err="1"/>
              <a:t>the</a:t>
            </a:r>
            <a:r>
              <a:rPr lang="nb-NO" sz="1400" dirty="0"/>
              <a:t> range 192.168.10.71-250 /24</a:t>
            </a:r>
          </a:p>
          <a:p>
            <a:pPr lvl="1">
              <a:lnSpc>
                <a:spcPct val="110000"/>
              </a:lnSpc>
            </a:pPr>
            <a:r>
              <a:rPr lang="nb-NO" sz="1400" dirty="0"/>
              <a:t>Ensure </a:t>
            </a:r>
            <a:r>
              <a:rPr lang="nb-NO" sz="1400" dirty="0" err="1"/>
              <a:t>you</a:t>
            </a:r>
            <a:r>
              <a:rPr lang="nb-NO" sz="1400" dirty="0"/>
              <a:t> </a:t>
            </a:r>
            <a:r>
              <a:rPr lang="nb-NO" sz="1400" dirty="0" err="1"/>
              <a:t>get</a:t>
            </a:r>
            <a:r>
              <a:rPr lang="nb-NO" sz="1400" dirty="0"/>
              <a:t> </a:t>
            </a:r>
            <a:r>
              <a:rPr lang="nb-NO" sz="1400" dirty="0" err="1"/>
              <a:t>internet</a:t>
            </a:r>
            <a:r>
              <a:rPr lang="nb-NO" sz="1400" dirty="0"/>
              <a:t> </a:t>
            </a:r>
            <a:r>
              <a:rPr lang="nb-NO" sz="1400" dirty="0" err="1"/>
              <a:t>access</a:t>
            </a:r>
            <a:r>
              <a:rPr lang="nb-NO" sz="1400" dirty="0"/>
              <a:t> </a:t>
            </a:r>
            <a:r>
              <a:rPr lang="nb-NO" sz="1400" dirty="0" err="1"/>
              <a:t>through</a:t>
            </a:r>
            <a:r>
              <a:rPr lang="nb-NO" sz="1400" dirty="0"/>
              <a:t> </a:t>
            </a:r>
            <a:r>
              <a:rPr lang="nb-NO" sz="1400" dirty="0" err="1"/>
              <a:t>the</a:t>
            </a:r>
            <a:r>
              <a:rPr lang="nb-NO" sz="1400" dirty="0"/>
              <a:t> </a:t>
            </a:r>
            <a:r>
              <a:rPr lang="nb-NO" sz="1400" dirty="0" err="1"/>
              <a:t>wired</a:t>
            </a:r>
            <a:r>
              <a:rPr lang="nb-NO" sz="1400" dirty="0"/>
              <a:t> </a:t>
            </a:r>
            <a:r>
              <a:rPr lang="nb-NO" sz="1400" dirty="0" err="1"/>
              <a:t>connection</a:t>
            </a:r>
            <a:endParaRPr lang="nb-NO" sz="1400" dirty="0"/>
          </a:p>
          <a:p>
            <a:pPr>
              <a:lnSpc>
                <a:spcPct val="110000"/>
              </a:lnSpc>
            </a:pPr>
            <a:r>
              <a:rPr lang="nb-NO" sz="1600" dirty="0" err="1"/>
              <a:t>Refer</a:t>
            </a:r>
            <a:r>
              <a:rPr lang="nb-NO" sz="1600" dirty="0"/>
              <a:t> to </a:t>
            </a:r>
            <a:r>
              <a:rPr lang="nb-NO" sz="1600" dirty="0" err="1"/>
              <a:t>the</a:t>
            </a:r>
            <a:r>
              <a:rPr lang="nb-NO" sz="1600" dirty="0"/>
              <a:t> lab </a:t>
            </a:r>
            <a:r>
              <a:rPr lang="nb-NO" sz="1600" dirty="0" err="1"/>
              <a:t>topology</a:t>
            </a:r>
            <a:r>
              <a:rPr lang="nb-NO" sz="1600" dirty="0"/>
              <a:t>, and </a:t>
            </a:r>
            <a:r>
              <a:rPr lang="nb-NO" sz="1600" dirty="0" err="1"/>
              <a:t>try</a:t>
            </a:r>
            <a:r>
              <a:rPr lang="nb-NO" sz="1600" dirty="0"/>
              <a:t> </a:t>
            </a:r>
            <a:r>
              <a:rPr lang="nb-NO" sz="1600" dirty="0" err="1"/>
              <a:t>the</a:t>
            </a:r>
            <a:r>
              <a:rPr lang="nb-NO" sz="1600" dirty="0"/>
              <a:t> </a:t>
            </a:r>
            <a:r>
              <a:rPr lang="nb-NO" sz="1600" dirty="0" err="1"/>
              <a:t>following</a:t>
            </a:r>
            <a:endParaRPr lang="nb-NO" sz="1400" dirty="0"/>
          </a:p>
          <a:p>
            <a:pPr lvl="1">
              <a:lnSpc>
                <a:spcPct val="110000"/>
              </a:lnSpc>
            </a:pPr>
            <a:r>
              <a:rPr lang="nb-NO" sz="1400" dirty="0"/>
              <a:t>SSH to </a:t>
            </a:r>
            <a:r>
              <a:rPr lang="nb-NO" sz="1400" dirty="0" err="1"/>
              <a:t>the</a:t>
            </a:r>
            <a:r>
              <a:rPr lang="nb-NO" sz="1400" dirty="0"/>
              <a:t> </a:t>
            </a:r>
            <a:r>
              <a:rPr lang="nb-NO" sz="1400" dirty="0" err="1"/>
              <a:t>shared</a:t>
            </a:r>
            <a:r>
              <a:rPr lang="nb-NO" sz="1400" dirty="0"/>
              <a:t> </a:t>
            </a:r>
            <a:r>
              <a:rPr lang="nb-NO" sz="1400" dirty="0" err="1"/>
              <a:t>Ubuntu</a:t>
            </a:r>
            <a:r>
              <a:rPr lang="nb-NO" sz="1400" dirty="0"/>
              <a:t> servers (192.168.10.7 and .8)</a:t>
            </a:r>
          </a:p>
          <a:p>
            <a:pPr lvl="1">
              <a:lnSpc>
                <a:spcPct val="110000"/>
              </a:lnSpc>
            </a:pPr>
            <a:r>
              <a:rPr lang="nb-NO" sz="1400" dirty="0"/>
              <a:t>SSH and HTTPS to </a:t>
            </a:r>
            <a:r>
              <a:rPr lang="nb-NO" sz="1400" dirty="0" err="1"/>
              <a:t>the</a:t>
            </a:r>
            <a:r>
              <a:rPr lang="nb-NO" sz="1400" dirty="0"/>
              <a:t> </a:t>
            </a:r>
            <a:r>
              <a:rPr lang="nb-NO" sz="1400" dirty="0" err="1"/>
              <a:t>shared</a:t>
            </a:r>
            <a:r>
              <a:rPr lang="nb-NO" sz="1400" dirty="0"/>
              <a:t> </a:t>
            </a:r>
            <a:r>
              <a:rPr lang="nb-NO" sz="1400" dirty="0" err="1"/>
              <a:t>WLC</a:t>
            </a:r>
            <a:r>
              <a:rPr lang="nb-NO" sz="1400" dirty="0"/>
              <a:t> (192.168.10.9)</a:t>
            </a:r>
          </a:p>
          <a:p>
            <a:pPr lvl="1">
              <a:lnSpc>
                <a:spcPct val="110000"/>
              </a:lnSpc>
            </a:pPr>
            <a:r>
              <a:rPr lang="nb-NO" sz="1400" dirty="0"/>
              <a:t>SSH to </a:t>
            </a:r>
            <a:r>
              <a:rPr lang="nb-NO" sz="1400" dirty="0" err="1"/>
              <a:t>the</a:t>
            </a:r>
            <a:r>
              <a:rPr lang="nb-NO" sz="1400" dirty="0"/>
              <a:t> </a:t>
            </a:r>
            <a:r>
              <a:rPr lang="nb-NO" sz="1400" dirty="0" err="1"/>
              <a:t>switch</a:t>
            </a:r>
            <a:r>
              <a:rPr lang="nb-NO" sz="1400" dirty="0"/>
              <a:t> (192.168.10.2)</a:t>
            </a:r>
          </a:p>
          <a:p>
            <a:pPr lvl="1">
              <a:lnSpc>
                <a:spcPct val="110000"/>
              </a:lnSpc>
            </a:pPr>
            <a:r>
              <a:rPr lang="nb-NO" sz="1400" dirty="0" err="1"/>
              <a:t>You</a:t>
            </a:r>
            <a:r>
              <a:rPr lang="nb-NO" sz="1400" dirty="0"/>
              <a:t> have </a:t>
            </a:r>
            <a:r>
              <a:rPr lang="nb-NO" sz="1400" dirty="0" err="1"/>
              <a:t>admin</a:t>
            </a:r>
            <a:r>
              <a:rPr lang="nb-NO" sz="1400" dirty="0"/>
              <a:t> </a:t>
            </a:r>
            <a:r>
              <a:rPr lang="nb-NO" sz="1400" dirty="0" err="1"/>
              <a:t>access</a:t>
            </a:r>
            <a:r>
              <a:rPr lang="nb-NO" sz="1400" dirty="0"/>
              <a:t> to all </a:t>
            </a:r>
            <a:r>
              <a:rPr lang="nb-NO" sz="1400" dirty="0" err="1"/>
              <a:t>shared</a:t>
            </a:r>
            <a:r>
              <a:rPr lang="nb-NO" sz="1400" dirty="0"/>
              <a:t> </a:t>
            </a:r>
            <a:r>
              <a:rPr lang="nb-NO" sz="1400" dirty="0" err="1"/>
              <a:t>devices</a:t>
            </a:r>
            <a:r>
              <a:rPr lang="nb-NO" sz="1400" dirty="0"/>
              <a:t>, </a:t>
            </a:r>
            <a:r>
              <a:rPr lang="nb-NO" sz="1400" dirty="0" err="1"/>
              <a:t>please</a:t>
            </a:r>
            <a:r>
              <a:rPr lang="nb-NO" sz="1400" dirty="0"/>
              <a:t> </a:t>
            </a:r>
            <a:r>
              <a:rPr lang="nb-NO" sz="1400" dirty="0" err="1"/>
              <a:t>don't</a:t>
            </a:r>
            <a:r>
              <a:rPr lang="nb-NO" sz="1400" dirty="0"/>
              <a:t> mess up for </a:t>
            </a:r>
            <a:r>
              <a:rPr lang="nb-NO" sz="1400" dirty="0" err="1"/>
              <a:t>each</a:t>
            </a:r>
            <a:r>
              <a:rPr lang="nb-NO" sz="1400" dirty="0"/>
              <a:t> </a:t>
            </a:r>
            <a:r>
              <a:rPr lang="nb-NO" sz="1400" dirty="0" err="1"/>
              <a:t>other</a:t>
            </a:r>
            <a:r>
              <a:rPr lang="nb-NO" sz="1400" dirty="0"/>
              <a:t> </a:t>
            </a:r>
            <a:r>
              <a:rPr lang="nb-NO" sz="1400" dirty="0">
                <a:sym typeface="Wingdings" panose="05000000000000000000" pitchFamily="2" charset="2"/>
              </a:rPr>
              <a:t></a:t>
            </a:r>
          </a:p>
          <a:p>
            <a:pPr>
              <a:lnSpc>
                <a:spcPct val="110000"/>
              </a:lnSpc>
            </a:pPr>
            <a:r>
              <a:rPr lang="nb-NO" sz="1600" dirty="0">
                <a:sym typeface="Wingdings" panose="05000000000000000000" pitchFamily="2" charset="2"/>
              </a:rPr>
              <a:t>Power up </a:t>
            </a:r>
            <a:r>
              <a:rPr lang="nb-NO" sz="1600" dirty="0" err="1">
                <a:sym typeface="Wingdings" panose="05000000000000000000" pitchFamily="2" charset="2"/>
              </a:rPr>
              <a:t>your</a:t>
            </a:r>
            <a:r>
              <a:rPr lang="nb-NO" sz="1600" dirty="0">
                <a:sym typeface="Wingdings" panose="05000000000000000000" pitchFamily="2" charset="2"/>
              </a:rPr>
              <a:t> VMs and </a:t>
            </a:r>
            <a:r>
              <a:rPr lang="nb-NO" sz="1600" dirty="0" err="1">
                <a:sym typeface="Wingdings" panose="05000000000000000000" pitchFamily="2" charset="2"/>
              </a:rPr>
              <a:t>ensure</a:t>
            </a:r>
            <a:r>
              <a:rPr lang="nb-NO" sz="1600" dirty="0">
                <a:sym typeface="Wingdings" panose="05000000000000000000" pitchFamily="2" charset="2"/>
              </a:rPr>
              <a:t> </a:t>
            </a:r>
            <a:r>
              <a:rPr lang="nb-NO" sz="1600" dirty="0" err="1">
                <a:sym typeface="Wingdings" panose="05000000000000000000" pitchFamily="2" charset="2"/>
              </a:rPr>
              <a:t>their</a:t>
            </a:r>
            <a:r>
              <a:rPr lang="nb-NO" sz="1600" dirty="0">
                <a:sym typeface="Wingdings" panose="05000000000000000000" pitchFamily="2" charset="2"/>
              </a:rPr>
              <a:t> </a:t>
            </a:r>
            <a:r>
              <a:rPr lang="nb-NO" sz="1600" dirty="0" err="1">
                <a:sym typeface="Wingdings" panose="05000000000000000000" pitchFamily="2" charset="2"/>
              </a:rPr>
              <a:t>access</a:t>
            </a:r>
            <a:endParaRPr lang="nb-NO" sz="1600" dirty="0">
              <a:sym typeface="Wingdings" panose="05000000000000000000" pitchFamily="2" charset="2"/>
            </a:endParaRPr>
          </a:p>
          <a:p>
            <a:pPr lvl="1">
              <a:lnSpc>
                <a:spcPct val="110000"/>
              </a:lnSpc>
            </a:pPr>
            <a:r>
              <a:rPr lang="nb-NO" sz="1400" dirty="0">
                <a:sym typeface="Wingdings" panose="05000000000000000000" pitchFamily="2" charset="2"/>
              </a:rPr>
              <a:t>Your </a:t>
            </a:r>
            <a:r>
              <a:rPr lang="nb-NO" sz="1400" dirty="0" err="1">
                <a:sym typeface="Wingdings" panose="05000000000000000000" pitchFamily="2" charset="2"/>
              </a:rPr>
              <a:t>Ubuntu</a:t>
            </a:r>
            <a:r>
              <a:rPr lang="nb-NO" sz="1400" dirty="0">
                <a:sym typeface="Wingdings" panose="05000000000000000000" pitchFamily="2" charset="2"/>
              </a:rPr>
              <a:t> </a:t>
            </a:r>
            <a:r>
              <a:rPr lang="nb-NO" sz="1400" dirty="0" err="1">
                <a:sym typeface="Wingdings" panose="05000000000000000000" pitchFamily="2" charset="2"/>
              </a:rPr>
              <a:t>should</a:t>
            </a:r>
            <a:r>
              <a:rPr lang="nb-NO" sz="1400" dirty="0">
                <a:sym typeface="Wingdings" panose="05000000000000000000" pitchFamily="2" charset="2"/>
              </a:rPr>
              <a:t> have </a:t>
            </a:r>
            <a:r>
              <a:rPr lang="nb-NO" sz="1400" dirty="0" err="1">
                <a:sym typeface="Wingdings" panose="05000000000000000000" pitchFamily="2" charset="2"/>
              </a:rPr>
              <a:t>access</a:t>
            </a:r>
            <a:r>
              <a:rPr lang="nb-NO" sz="1400" dirty="0">
                <a:sym typeface="Wingdings" panose="05000000000000000000" pitchFamily="2" charset="2"/>
              </a:rPr>
              <a:t> to </a:t>
            </a:r>
            <a:r>
              <a:rPr lang="nb-NO" sz="1400" dirty="0" err="1">
                <a:sym typeface="Wingdings" panose="05000000000000000000" pitchFamily="2" charset="2"/>
              </a:rPr>
              <a:t>your</a:t>
            </a:r>
            <a:r>
              <a:rPr lang="nb-NO" sz="1400" dirty="0">
                <a:sym typeface="Wingdings" panose="05000000000000000000" pitchFamily="2" charset="2"/>
              </a:rPr>
              <a:t> </a:t>
            </a:r>
            <a:r>
              <a:rPr lang="nb-NO" sz="1400" dirty="0" err="1">
                <a:sym typeface="Wingdings" panose="05000000000000000000" pitchFamily="2" charset="2"/>
              </a:rPr>
              <a:t>WLC</a:t>
            </a:r>
            <a:endParaRPr lang="nb-NO" sz="1400" dirty="0">
              <a:sym typeface="Wingdings" panose="05000000000000000000" pitchFamily="2" charset="2"/>
            </a:endParaRPr>
          </a:p>
          <a:p>
            <a:pPr lvl="1">
              <a:lnSpc>
                <a:spcPct val="110000"/>
              </a:lnSpc>
            </a:pPr>
            <a:r>
              <a:rPr lang="nb-NO" sz="1400" dirty="0" err="1">
                <a:sym typeface="Wingdings" panose="05000000000000000000" pitchFamily="2" charset="2"/>
              </a:rPr>
              <a:t>Both</a:t>
            </a:r>
            <a:r>
              <a:rPr lang="nb-NO" sz="1400" dirty="0">
                <a:sym typeface="Wingdings" panose="05000000000000000000" pitchFamily="2" charset="2"/>
              </a:rPr>
              <a:t> </a:t>
            </a:r>
            <a:r>
              <a:rPr lang="nb-NO" sz="1400" dirty="0" err="1">
                <a:sym typeface="Wingdings" panose="05000000000000000000" pitchFamily="2" charset="2"/>
              </a:rPr>
              <a:t>your</a:t>
            </a:r>
            <a:r>
              <a:rPr lang="nb-NO" sz="1400" dirty="0">
                <a:sym typeface="Wingdings" panose="05000000000000000000" pitchFamily="2" charset="2"/>
              </a:rPr>
              <a:t> </a:t>
            </a:r>
            <a:r>
              <a:rPr lang="nb-NO" sz="1400" dirty="0" err="1">
                <a:sym typeface="Wingdings" panose="05000000000000000000" pitchFamily="2" charset="2"/>
              </a:rPr>
              <a:t>Ubuntu</a:t>
            </a:r>
            <a:r>
              <a:rPr lang="nb-NO" sz="1400" dirty="0">
                <a:sym typeface="Wingdings" panose="05000000000000000000" pitchFamily="2" charset="2"/>
              </a:rPr>
              <a:t> and </a:t>
            </a:r>
            <a:r>
              <a:rPr lang="nb-NO" sz="1400" dirty="0" err="1">
                <a:sym typeface="Wingdings" panose="05000000000000000000" pitchFamily="2" charset="2"/>
              </a:rPr>
              <a:t>WLC</a:t>
            </a:r>
            <a:r>
              <a:rPr lang="nb-NO" sz="1400" dirty="0">
                <a:sym typeface="Wingdings" panose="05000000000000000000" pitchFamily="2" charset="2"/>
              </a:rPr>
              <a:t> </a:t>
            </a:r>
            <a:r>
              <a:rPr lang="nb-NO" sz="1400" dirty="0" err="1">
                <a:sym typeface="Wingdings" panose="05000000000000000000" pitchFamily="2" charset="2"/>
              </a:rPr>
              <a:t>should</a:t>
            </a:r>
            <a:r>
              <a:rPr lang="nb-NO" sz="1400" dirty="0">
                <a:sym typeface="Wingdings" panose="05000000000000000000" pitchFamily="2" charset="2"/>
              </a:rPr>
              <a:t> have </a:t>
            </a:r>
            <a:r>
              <a:rPr lang="nb-NO" sz="1400" dirty="0" err="1">
                <a:sym typeface="Wingdings" panose="05000000000000000000" pitchFamily="2" charset="2"/>
              </a:rPr>
              <a:t>internet</a:t>
            </a:r>
            <a:r>
              <a:rPr lang="nb-NO" sz="1400" dirty="0">
                <a:sym typeface="Wingdings" panose="05000000000000000000" pitchFamily="2" charset="2"/>
              </a:rPr>
              <a:t> </a:t>
            </a:r>
            <a:r>
              <a:rPr lang="nb-NO" sz="1400" dirty="0" err="1">
                <a:sym typeface="Wingdings" panose="05000000000000000000" pitchFamily="2" charset="2"/>
              </a:rPr>
              <a:t>access</a:t>
            </a:r>
            <a:r>
              <a:rPr lang="nb-NO" sz="1400" dirty="0">
                <a:sym typeface="Wingdings" panose="05000000000000000000" pitchFamily="2" charset="2"/>
              </a:rPr>
              <a:t>, and </a:t>
            </a:r>
            <a:r>
              <a:rPr lang="nb-NO" sz="1400" dirty="0" err="1">
                <a:sym typeface="Wingdings" panose="05000000000000000000" pitchFamily="2" charset="2"/>
              </a:rPr>
              <a:t>access</a:t>
            </a:r>
            <a:r>
              <a:rPr lang="nb-NO" sz="1400" dirty="0">
                <a:sym typeface="Wingdings" panose="05000000000000000000" pitchFamily="2" charset="2"/>
              </a:rPr>
              <a:t> to </a:t>
            </a:r>
            <a:r>
              <a:rPr lang="nb-NO" sz="1400" dirty="0" err="1">
                <a:sym typeface="Wingdings" panose="05000000000000000000" pitchFamily="2" charset="2"/>
              </a:rPr>
              <a:t>the</a:t>
            </a:r>
            <a:r>
              <a:rPr lang="nb-NO" sz="1400" dirty="0">
                <a:sym typeface="Wingdings" panose="05000000000000000000" pitchFamily="2" charset="2"/>
              </a:rPr>
              <a:t> </a:t>
            </a:r>
            <a:r>
              <a:rPr lang="nb-NO" sz="1400" dirty="0" err="1">
                <a:sym typeface="Wingdings" panose="05000000000000000000" pitchFamily="2" charset="2"/>
              </a:rPr>
              <a:t>shared</a:t>
            </a:r>
            <a:r>
              <a:rPr lang="nb-NO" sz="1400" dirty="0">
                <a:sym typeface="Wingdings" panose="05000000000000000000" pitchFamily="2" charset="2"/>
              </a:rPr>
              <a:t> servers</a:t>
            </a:r>
          </a:p>
          <a:p>
            <a:pPr lvl="1">
              <a:lnSpc>
                <a:spcPct val="110000"/>
              </a:lnSpc>
            </a:pPr>
            <a:r>
              <a:rPr lang="nb-NO" sz="1400" dirty="0" err="1"/>
              <a:t>shared</a:t>
            </a:r>
            <a:r>
              <a:rPr lang="nb-NO" sz="1400" dirty="0"/>
              <a:t> servers </a:t>
            </a:r>
            <a:r>
              <a:rPr lang="nb-NO" sz="1400" dirty="0" err="1"/>
              <a:t>should</a:t>
            </a:r>
            <a:r>
              <a:rPr lang="nb-NO" sz="1400" dirty="0"/>
              <a:t> have </a:t>
            </a:r>
            <a:r>
              <a:rPr lang="nb-NO" sz="1400" dirty="0" err="1"/>
              <a:t>access</a:t>
            </a:r>
            <a:r>
              <a:rPr lang="nb-NO" sz="1400" dirty="0"/>
              <a:t> to </a:t>
            </a:r>
            <a:r>
              <a:rPr lang="nb-NO" sz="1400" dirty="0" err="1"/>
              <a:t>your</a:t>
            </a:r>
            <a:r>
              <a:rPr lang="nb-NO" sz="1400" dirty="0"/>
              <a:t> servers</a:t>
            </a:r>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1: Get to know the lab environment</a:t>
            </a:r>
          </a:p>
        </p:txBody>
      </p:sp>
      <p:sp>
        <p:nvSpPr>
          <p:cNvPr id="3" name="Footer Placeholder 6">
            <a:extLst>
              <a:ext uri="{FF2B5EF4-FFF2-40B4-BE49-F238E27FC236}">
                <a16:creationId xmlns:a16="http://schemas.microsoft.com/office/drawing/2014/main" id="{8B0EB746-8244-5757-EA77-ABE9D60BF1D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D5A99BA-E2FE-FBF1-0ABF-DEC72FED1C6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 Get to know the lab environment</a:t>
            </a:r>
          </a:p>
        </p:txBody>
      </p:sp>
    </p:spTree>
    <p:extLst>
      <p:ext uri="{BB962C8B-B14F-4D97-AF65-F5344CB8AC3E}">
        <p14:creationId xmlns:p14="http://schemas.microsoft.com/office/powerpoint/2010/main" val="168103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275800"/>
          </a:xfrm>
        </p:spPr>
        <p:txBody>
          <a:bodyPr>
            <a:normAutofit/>
          </a:bodyPr>
          <a:lstStyle/>
          <a:p>
            <a:pPr>
              <a:lnSpc>
                <a:spcPct val="110000"/>
              </a:lnSpc>
            </a:pPr>
            <a:r>
              <a:rPr lang="nb-NO" sz="1600" dirty="0" err="1"/>
              <a:t>Get</a:t>
            </a:r>
            <a:r>
              <a:rPr lang="nb-NO" sz="1600" dirty="0"/>
              <a:t> it </a:t>
            </a:r>
            <a:r>
              <a:rPr lang="nb-NO" sz="1600" dirty="0" err="1"/>
              <a:t>connected</a:t>
            </a:r>
            <a:r>
              <a:rPr lang="nb-NO" sz="1600" dirty="0"/>
              <a:t> to </a:t>
            </a:r>
            <a:r>
              <a:rPr lang="nb-NO" sz="1600" dirty="0" err="1"/>
              <a:t>your</a:t>
            </a:r>
            <a:r>
              <a:rPr lang="nb-NO" sz="1600" dirty="0"/>
              <a:t> </a:t>
            </a:r>
            <a:r>
              <a:rPr lang="nb-NO" sz="1600" dirty="0" err="1"/>
              <a:t>WLC</a:t>
            </a:r>
            <a:r>
              <a:rPr lang="nb-NO" sz="1600" dirty="0"/>
              <a:t>, or </a:t>
            </a:r>
            <a:r>
              <a:rPr lang="nb-NO" sz="1600" dirty="0" err="1"/>
              <a:t>the</a:t>
            </a:r>
            <a:r>
              <a:rPr lang="nb-NO" sz="1600" dirty="0"/>
              <a:t> </a:t>
            </a:r>
            <a:r>
              <a:rPr lang="nb-NO" sz="1600" dirty="0" err="1"/>
              <a:t>shared</a:t>
            </a:r>
            <a:r>
              <a:rPr lang="nb-NO" sz="1600" dirty="0"/>
              <a:t> </a:t>
            </a:r>
            <a:r>
              <a:rPr lang="nb-NO" sz="1600" dirty="0" err="1"/>
              <a:t>WLC</a:t>
            </a:r>
            <a:endParaRPr lang="nb-NO" sz="1600" dirty="0"/>
          </a:p>
          <a:p>
            <a:pPr>
              <a:lnSpc>
                <a:spcPct val="110000"/>
              </a:lnSpc>
            </a:pPr>
            <a:r>
              <a:rPr lang="nb-NO" sz="1600" dirty="0"/>
              <a:t>Method #1: Connect to AP </a:t>
            </a:r>
            <a:r>
              <a:rPr lang="nb-NO" sz="1600" dirty="0" err="1"/>
              <a:t>using</a:t>
            </a:r>
            <a:r>
              <a:rPr lang="nb-NO" sz="1600" dirty="0"/>
              <a:t> </a:t>
            </a:r>
            <a:r>
              <a:rPr lang="nb-NO" sz="1600" dirty="0" err="1"/>
              <a:t>console</a:t>
            </a:r>
            <a:r>
              <a:rPr lang="nb-NO" sz="1600" dirty="0"/>
              <a:t> </a:t>
            </a:r>
            <a:r>
              <a:rPr lang="nb-NO" sz="1600" dirty="0" err="1"/>
              <a:t>cable</a:t>
            </a:r>
            <a:r>
              <a:rPr lang="nb-NO" sz="1600" dirty="0"/>
              <a:t>, </a:t>
            </a:r>
            <a:r>
              <a:rPr lang="nb-NO" sz="1600" dirty="0" err="1"/>
              <a:t>set</a:t>
            </a:r>
            <a:r>
              <a:rPr lang="nb-NO" sz="1600" dirty="0"/>
              <a:t> </a:t>
            </a:r>
            <a:r>
              <a:rPr lang="nb-NO" sz="1600" dirty="0" err="1"/>
              <a:t>primary</a:t>
            </a:r>
            <a:r>
              <a:rPr lang="nb-NO" sz="1600" dirty="0"/>
              <a:t> </a:t>
            </a:r>
            <a:r>
              <a:rPr lang="nb-NO" sz="1600" dirty="0" err="1"/>
              <a:t>WLC</a:t>
            </a:r>
            <a:endParaRPr lang="nb-NO" sz="1600" dirty="0"/>
          </a:p>
          <a:p>
            <a:pPr>
              <a:lnSpc>
                <a:spcPct val="110000"/>
              </a:lnSpc>
            </a:pPr>
            <a:endParaRPr lang="nb-NO" sz="1600" dirty="0"/>
          </a:p>
          <a:p>
            <a:pPr lvl="1">
              <a:lnSpc>
                <a:spcPct val="110000"/>
              </a:lnSpc>
            </a:pPr>
            <a:r>
              <a:rPr lang="nb-NO" sz="1400" dirty="0" err="1"/>
              <a:t>Example</a:t>
            </a:r>
            <a:r>
              <a:rPr lang="nb-NO" sz="1400" dirty="0"/>
              <a:t>, for </a:t>
            </a:r>
            <a:r>
              <a:rPr lang="nb-NO" sz="1400" dirty="0" err="1"/>
              <a:t>Pod#18</a:t>
            </a:r>
            <a:r>
              <a:rPr lang="nb-NO" sz="1400" dirty="0"/>
              <a:t> </a:t>
            </a:r>
            <a:r>
              <a:rPr lang="nb-NO" sz="1400" dirty="0" err="1"/>
              <a:t>this</a:t>
            </a:r>
            <a:r>
              <a:rPr lang="nb-NO" sz="1400" dirty="0"/>
              <a:t> </a:t>
            </a:r>
            <a:r>
              <a:rPr lang="nb-NO" sz="1400" dirty="0" err="1"/>
              <a:t>would</a:t>
            </a:r>
            <a:r>
              <a:rPr lang="nb-NO" sz="1400" dirty="0"/>
              <a:t> be:</a:t>
            </a:r>
          </a:p>
          <a:p>
            <a:pPr>
              <a:lnSpc>
                <a:spcPct val="110000"/>
              </a:lnSpc>
            </a:pPr>
            <a:endParaRPr lang="nb-NO" sz="1600" dirty="0"/>
          </a:p>
          <a:p>
            <a:pPr>
              <a:lnSpc>
                <a:spcPct val="110000"/>
              </a:lnSpc>
            </a:pPr>
            <a:r>
              <a:rPr lang="nb-NO" sz="1600" dirty="0"/>
              <a:t>Method #2: If </a:t>
            </a:r>
            <a:r>
              <a:rPr lang="nb-NO" sz="1600" dirty="0" err="1"/>
              <a:t>your</a:t>
            </a:r>
            <a:r>
              <a:rPr lang="nb-NO" sz="1600" dirty="0"/>
              <a:t> AP have </a:t>
            </a:r>
            <a:r>
              <a:rPr lang="nb-NO" sz="1600" dirty="0" err="1"/>
              <a:t>joined</a:t>
            </a:r>
            <a:r>
              <a:rPr lang="nb-NO" sz="1600" dirty="0"/>
              <a:t> </a:t>
            </a:r>
            <a:r>
              <a:rPr lang="nb-NO" sz="1600" dirty="0" err="1"/>
              <a:t>another</a:t>
            </a:r>
            <a:r>
              <a:rPr lang="nb-NO" sz="1600" dirty="0"/>
              <a:t> </a:t>
            </a:r>
            <a:r>
              <a:rPr lang="nb-NO" sz="1600" dirty="0" err="1"/>
              <a:t>WLC</a:t>
            </a:r>
            <a:r>
              <a:rPr lang="nb-NO" sz="1600" dirty="0"/>
              <a:t>, </a:t>
            </a:r>
            <a:r>
              <a:rPr lang="nb-NO" sz="1600" dirty="0" err="1"/>
              <a:t>configure</a:t>
            </a:r>
            <a:r>
              <a:rPr lang="nb-NO" sz="1600" dirty="0"/>
              <a:t> </a:t>
            </a:r>
            <a:r>
              <a:rPr lang="nb-NO" sz="1600" dirty="0" err="1"/>
              <a:t>your</a:t>
            </a:r>
            <a:r>
              <a:rPr lang="nb-NO" sz="1600" dirty="0"/>
              <a:t> </a:t>
            </a:r>
            <a:r>
              <a:rPr lang="nb-NO" sz="1600" dirty="0" err="1"/>
              <a:t>WLC</a:t>
            </a:r>
            <a:r>
              <a:rPr lang="nb-NO" sz="1600" dirty="0"/>
              <a:t> as </a:t>
            </a:r>
            <a:r>
              <a:rPr lang="nb-NO" sz="1600" dirty="0" err="1"/>
              <a:t>primary</a:t>
            </a:r>
            <a:r>
              <a:rPr lang="nb-NO" sz="1600" dirty="0"/>
              <a:t> </a:t>
            </a:r>
            <a:r>
              <a:rPr lang="nb-NO" sz="1600" dirty="0" err="1"/>
              <a:t>controller</a:t>
            </a:r>
            <a:endParaRPr lang="nb-NO" sz="1600" dirty="0"/>
          </a:p>
          <a:p>
            <a:pPr lvl="1">
              <a:lnSpc>
                <a:spcPct val="110000"/>
              </a:lnSpc>
            </a:pPr>
            <a:endParaRPr lang="nb-NO" sz="14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Ensure </a:t>
            </a:r>
            <a:r>
              <a:rPr lang="nb-NO" sz="1600" dirty="0" err="1"/>
              <a:t>the</a:t>
            </a:r>
            <a:r>
              <a:rPr lang="nb-NO" sz="1600" dirty="0"/>
              <a:t> AP shows up </a:t>
            </a:r>
            <a:r>
              <a:rPr lang="nb-NO" sz="1600" dirty="0" err="1"/>
              <a:t>on</a:t>
            </a:r>
            <a:r>
              <a:rPr lang="nb-NO" sz="1600" dirty="0"/>
              <a:t> </a:t>
            </a:r>
            <a:r>
              <a:rPr lang="nb-NO" sz="1600" dirty="0" err="1"/>
              <a:t>your</a:t>
            </a:r>
            <a:r>
              <a:rPr lang="nb-NO" sz="1600" dirty="0"/>
              <a:t> </a:t>
            </a:r>
            <a:r>
              <a:rPr lang="nb-NO" sz="1600" dirty="0" err="1"/>
              <a:t>WLC</a:t>
            </a:r>
            <a:r>
              <a:rPr lang="nb-NO" sz="1600" dirty="0"/>
              <a:t>, </a:t>
            </a:r>
            <a:r>
              <a:rPr lang="nb-NO" sz="1600" dirty="0" err="1"/>
              <a:t>else</a:t>
            </a:r>
            <a:r>
              <a:rPr lang="nb-NO" sz="1600" dirty="0"/>
              <a:t> </a:t>
            </a:r>
            <a:r>
              <a:rPr lang="nb-NO" sz="1600" dirty="0" err="1"/>
              <a:t>troubleshoot</a:t>
            </a:r>
            <a:r>
              <a:rPr lang="nb-NO" sz="1600" dirty="0"/>
              <a:t>...</a:t>
            </a:r>
            <a:r>
              <a:rPr lang="nb-NO" sz="1600" dirty="0">
                <a:sym typeface="Wingdings" panose="05000000000000000000" pitchFamily="2" charset="2"/>
              </a:rPr>
              <a:t> </a:t>
            </a:r>
            <a:r>
              <a:rPr lang="nb-NO" sz="1600" dirty="0" err="1">
                <a:sym typeface="Wingdings" panose="05000000000000000000" pitchFamily="2" charset="2"/>
              </a:rPr>
              <a:t>There</a:t>
            </a:r>
            <a:r>
              <a:rPr lang="nb-NO" sz="1600" dirty="0">
                <a:sym typeface="Wingdings" panose="05000000000000000000" pitchFamily="2" charset="2"/>
              </a:rPr>
              <a:t> </a:t>
            </a:r>
            <a:r>
              <a:rPr lang="nb-NO" sz="1600" dirty="0" err="1">
                <a:sym typeface="Wingdings" panose="05000000000000000000" pitchFamily="2" charset="2"/>
              </a:rPr>
              <a:t>should</a:t>
            </a:r>
            <a:r>
              <a:rPr lang="nb-NO" sz="1600" dirty="0">
                <a:sym typeface="Wingdings" panose="05000000000000000000" pitchFamily="2" charset="2"/>
              </a:rPr>
              <a:t> be Cisco </a:t>
            </a:r>
            <a:r>
              <a:rPr lang="nb-NO" sz="1600" dirty="0" err="1">
                <a:sym typeface="Wingdings" panose="05000000000000000000" pitchFamily="2" charset="2"/>
              </a:rPr>
              <a:t>experts</a:t>
            </a:r>
            <a:r>
              <a:rPr lang="nb-NO" sz="1600" dirty="0">
                <a:sym typeface="Wingdings" panose="05000000000000000000" pitchFamily="2" charset="2"/>
              </a:rPr>
              <a:t> </a:t>
            </a:r>
            <a:r>
              <a:rPr lang="nb-NO" sz="1600" dirty="0" err="1">
                <a:sym typeface="Wingdings" panose="05000000000000000000" pitchFamily="2" charset="2"/>
              </a:rPr>
              <a:t>somewhere</a:t>
            </a:r>
            <a:r>
              <a:rPr lang="nb-NO" sz="1600" dirty="0">
                <a:sym typeface="Wingdings" panose="05000000000000000000" pitchFamily="2" charset="2"/>
              </a:rPr>
              <a:t> in </a:t>
            </a:r>
            <a:r>
              <a:rPr lang="nb-NO" sz="1600" dirty="0" err="1">
                <a:sym typeface="Wingdings" panose="05000000000000000000" pitchFamily="2" charset="2"/>
              </a:rPr>
              <a:t>the</a:t>
            </a:r>
            <a:r>
              <a:rPr lang="nb-NO" sz="1600" dirty="0">
                <a:sym typeface="Wingdings" panose="05000000000000000000" pitchFamily="2" charset="2"/>
              </a:rPr>
              <a:t> </a:t>
            </a:r>
            <a:r>
              <a:rPr lang="nb-NO" sz="1600" dirty="0" err="1">
                <a:sym typeface="Wingdings" panose="05000000000000000000" pitchFamily="2" charset="2"/>
              </a:rPr>
              <a:t>room</a:t>
            </a:r>
            <a:r>
              <a:rPr lang="nb-NO" sz="1600" dirty="0">
                <a:sym typeface="Wingdings" panose="05000000000000000000" pitchFamily="2" charset="2"/>
              </a:rPr>
              <a:t> </a:t>
            </a:r>
            <a:r>
              <a:rPr lang="nb-NO" sz="1600" dirty="0" err="1">
                <a:sym typeface="Wingdings" panose="05000000000000000000" pitchFamily="2" charset="2"/>
              </a:rPr>
              <a:t>if</a:t>
            </a:r>
            <a:r>
              <a:rPr lang="nb-NO" sz="1600" dirty="0">
                <a:sym typeface="Wingdings" panose="05000000000000000000" pitchFamily="2" charset="2"/>
              </a:rPr>
              <a:t> </a:t>
            </a:r>
            <a:r>
              <a:rPr lang="nb-NO" sz="1600" dirty="0" err="1">
                <a:sym typeface="Wingdings" panose="05000000000000000000" pitchFamily="2" charset="2"/>
              </a:rPr>
              <a:t>needed</a:t>
            </a:r>
            <a:r>
              <a:rPr lang="nb-NO" sz="1600" dirty="0">
                <a:sym typeface="Wingdings" panose="05000000000000000000" pitchFamily="2" charset="2"/>
              </a:rPr>
              <a:t> </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2: Configure the AP</a:t>
            </a:r>
          </a:p>
        </p:txBody>
      </p:sp>
      <p:sp>
        <p:nvSpPr>
          <p:cNvPr id="3" name="Footer Placeholder 6">
            <a:extLst>
              <a:ext uri="{FF2B5EF4-FFF2-40B4-BE49-F238E27FC236}">
                <a16:creationId xmlns:a16="http://schemas.microsoft.com/office/drawing/2014/main" id="{E90CFC7B-40A5-35FF-22C5-CF969BC4FD9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BBB086E-1ADE-1D88-9765-B028FBD8ABA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2: Configure the AP</a:t>
            </a:r>
          </a:p>
        </p:txBody>
      </p:sp>
      <p:sp>
        <p:nvSpPr>
          <p:cNvPr id="2" name="TextBox 1">
            <a:extLst>
              <a:ext uri="{FF2B5EF4-FFF2-40B4-BE49-F238E27FC236}">
                <a16:creationId xmlns:a16="http://schemas.microsoft.com/office/drawing/2014/main" id="{0E718D1A-BAB2-5007-8BE6-61156E0C9DD0}"/>
              </a:ext>
            </a:extLst>
          </p:cNvPr>
          <p:cNvSpPr txBox="1"/>
          <p:nvPr/>
        </p:nvSpPr>
        <p:spPr>
          <a:xfrm>
            <a:off x="720000" y="1856906"/>
            <a:ext cx="8252550" cy="316240"/>
          </a:xfrm>
          <a:prstGeom prst="rect">
            <a:avLst/>
          </a:prstGeom>
          <a:solidFill>
            <a:schemeClr val="tx1"/>
          </a:solidFill>
        </p:spPr>
        <p:txBody>
          <a:bodyPr wrap="square">
            <a:spAutoFit/>
          </a:bodyPr>
          <a:lstStyle/>
          <a:p>
            <a:pPr marL="0" lvl="1" indent="-97200">
              <a:lnSpc>
                <a:spcPct val="110000"/>
              </a:lnSpc>
            </a:pPr>
            <a:r>
              <a:rPr lang="nb-NO" sz="1400" err="1">
                <a:solidFill>
                  <a:srgbClr val="00B050"/>
                </a:solidFill>
                <a:latin typeface="Consolas" panose="020B0609020204030204" pitchFamily="49" charset="0"/>
                <a:ea typeface="+mn-ea"/>
              </a:rPr>
              <a:t>APD42C-44D8-2F38#capwap</a:t>
            </a:r>
            <a:r>
              <a:rPr lang="nb-NO" sz="1400">
                <a:solidFill>
                  <a:srgbClr val="00B050"/>
                </a:solidFill>
                <a:latin typeface="Consolas" panose="020B0609020204030204" pitchFamily="49" charset="0"/>
                <a:ea typeface="+mn-ea"/>
              </a:rPr>
              <a:t> ap </a:t>
            </a:r>
            <a:r>
              <a:rPr lang="nb-NO" sz="1400" err="1">
                <a:solidFill>
                  <a:srgbClr val="00B050"/>
                </a:solidFill>
                <a:latin typeface="Consolas" panose="020B0609020204030204" pitchFamily="49" charset="0"/>
                <a:ea typeface="+mn-ea"/>
              </a:rPr>
              <a:t>primary</a:t>
            </a:r>
            <a:r>
              <a:rPr lang="nb-NO" sz="1400">
                <a:solidFill>
                  <a:srgbClr val="00B050"/>
                </a:solidFill>
                <a:latin typeface="Consolas" panose="020B0609020204030204" pitchFamily="49" charset="0"/>
                <a:ea typeface="+mn-ea"/>
              </a:rPr>
              <a:t>-base </a:t>
            </a:r>
            <a:r>
              <a:rPr lang="nb-NO" sz="1400" err="1">
                <a:solidFill>
                  <a:srgbClr val="00B050"/>
                </a:solidFill>
                <a:latin typeface="Consolas" panose="020B0609020204030204" pitchFamily="49" charset="0"/>
                <a:ea typeface="+mn-ea"/>
              </a:rPr>
              <a:t>wlc</a:t>
            </a:r>
            <a:r>
              <a:rPr lang="nb-NO" sz="1400">
                <a:solidFill>
                  <a:srgbClr val="00B050"/>
                </a:solidFill>
                <a:latin typeface="Consolas" panose="020B0609020204030204" pitchFamily="49" charset="0"/>
                <a:ea typeface="+mn-ea"/>
              </a:rPr>
              <a:t>{pod-</a:t>
            </a:r>
            <a:r>
              <a:rPr lang="nb-NO" sz="1400" err="1">
                <a:solidFill>
                  <a:srgbClr val="00B050"/>
                </a:solidFill>
                <a:latin typeface="Consolas" panose="020B0609020204030204" pitchFamily="49" charset="0"/>
                <a:ea typeface="+mn-ea"/>
              </a:rPr>
              <a:t>number</a:t>
            </a:r>
            <a:r>
              <a:rPr lang="nb-NO" sz="1400">
                <a:solidFill>
                  <a:srgbClr val="00B050"/>
                </a:solidFill>
                <a:latin typeface="Consolas" panose="020B0609020204030204" pitchFamily="49" charset="0"/>
                <a:ea typeface="+mn-ea"/>
              </a:rPr>
              <a:t>} 192.168.10.{pod-</a:t>
            </a:r>
            <a:r>
              <a:rPr lang="nb-NO" sz="1400" err="1">
                <a:solidFill>
                  <a:srgbClr val="00B050"/>
                </a:solidFill>
                <a:latin typeface="Consolas" panose="020B0609020204030204" pitchFamily="49" charset="0"/>
                <a:ea typeface="+mn-ea"/>
              </a:rPr>
              <a:t>number</a:t>
            </a:r>
            <a:r>
              <a:rPr lang="nb-NO" sz="1400">
                <a:solidFill>
                  <a:srgbClr val="00B050"/>
                </a:solidFill>
                <a:latin typeface="Consolas" panose="020B0609020204030204" pitchFamily="49" charset="0"/>
                <a:ea typeface="+mn-ea"/>
              </a:rPr>
              <a:t>}</a:t>
            </a:r>
          </a:p>
        </p:txBody>
      </p:sp>
      <p:sp>
        <p:nvSpPr>
          <p:cNvPr id="6" name="TextBox 5">
            <a:extLst>
              <a:ext uri="{FF2B5EF4-FFF2-40B4-BE49-F238E27FC236}">
                <a16:creationId xmlns:a16="http://schemas.microsoft.com/office/drawing/2014/main" id="{8D384051-5895-E085-AA2D-49067265D8D5}"/>
              </a:ext>
            </a:extLst>
          </p:cNvPr>
          <p:cNvSpPr txBox="1"/>
          <p:nvPr/>
        </p:nvSpPr>
        <p:spPr>
          <a:xfrm>
            <a:off x="4583000" y="2288124"/>
            <a:ext cx="4389550" cy="316240"/>
          </a:xfrm>
          <a:prstGeom prst="rect">
            <a:avLst/>
          </a:prstGeom>
          <a:solidFill>
            <a:schemeClr val="tx1"/>
          </a:solidFill>
        </p:spPr>
        <p:txBody>
          <a:bodyPr wrap="square">
            <a:spAutoFit/>
          </a:bodyPr>
          <a:lstStyle/>
          <a:p>
            <a:pPr marL="0" lvl="1" indent="-97200">
              <a:lnSpc>
                <a:spcPct val="110000"/>
              </a:lnSpc>
            </a:pPr>
            <a:r>
              <a:rPr lang="nb-NO" sz="1400" err="1">
                <a:solidFill>
                  <a:srgbClr val="00B050"/>
                </a:solidFill>
                <a:latin typeface="Consolas" panose="020B0609020204030204" pitchFamily="49" charset="0"/>
                <a:ea typeface="+mn-ea"/>
              </a:rPr>
              <a:t>capwap</a:t>
            </a:r>
            <a:r>
              <a:rPr lang="nb-NO" sz="1400">
                <a:solidFill>
                  <a:srgbClr val="00B050"/>
                </a:solidFill>
                <a:latin typeface="Consolas" panose="020B0609020204030204" pitchFamily="49" charset="0"/>
                <a:ea typeface="+mn-ea"/>
              </a:rPr>
              <a:t> ap </a:t>
            </a:r>
            <a:r>
              <a:rPr lang="nb-NO" sz="1400" err="1">
                <a:solidFill>
                  <a:srgbClr val="00B050"/>
                </a:solidFill>
                <a:latin typeface="Consolas" panose="020B0609020204030204" pitchFamily="49" charset="0"/>
                <a:ea typeface="+mn-ea"/>
              </a:rPr>
              <a:t>primary</a:t>
            </a:r>
            <a:r>
              <a:rPr lang="nb-NO" sz="1400">
                <a:solidFill>
                  <a:srgbClr val="00B050"/>
                </a:solidFill>
                <a:latin typeface="Consolas" panose="020B0609020204030204" pitchFamily="49" charset="0"/>
                <a:ea typeface="+mn-ea"/>
              </a:rPr>
              <a:t>-base </a:t>
            </a:r>
            <a:r>
              <a:rPr lang="nb-NO" sz="1400" err="1">
                <a:solidFill>
                  <a:srgbClr val="00B050"/>
                </a:solidFill>
                <a:latin typeface="Consolas" panose="020B0609020204030204" pitchFamily="49" charset="0"/>
                <a:ea typeface="+mn-ea"/>
              </a:rPr>
              <a:t>wlc</a:t>
            </a:r>
            <a:r>
              <a:rPr lang="nb-NO" sz="1400" err="1">
                <a:solidFill>
                  <a:srgbClr val="00B050"/>
                </a:solidFill>
                <a:latin typeface="Consolas" panose="020B0609020204030204" pitchFamily="49" charset="0"/>
              </a:rPr>
              <a:t>18</a:t>
            </a:r>
            <a:r>
              <a:rPr lang="nb-NO" sz="1400">
                <a:solidFill>
                  <a:srgbClr val="00B050"/>
                </a:solidFill>
                <a:latin typeface="Consolas" panose="020B0609020204030204" pitchFamily="49" charset="0"/>
                <a:ea typeface="+mn-ea"/>
              </a:rPr>
              <a:t> 192.168.10.18</a:t>
            </a:r>
          </a:p>
        </p:txBody>
      </p:sp>
      <p:pic>
        <p:nvPicPr>
          <p:cNvPr id="8" name="Picture 7">
            <a:extLst>
              <a:ext uri="{FF2B5EF4-FFF2-40B4-BE49-F238E27FC236}">
                <a16:creationId xmlns:a16="http://schemas.microsoft.com/office/drawing/2014/main" id="{798A868B-B767-69E4-287E-CB3B6F648DAA}"/>
              </a:ext>
            </a:extLst>
          </p:cNvPr>
          <p:cNvPicPr>
            <a:picLocks noChangeAspect="1"/>
          </p:cNvPicPr>
          <p:nvPr/>
        </p:nvPicPr>
        <p:blipFill>
          <a:blip r:embed="rId3"/>
          <a:stretch>
            <a:fillRect/>
          </a:stretch>
        </p:blipFill>
        <p:spPr>
          <a:xfrm>
            <a:off x="789538" y="3391200"/>
            <a:ext cx="3486637" cy="362001"/>
          </a:xfrm>
          <a:prstGeom prst="rect">
            <a:avLst/>
          </a:prstGeom>
        </p:spPr>
      </p:pic>
      <p:pic>
        <p:nvPicPr>
          <p:cNvPr id="10" name="Picture 9">
            <a:extLst>
              <a:ext uri="{FF2B5EF4-FFF2-40B4-BE49-F238E27FC236}">
                <a16:creationId xmlns:a16="http://schemas.microsoft.com/office/drawing/2014/main" id="{22831BB3-841B-0F08-C44F-165A331C068E}"/>
              </a:ext>
            </a:extLst>
          </p:cNvPr>
          <p:cNvPicPr>
            <a:picLocks noChangeAspect="1"/>
          </p:cNvPicPr>
          <p:nvPr/>
        </p:nvPicPr>
        <p:blipFill>
          <a:blip r:embed="rId4"/>
          <a:stretch>
            <a:fillRect/>
          </a:stretch>
        </p:blipFill>
        <p:spPr>
          <a:xfrm>
            <a:off x="1159586" y="3822418"/>
            <a:ext cx="3686689" cy="295316"/>
          </a:xfrm>
          <a:prstGeom prst="rect">
            <a:avLst/>
          </a:prstGeom>
        </p:spPr>
      </p:pic>
      <p:pic>
        <p:nvPicPr>
          <p:cNvPr id="12" name="Picture 11">
            <a:extLst>
              <a:ext uri="{FF2B5EF4-FFF2-40B4-BE49-F238E27FC236}">
                <a16:creationId xmlns:a16="http://schemas.microsoft.com/office/drawing/2014/main" id="{CCFAB7E3-EF10-C317-0531-416DA91BAF25}"/>
              </a:ext>
            </a:extLst>
          </p:cNvPr>
          <p:cNvPicPr>
            <a:picLocks noChangeAspect="1"/>
          </p:cNvPicPr>
          <p:nvPr/>
        </p:nvPicPr>
        <p:blipFill>
          <a:blip r:embed="rId5"/>
          <a:stretch>
            <a:fillRect/>
          </a:stretch>
        </p:blipFill>
        <p:spPr>
          <a:xfrm>
            <a:off x="1683533" y="4186406"/>
            <a:ext cx="5434817" cy="1023120"/>
          </a:xfrm>
          <a:prstGeom prst="rect">
            <a:avLst/>
          </a:prstGeom>
        </p:spPr>
      </p:pic>
    </p:spTree>
    <p:extLst>
      <p:ext uri="{BB962C8B-B14F-4D97-AF65-F5344CB8AC3E}">
        <p14:creationId xmlns:p14="http://schemas.microsoft.com/office/powerpoint/2010/main" val="111449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We</a:t>
            </a:r>
            <a:r>
              <a:rPr lang="nb-NO" sz="1600"/>
              <a:t> </a:t>
            </a:r>
            <a:r>
              <a:rPr lang="nb-NO" sz="1600" err="1"/>
              <a:t>will</a:t>
            </a:r>
            <a:r>
              <a:rPr lang="nb-NO" sz="1600"/>
              <a:t> </a:t>
            </a:r>
            <a:r>
              <a:rPr lang="nb-NO" sz="1600" err="1"/>
              <a:t>now</a:t>
            </a:r>
            <a:r>
              <a:rPr lang="nb-NO" sz="1600"/>
              <a:t> </a:t>
            </a:r>
            <a:r>
              <a:rPr lang="nb-NO" sz="1600" err="1"/>
              <a:t>use</a:t>
            </a:r>
            <a:r>
              <a:rPr lang="nb-NO" sz="1600"/>
              <a:t> </a:t>
            </a:r>
            <a:r>
              <a:rPr lang="nb-NO" sz="1600" err="1"/>
              <a:t>our</a:t>
            </a:r>
            <a:r>
              <a:rPr lang="nb-NO" sz="1600"/>
              <a:t> </a:t>
            </a:r>
            <a:r>
              <a:rPr lang="nb-NO" sz="1600" err="1"/>
              <a:t>VS</a:t>
            </a:r>
            <a:r>
              <a:rPr lang="nb-NO" sz="1600"/>
              <a:t> Code </a:t>
            </a:r>
            <a:r>
              <a:rPr lang="nb-NO" sz="1600" err="1"/>
              <a:t>installation</a:t>
            </a:r>
            <a:r>
              <a:rPr lang="nb-NO" sz="1600"/>
              <a:t> to </a:t>
            </a:r>
            <a:r>
              <a:rPr lang="nb-NO" sz="1600" err="1"/>
              <a:t>open</a:t>
            </a:r>
            <a:r>
              <a:rPr lang="nb-NO" sz="1600"/>
              <a:t> a </a:t>
            </a:r>
            <a:r>
              <a:rPr lang="nb-NO" sz="1600" err="1"/>
              <a:t>directory</a:t>
            </a:r>
            <a:r>
              <a:rPr lang="nb-NO" sz="1600"/>
              <a:t> </a:t>
            </a:r>
            <a:r>
              <a:rPr lang="nb-NO" sz="1600" err="1"/>
              <a:t>on</a:t>
            </a:r>
            <a:r>
              <a:rPr lang="nb-NO" sz="1600"/>
              <a:t> </a:t>
            </a:r>
            <a:r>
              <a:rPr lang="nb-NO" sz="1600" err="1"/>
              <a:t>the</a:t>
            </a:r>
            <a:r>
              <a:rPr lang="nb-NO" sz="1600"/>
              <a:t> </a:t>
            </a:r>
            <a:r>
              <a:rPr lang="nb-NO" sz="1600" err="1"/>
              <a:t>Ubuntu</a:t>
            </a:r>
            <a:r>
              <a:rPr lang="nb-NO" sz="1600"/>
              <a:t> server</a:t>
            </a:r>
          </a:p>
          <a:p>
            <a:pPr>
              <a:lnSpc>
                <a:spcPct val="110000"/>
              </a:lnSpc>
            </a:pPr>
            <a:r>
              <a:rPr lang="nb-NO" sz="1600" err="1"/>
              <a:t>Instructions</a:t>
            </a:r>
            <a:r>
              <a:rPr lang="nb-NO" sz="1600"/>
              <a:t> </a:t>
            </a:r>
            <a:r>
              <a:rPr lang="nb-NO" sz="1600" err="1"/>
              <a:t>will</a:t>
            </a:r>
            <a:r>
              <a:rPr lang="nb-NO" sz="1600"/>
              <a:t> </a:t>
            </a:r>
            <a:r>
              <a:rPr lang="nb-NO" sz="1600" err="1"/>
              <a:t>follow</a:t>
            </a:r>
            <a:r>
              <a:rPr lang="nb-NO" sz="1600"/>
              <a:t> to</a:t>
            </a:r>
          </a:p>
          <a:p>
            <a:pPr lvl="1">
              <a:lnSpc>
                <a:spcPct val="110000"/>
              </a:lnSpc>
            </a:pPr>
            <a:r>
              <a:rPr lang="nb-NO" sz="1400"/>
              <a:t>Open </a:t>
            </a:r>
            <a:r>
              <a:rPr lang="nb-NO" sz="1400" err="1"/>
              <a:t>the</a:t>
            </a:r>
            <a:r>
              <a:rPr lang="nb-NO" sz="1400"/>
              <a:t> "Remote-SSH" </a:t>
            </a:r>
            <a:r>
              <a:rPr lang="nb-NO" sz="1400" err="1"/>
              <a:t>extension</a:t>
            </a:r>
            <a:endParaRPr lang="nb-NO" sz="1400"/>
          </a:p>
          <a:p>
            <a:pPr lvl="1">
              <a:lnSpc>
                <a:spcPct val="110000"/>
              </a:lnSpc>
            </a:pPr>
            <a:r>
              <a:rPr lang="nb-NO" sz="1400" err="1"/>
              <a:t>Create</a:t>
            </a:r>
            <a:r>
              <a:rPr lang="nb-NO" sz="1400"/>
              <a:t> </a:t>
            </a:r>
            <a:r>
              <a:rPr lang="nb-NO" sz="1400" err="1"/>
              <a:t>new</a:t>
            </a:r>
            <a:r>
              <a:rPr lang="nb-NO" sz="1400"/>
              <a:t> host</a:t>
            </a:r>
          </a:p>
          <a:p>
            <a:pPr lvl="1">
              <a:lnSpc>
                <a:spcPct val="110000"/>
              </a:lnSpc>
            </a:pPr>
            <a:r>
              <a:rPr lang="nb-NO" sz="1400"/>
              <a:t>Connect </a:t>
            </a:r>
            <a:r>
              <a:rPr lang="nb-NO" sz="1400" err="1"/>
              <a:t>current</a:t>
            </a:r>
            <a:r>
              <a:rPr lang="nb-NO" sz="1400"/>
              <a:t> </a:t>
            </a:r>
            <a:r>
              <a:rPr lang="nb-NO" sz="1400" err="1"/>
              <a:t>window</a:t>
            </a:r>
            <a:r>
              <a:rPr lang="nb-NO" sz="1400"/>
              <a:t> to </a:t>
            </a:r>
            <a:r>
              <a:rPr lang="nb-NO" sz="1400" err="1"/>
              <a:t>remote</a:t>
            </a:r>
            <a:r>
              <a:rPr lang="nb-NO" sz="1400"/>
              <a:t> host</a:t>
            </a:r>
          </a:p>
          <a:p>
            <a:pPr lvl="1">
              <a:lnSpc>
                <a:spcPct val="110000"/>
              </a:lnSpc>
            </a:pPr>
            <a:r>
              <a:rPr lang="nb-NO" sz="1400" err="1"/>
              <a:t>Install</a:t>
            </a:r>
            <a:r>
              <a:rPr lang="nb-NO" sz="1400"/>
              <a:t> </a:t>
            </a:r>
            <a:r>
              <a:rPr lang="nb-NO" sz="1400" err="1"/>
              <a:t>local</a:t>
            </a:r>
            <a:r>
              <a:rPr lang="nb-NO" sz="1400"/>
              <a:t> </a:t>
            </a:r>
            <a:r>
              <a:rPr lang="nb-NO" sz="1400" err="1"/>
              <a:t>extensions</a:t>
            </a:r>
            <a:r>
              <a:rPr lang="nb-NO" sz="1400"/>
              <a:t> in </a:t>
            </a:r>
            <a:r>
              <a:rPr lang="nb-NO" sz="1400" err="1"/>
              <a:t>remote</a:t>
            </a:r>
            <a:r>
              <a:rPr lang="nb-NO" sz="1400"/>
              <a:t> host</a:t>
            </a:r>
          </a:p>
          <a:p>
            <a:pPr lvl="1">
              <a:lnSpc>
                <a:spcPct val="110000"/>
              </a:lnSpc>
            </a:pPr>
            <a:r>
              <a:rPr lang="nb-NO" sz="1400"/>
              <a:t>Open a </a:t>
            </a:r>
            <a:r>
              <a:rPr lang="nb-NO" sz="1400" err="1"/>
              <a:t>remote</a:t>
            </a:r>
            <a:r>
              <a:rPr lang="nb-NO" sz="1400"/>
              <a:t> folder as </a:t>
            </a:r>
            <a:r>
              <a:rPr lang="nb-NO" sz="1400" err="1"/>
              <a:t>workspace</a:t>
            </a:r>
            <a:endParaRPr lang="nb-NO" sz="1400"/>
          </a:p>
          <a:p>
            <a:pPr lvl="1">
              <a:lnSpc>
                <a:spcPct val="110000"/>
              </a:lnSpc>
            </a:pPr>
            <a:r>
              <a:rPr lang="nb-NO" sz="1400"/>
              <a:t>Open </a:t>
            </a:r>
            <a:r>
              <a:rPr lang="nb-NO" sz="1400" err="1"/>
              <a:t>some</a:t>
            </a:r>
            <a:r>
              <a:rPr lang="nb-NO" sz="1400"/>
              <a:t> </a:t>
            </a:r>
            <a:r>
              <a:rPr lang="nb-NO" sz="1400" err="1"/>
              <a:t>example</a:t>
            </a:r>
            <a:r>
              <a:rPr lang="nb-NO" sz="1400"/>
              <a:t> files from </a:t>
            </a:r>
            <a:r>
              <a:rPr lang="nb-NO" sz="1400" err="1"/>
              <a:t>the</a:t>
            </a:r>
            <a:r>
              <a:rPr lang="nb-NO" sz="1400"/>
              <a:t> </a:t>
            </a:r>
            <a:r>
              <a:rPr lang="nb-NO" sz="1400" err="1"/>
              <a:t>downloaded</a:t>
            </a:r>
            <a:r>
              <a:rPr lang="nb-NO" sz="1400"/>
              <a:t> </a:t>
            </a:r>
            <a:r>
              <a:rPr lang="nb-NO" sz="1400" err="1"/>
              <a:t>GIT</a:t>
            </a:r>
            <a:r>
              <a:rPr lang="nb-NO" sz="1400"/>
              <a:t> </a:t>
            </a:r>
            <a:r>
              <a:rPr lang="nb-NO" sz="1400" err="1"/>
              <a:t>repository</a:t>
            </a:r>
            <a:endParaRPr lang="nb-NO" sz="1400"/>
          </a:p>
          <a:p>
            <a:pPr>
              <a:lnSpc>
                <a:spcPct val="110000"/>
              </a:lnSpc>
            </a:pPr>
            <a:endParaRPr lang="nb-NO" sz="1600"/>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err="1"/>
              <a:t>Lab</a:t>
            </a:r>
            <a:r>
              <a:rPr lang="fr-FR"/>
              <a:t> </a:t>
            </a:r>
            <a:r>
              <a:rPr lang="fr-FR" err="1"/>
              <a:t>exercise</a:t>
            </a:r>
            <a:r>
              <a:rPr lang="fr-FR"/>
              <a:t> #3: Explore VS Code</a:t>
            </a:r>
            <a:endParaRPr lang="en-GB"/>
          </a:p>
        </p:txBody>
      </p:sp>
      <p:sp>
        <p:nvSpPr>
          <p:cNvPr id="3" name="Footer Placeholder 6">
            <a:extLst>
              <a:ext uri="{FF2B5EF4-FFF2-40B4-BE49-F238E27FC236}">
                <a16:creationId xmlns:a16="http://schemas.microsoft.com/office/drawing/2014/main" id="{CBF03407-D423-82A3-7799-8E22BD86712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5DEE125A-D0E1-5DDF-028E-C5FA4A15F2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3378771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11203899" cy="4838400"/>
          </a:xfrm>
        </p:spPr>
        <p:txBody>
          <a:bodyPr>
            <a:normAutofit/>
          </a:bodyPr>
          <a:lstStyle/>
          <a:p>
            <a:pPr>
              <a:lnSpc>
                <a:spcPct val="110000"/>
              </a:lnSpc>
            </a:pPr>
            <a:r>
              <a:rPr lang="nb-NO" sz="1600" dirty="0" err="1"/>
              <a:t>Command</a:t>
            </a:r>
            <a:r>
              <a:rPr lang="nb-NO" sz="1600" dirty="0"/>
              <a:t> </a:t>
            </a:r>
            <a:r>
              <a:rPr lang="nb-NO" sz="1600" dirty="0" err="1"/>
              <a:t>Palette</a:t>
            </a:r>
            <a:r>
              <a:rPr lang="nb-NO" sz="1600" dirty="0"/>
              <a:t> (F1)</a:t>
            </a:r>
          </a:p>
          <a:p>
            <a:pPr lvl="1">
              <a:lnSpc>
                <a:spcPct val="110000"/>
              </a:lnSpc>
            </a:pPr>
            <a:r>
              <a:rPr lang="nb-NO" sz="1400" dirty="0"/>
              <a:t>Type "</a:t>
            </a:r>
            <a:r>
              <a:rPr lang="nb-NO" sz="1400" dirty="0" err="1"/>
              <a:t>remote-ssh</a:t>
            </a:r>
            <a:r>
              <a:rPr lang="nb-NO" sz="1400" dirty="0"/>
              <a:t>", </a:t>
            </a:r>
            <a:r>
              <a:rPr lang="nb-NO" sz="1400" dirty="0" err="1"/>
              <a:t>select</a:t>
            </a:r>
            <a:r>
              <a:rPr lang="nb-NO" sz="1400" dirty="0"/>
              <a:t> "</a:t>
            </a:r>
            <a:r>
              <a:rPr lang="nb-NO" sz="1400" dirty="0" err="1"/>
              <a:t>Add</a:t>
            </a:r>
            <a:r>
              <a:rPr lang="nb-NO" sz="1400" dirty="0"/>
              <a:t> New SSH Host...", type "devnet-adm@192.168.10.7"</a:t>
            </a:r>
          </a:p>
          <a:p>
            <a:pPr lvl="1">
              <a:lnSpc>
                <a:spcPct val="110000"/>
              </a:lnSpc>
            </a:pPr>
            <a:endParaRPr lang="nb-NO" sz="1400" dirty="0"/>
          </a:p>
          <a:p>
            <a:pPr lvl="1">
              <a:lnSpc>
                <a:spcPct val="110000"/>
              </a:lnSpc>
            </a:pPr>
            <a:endParaRPr lang="nb-NO" sz="1400" dirty="0"/>
          </a:p>
          <a:p>
            <a:pPr lvl="1">
              <a:lnSpc>
                <a:spcPct val="110000"/>
              </a:lnSpc>
            </a:pPr>
            <a:endParaRPr lang="nb-NO" sz="1400" dirty="0"/>
          </a:p>
          <a:p>
            <a:pPr>
              <a:lnSpc>
                <a:spcPct val="110000"/>
              </a:lnSpc>
            </a:pPr>
            <a:r>
              <a:rPr lang="nb-NO" sz="1600" dirty="0"/>
              <a:t>Connect to </a:t>
            </a:r>
            <a:r>
              <a:rPr lang="nb-NO" sz="1600" dirty="0" err="1"/>
              <a:t>the</a:t>
            </a:r>
            <a:r>
              <a:rPr lang="nb-NO" sz="1600" dirty="0"/>
              <a:t> </a:t>
            </a:r>
            <a:r>
              <a:rPr lang="nb-NO" sz="1600" dirty="0" err="1"/>
              <a:t>new</a:t>
            </a:r>
            <a:r>
              <a:rPr lang="nb-NO" sz="1600" dirty="0"/>
              <a:t> Host, </a:t>
            </a:r>
            <a:r>
              <a:rPr lang="nb-NO" sz="1600" dirty="0" err="1"/>
              <a:t>either</a:t>
            </a:r>
            <a:r>
              <a:rPr lang="nb-NO" sz="1600" dirty="0"/>
              <a:t> </a:t>
            </a:r>
            <a:r>
              <a:rPr lang="nb-NO" sz="1600" dirty="0" err="1"/>
              <a:t>using</a:t>
            </a:r>
            <a:r>
              <a:rPr lang="nb-NO" sz="1600" dirty="0"/>
              <a:t> </a:t>
            </a:r>
            <a:r>
              <a:rPr lang="nb-NO" sz="1600" dirty="0" err="1"/>
              <a:t>lower</a:t>
            </a:r>
            <a:r>
              <a:rPr lang="nb-NO" sz="1600" dirty="0"/>
              <a:t> </a:t>
            </a:r>
            <a:r>
              <a:rPr lang="nb-NO" sz="1600" dirty="0" err="1"/>
              <a:t>left</a:t>
            </a:r>
            <a:r>
              <a:rPr lang="nb-NO" sz="1600" dirty="0"/>
              <a:t> corner </a:t>
            </a:r>
            <a:r>
              <a:rPr lang="nb-NO" sz="1600" dirty="0" err="1"/>
              <a:t>of</a:t>
            </a:r>
            <a:r>
              <a:rPr lang="nb-NO" sz="1600" dirty="0"/>
              <a:t> VS Code </a:t>
            </a:r>
            <a:r>
              <a:rPr lang="nb-NO" sz="1600" dirty="0" err="1"/>
              <a:t>window</a:t>
            </a:r>
            <a:r>
              <a:rPr lang="nb-NO" sz="1600" dirty="0"/>
              <a:t> or </a:t>
            </a:r>
            <a:r>
              <a:rPr lang="nb-NO" sz="1600" dirty="0" err="1"/>
              <a:t>Command</a:t>
            </a:r>
            <a:r>
              <a:rPr lang="nb-NO" sz="1600" dirty="0"/>
              <a:t> </a:t>
            </a:r>
            <a:r>
              <a:rPr lang="nb-NO" sz="1600" dirty="0" err="1"/>
              <a:t>Palette</a:t>
            </a:r>
            <a:r>
              <a:rPr lang="nb-NO" sz="1600" dirty="0"/>
              <a:t> (F1)</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When</a:t>
            </a:r>
            <a:r>
              <a:rPr lang="nb-NO" sz="1600" dirty="0"/>
              <a:t> </a:t>
            </a:r>
            <a:r>
              <a:rPr lang="nb-NO" sz="1600" dirty="0" err="1"/>
              <a:t>asked</a:t>
            </a:r>
            <a:r>
              <a:rPr lang="nb-NO" sz="1600" dirty="0"/>
              <a:t> </a:t>
            </a:r>
            <a:r>
              <a:rPr lang="nb-NO" sz="1600" dirty="0" err="1"/>
              <a:t>about</a:t>
            </a:r>
            <a:r>
              <a:rPr lang="nb-NO" sz="1600" dirty="0"/>
              <a:t> </a:t>
            </a:r>
            <a:r>
              <a:rPr lang="nb-NO" sz="1600" dirty="0" err="1"/>
              <a:t>platform</a:t>
            </a:r>
            <a:r>
              <a:rPr lang="nb-NO" sz="1600" dirty="0"/>
              <a:t> type, </a:t>
            </a:r>
            <a:r>
              <a:rPr lang="nb-NO" sz="1600" dirty="0" err="1"/>
              <a:t>select</a:t>
            </a:r>
            <a:r>
              <a:rPr lang="nb-NO" sz="1600" dirty="0"/>
              <a:t> Linux</a:t>
            </a:r>
          </a:p>
          <a:p>
            <a:pPr lvl="1">
              <a:lnSpc>
                <a:spcPct val="110000"/>
              </a:lnSpc>
            </a:pPr>
            <a:endParaRPr lang="nb-NO" sz="1400" dirty="0"/>
          </a:p>
          <a:p>
            <a:pPr lvl="1">
              <a:lnSpc>
                <a:spcPct val="110000"/>
              </a:lnSpc>
            </a:pPr>
            <a:endParaRPr lang="nb-NO" sz="1400" dirty="0"/>
          </a:p>
          <a:p>
            <a:pPr lvl="1">
              <a:lnSpc>
                <a:spcPct val="110000"/>
              </a:lnSpc>
            </a:pPr>
            <a:endParaRPr lang="nb-NO" sz="1400" dirty="0"/>
          </a:p>
          <a:p>
            <a:pPr marL="450000" lvl="1" indent="0">
              <a:lnSpc>
                <a:spcPct val="110000"/>
              </a:lnSpc>
              <a:buNone/>
            </a:pPr>
            <a:endParaRPr lang="nb-NO" sz="1400" dirty="0"/>
          </a:p>
        </p:txBody>
      </p:sp>
      <p:pic>
        <p:nvPicPr>
          <p:cNvPr id="16" name="Picture 15">
            <a:extLst>
              <a:ext uri="{FF2B5EF4-FFF2-40B4-BE49-F238E27FC236}">
                <a16:creationId xmlns:a16="http://schemas.microsoft.com/office/drawing/2014/main" id="{B16855CB-D3AD-CEEE-24F4-F2F169D6A36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390425" y="1818575"/>
            <a:ext cx="3991532" cy="794384"/>
          </a:xfrm>
          <a:prstGeom prst="rect">
            <a:avLst/>
          </a:prstGeom>
        </p:spPr>
      </p:pic>
      <p:pic>
        <p:nvPicPr>
          <p:cNvPr id="19" name="Picture 18">
            <a:extLst>
              <a:ext uri="{FF2B5EF4-FFF2-40B4-BE49-F238E27FC236}">
                <a16:creationId xmlns:a16="http://schemas.microsoft.com/office/drawing/2014/main" id="{226FB763-34A5-DD87-24D9-B4997ACF53FE}"/>
              </a:ext>
            </a:extLst>
          </p:cNvPr>
          <p:cNvPicPr>
            <a:picLocks noChangeAspect="1"/>
          </p:cNvPicPr>
          <p:nvPr/>
        </p:nvPicPr>
        <p:blipFill>
          <a:blip r:embed="rId4"/>
          <a:stretch>
            <a:fillRect/>
          </a:stretch>
        </p:blipFill>
        <p:spPr>
          <a:xfrm>
            <a:off x="1260399" y="1815661"/>
            <a:ext cx="3296110" cy="962159"/>
          </a:xfrm>
          <a:prstGeom prst="rect">
            <a:avLst/>
          </a:prstGeom>
        </p:spPr>
      </p:pic>
      <p:pic>
        <p:nvPicPr>
          <p:cNvPr id="11" name="Picture 10">
            <a:extLst>
              <a:ext uri="{FF2B5EF4-FFF2-40B4-BE49-F238E27FC236}">
                <a16:creationId xmlns:a16="http://schemas.microsoft.com/office/drawing/2014/main" id="{DDDAE4F3-5480-7F69-95AD-38D50B393A53}"/>
              </a:ext>
            </a:extLst>
          </p:cNvPr>
          <p:cNvPicPr>
            <a:picLocks noChangeAspect="1"/>
          </p:cNvPicPr>
          <p:nvPr/>
        </p:nvPicPr>
        <p:blipFill rotWithShape="1">
          <a:blip r:embed="rId5"/>
          <a:srcRect t="57560" r="35085"/>
          <a:stretch/>
        </p:blipFill>
        <p:spPr>
          <a:xfrm>
            <a:off x="1260399" y="3317820"/>
            <a:ext cx="2547797" cy="1168426"/>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Connect to... Remote SSH</a:t>
            </a:r>
          </a:p>
        </p:txBody>
      </p:sp>
      <p:cxnSp>
        <p:nvCxnSpPr>
          <p:cNvPr id="8" name="Straight Arrow Connector 7">
            <a:extLst>
              <a:ext uri="{FF2B5EF4-FFF2-40B4-BE49-F238E27FC236}">
                <a16:creationId xmlns:a16="http://schemas.microsoft.com/office/drawing/2014/main" id="{87407839-F583-F4F8-6870-7596EB34EDF4}"/>
              </a:ext>
            </a:extLst>
          </p:cNvPr>
          <p:cNvCxnSpPr>
            <a:cxnSpLocks/>
          </p:cNvCxnSpPr>
          <p:nvPr/>
        </p:nvCxnSpPr>
        <p:spPr>
          <a:xfrm>
            <a:off x="3384391" y="2270341"/>
            <a:ext cx="189251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1296C061-24EA-A935-EA3B-E2A68731F95E}"/>
              </a:ext>
            </a:extLst>
          </p:cNvPr>
          <p:cNvCxnSpPr>
            <a:cxnSpLocks/>
          </p:cNvCxnSpPr>
          <p:nvPr/>
        </p:nvCxnSpPr>
        <p:spPr>
          <a:xfrm flipH="1">
            <a:off x="1603612" y="3225684"/>
            <a:ext cx="3544929" cy="10392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6" name="Picture 25">
            <a:extLst>
              <a:ext uri="{FF2B5EF4-FFF2-40B4-BE49-F238E27FC236}">
                <a16:creationId xmlns:a16="http://schemas.microsoft.com/office/drawing/2014/main" id="{B6C99450-723E-66C4-F41E-238BF94C7664}"/>
              </a:ext>
            </a:extLst>
          </p:cNvPr>
          <p:cNvPicPr>
            <a:picLocks noChangeAspect="1"/>
          </p:cNvPicPr>
          <p:nvPr/>
        </p:nvPicPr>
        <p:blipFill>
          <a:blip r:embed="rId6"/>
          <a:stretch>
            <a:fillRect/>
          </a:stretch>
        </p:blipFill>
        <p:spPr>
          <a:xfrm>
            <a:off x="8437431" y="3384170"/>
            <a:ext cx="3067478" cy="990738"/>
          </a:xfrm>
          <a:prstGeom prst="rect">
            <a:avLst/>
          </a:prstGeom>
        </p:spPr>
      </p:pic>
      <p:cxnSp>
        <p:nvCxnSpPr>
          <p:cNvPr id="27" name="Straight Arrow Connector 26">
            <a:extLst>
              <a:ext uri="{FF2B5EF4-FFF2-40B4-BE49-F238E27FC236}">
                <a16:creationId xmlns:a16="http://schemas.microsoft.com/office/drawing/2014/main" id="{CEE092F4-FAEB-D03A-5B69-19002319BFB8}"/>
              </a:ext>
            </a:extLst>
          </p:cNvPr>
          <p:cNvCxnSpPr>
            <a:cxnSpLocks/>
          </p:cNvCxnSpPr>
          <p:nvPr/>
        </p:nvCxnSpPr>
        <p:spPr>
          <a:xfrm>
            <a:off x="9543570" y="3225684"/>
            <a:ext cx="139517" cy="9026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6FAF88EC-BADD-6346-742F-7D8068A9990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CF7F7F97-9C2F-81B1-DE35-802903A639A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
        <p:nvSpPr>
          <p:cNvPr id="4" name="Rectangle: Rounded Corners 3">
            <a:extLst>
              <a:ext uri="{FF2B5EF4-FFF2-40B4-BE49-F238E27FC236}">
                <a16:creationId xmlns:a16="http://schemas.microsoft.com/office/drawing/2014/main" id="{70E726D4-D0FF-92A3-1468-92D1928E3A90}"/>
              </a:ext>
            </a:extLst>
          </p:cNvPr>
          <p:cNvSpPr/>
          <p:nvPr/>
        </p:nvSpPr>
        <p:spPr>
          <a:xfrm>
            <a:off x="6242512" y="2066219"/>
            <a:ext cx="821797" cy="34275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5" name="Straight Arrow Connector 4">
            <a:extLst>
              <a:ext uri="{FF2B5EF4-FFF2-40B4-BE49-F238E27FC236}">
                <a16:creationId xmlns:a16="http://schemas.microsoft.com/office/drawing/2014/main" id="{2B81E1AC-313D-C209-1A87-E1269539B326}"/>
              </a:ext>
            </a:extLst>
          </p:cNvPr>
          <p:cNvCxnSpPr>
            <a:cxnSpLocks/>
          </p:cNvCxnSpPr>
          <p:nvPr/>
        </p:nvCxnSpPr>
        <p:spPr>
          <a:xfrm flipH="1">
            <a:off x="7041873" y="1223404"/>
            <a:ext cx="2501697" cy="8428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he distance between the headline and the start of the body copy is always constant.…">
            <a:extLst>
              <a:ext uri="{FF2B5EF4-FFF2-40B4-BE49-F238E27FC236}">
                <a16:creationId xmlns:a16="http://schemas.microsoft.com/office/drawing/2014/main" id="{1BD9F5E8-F8D9-768F-F3F0-4993F0CBD736}"/>
              </a:ext>
            </a:extLst>
          </p:cNvPr>
          <p:cNvSpPr txBox="1">
            <a:spLocks/>
          </p:cNvSpPr>
          <p:nvPr/>
        </p:nvSpPr>
        <p:spPr bwMode="gray">
          <a:xfrm>
            <a:off x="9550416" y="952359"/>
            <a:ext cx="2668913" cy="668811"/>
          </a:xfrm>
          <a:prstGeom prst="rect">
            <a:avLst/>
          </a:prstGeom>
        </p:spPr>
        <p:txBody>
          <a:bodyPr vert="horz" lIns="0" tIns="180000" rIns="0" bIns="180000" rtlCol="0">
            <a:normAutofit fontScale="775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Replace</a:t>
            </a:r>
            <a:r>
              <a:rPr lang="nb-NO" sz="1600"/>
              <a:t> </a:t>
            </a:r>
            <a:r>
              <a:rPr lang="nb-NO" sz="1600" err="1"/>
              <a:t>with</a:t>
            </a:r>
            <a:r>
              <a:rPr lang="nb-NO" sz="1600"/>
              <a:t> </a:t>
            </a:r>
            <a:r>
              <a:rPr lang="nb-NO" sz="1600" err="1"/>
              <a:t>your</a:t>
            </a:r>
            <a:r>
              <a:rPr lang="nb-NO" sz="1600"/>
              <a:t> </a:t>
            </a:r>
            <a:r>
              <a:rPr lang="nb-NO" sz="1600" err="1"/>
              <a:t>Ubuntu</a:t>
            </a:r>
            <a:r>
              <a:rPr lang="nb-NO" sz="1600"/>
              <a:t> IP</a:t>
            </a:r>
          </a:p>
        </p:txBody>
      </p:sp>
      <p:pic>
        <p:nvPicPr>
          <p:cNvPr id="9" name="Picture 8">
            <a:extLst>
              <a:ext uri="{FF2B5EF4-FFF2-40B4-BE49-F238E27FC236}">
                <a16:creationId xmlns:a16="http://schemas.microsoft.com/office/drawing/2014/main" id="{11A2CC67-3623-7B51-8FA5-9D6E230874A9}"/>
              </a:ext>
            </a:extLst>
          </p:cNvPr>
          <p:cNvPicPr>
            <a:picLocks noChangeAspect="1"/>
          </p:cNvPicPr>
          <p:nvPr/>
        </p:nvPicPr>
        <p:blipFill>
          <a:blip r:embed="rId7"/>
          <a:stretch>
            <a:fillRect/>
          </a:stretch>
        </p:blipFill>
        <p:spPr>
          <a:xfrm>
            <a:off x="9641443" y="2349034"/>
            <a:ext cx="2102456" cy="419021"/>
          </a:xfrm>
          <a:prstGeom prst="rect">
            <a:avLst/>
          </a:prstGeom>
        </p:spPr>
      </p:pic>
      <p:cxnSp>
        <p:nvCxnSpPr>
          <p:cNvPr id="12" name="Straight Arrow Connector 11">
            <a:extLst>
              <a:ext uri="{FF2B5EF4-FFF2-40B4-BE49-F238E27FC236}">
                <a16:creationId xmlns:a16="http://schemas.microsoft.com/office/drawing/2014/main" id="{C8E0D512-A9F1-D641-BE05-073A2FD931B0}"/>
              </a:ext>
            </a:extLst>
          </p:cNvPr>
          <p:cNvCxnSpPr>
            <a:cxnSpLocks/>
          </p:cNvCxnSpPr>
          <p:nvPr/>
        </p:nvCxnSpPr>
        <p:spPr>
          <a:xfrm>
            <a:off x="8657523" y="2488538"/>
            <a:ext cx="944526" cy="1176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4AA94A67-2A3F-CBCB-438A-8C46F4CD21EE}"/>
              </a:ext>
            </a:extLst>
          </p:cNvPr>
          <p:cNvPicPr>
            <a:picLocks noChangeAspect="1"/>
          </p:cNvPicPr>
          <p:nvPr/>
        </p:nvPicPr>
        <p:blipFill>
          <a:blip r:embed="rId8"/>
          <a:stretch>
            <a:fillRect/>
          </a:stretch>
        </p:blipFill>
        <p:spPr>
          <a:xfrm>
            <a:off x="1260399" y="4923646"/>
            <a:ext cx="5696745" cy="1086002"/>
          </a:xfrm>
          <a:prstGeom prst="rect">
            <a:avLst/>
          </a:prstGeom>
        </p:spPr>
      </p:pic>
    </p:spTree>
    <p:extLst>
      <p:ext uri="{BB962C8B-B14F-4D97-AF65-F5344CB8AC3E}">
        <p14:creationId xmlns:p14="http://schemas.microsoft.com/office/powerpoint/2010/main" val="520098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Install Extensions in Remote SSH</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7267085" cy="837324"/>
          </a:xfrm>
        </p:spPr>
        <p:txBody>
          <a:bodyPr>
            <a:normAutofit/>
          </a:bodyPr>
          <a:lstStyle/>
          <a:p>
            <a:pPr>
              <a:lnSpc>
                <a:spcPct val="110000"/>
              </a:lnSpc>
            </a:pPr>
            <a:r>
              <a:rPr lang="nb-NO" sz="1600"/>
              <a:t>The </a:t>
            </a:r>
            <a:r>
              <a:rPr lang="nb-NO" sz="1600" err="1"/>
              <a:t>extensions</a:t>
            </a:r>
            <a:r>
              <a:rPr lang="nb-NO" sz="1600"/>
              <a:t> have to be </a:t>
            </a:r>
            <a:r>
              <a:rPr lang="nb-NO" sz="1600" err="1"/>
              <a:t>installed</a:t>
            </a:r>
            <a:r>
              <a:rPr lang="nb-NO" sz="1600"/>
              <a:t> in </a:t>
            </a:r>
            <a:r>
              <a:rPr lang="nb-NO" sz="1600" err="1"/>
              <a:t>each</a:t>
            </a:r>
            <a:r>
              <a:rPr lang="nb-NO" sz="1600"/>
              <a:t> </a:t>
            </a:r>
            <a:r>
              <a:rPr lang="nb-NO" sz="1600" err="1"/>
              <a:t>remote</a:t>
            </a:r>
            <a:r>
              <a:rPr lang="nb-NO" sz="1600"/>
              <a:t> </a:t>
            </a:r>
            <a:r>
              <a:rPr lang="nb-NO" sz="1600" err="1"/>
              <a:t>environment</a:t>
            </a: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p:txBody>
      </p:sp>
      <p:pic>
        <p:nvPicPr>
          <p:cNvPr id="6" name="Picture 5">
            <a:extLst>
              <a:ext uri="{FF2B5EF4-FFF2-40B4-BE49-F238E27FC236}">
                <a16:creationId xmlns:a16="http://schemas.microsoft.com/office/drawing/2014/main" id="{D64A7E8A-68D4-500A-2EBD-B2086500FE7B}"/>
              </a:ext>
            </a:extLst>
          </p:cNvPr>
          <p:cNvPicPr>
            <a:picLocks noChangeAspect="1"/>
          </p:cNvPicPr>
          <p:nvPr/>
        </p:nvPicPr>
        <p:blipFill>
          <a:blip r:embed="rId3"/>
          <a:stretch>
            <a:fillRect/>
          </a:stretch>
        </p:blipFill>
        <p:spPr>
          <a:xfrm>
            <a:off x="720000" y="1447523"/>
            <a:ext cx="4639322" cy="3962953"/>
          </a:xfrm>
          <a:prstGeom prst="rect">
            <a:avLst/>
          </a:prstGeom>
        </p:spPr>
      </p:pic>
      <p:sp>
        <p:nvSpPr>
          <p:cNvPr id="7" name="Rectangle: Rounded Corners 6">
            <a:extLst>
              <a:ext uri="{FF2B5EF4-FFF2-40B4-BE49-F238E27FC236}">
                <a16:creationId xmlns:a16="http://schemas.microsoft.com/office/drawing/2014/main" id="{9CAD7A78-C297-D5CB-20C2-F9524B68D8F8}"/>
              </a:ext>
            </a:extLst>
          </p:cNvPr>
          <p:cNvSpPr/>
          <p:nvPr/>
        </p:nvSpPr>
        <p:spPr>
          <a:xfrm>
            <a:off x="3772861" y="4771785"/>
            <a:ext cx="437989" cy="46104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116A7440-C9A1-683B-A2FF-7FE26B92B190}"/>
              </a:ext>
            </a:extLst>
          </p:cNvPr>
          <p:cNvCxnSpPr>
            <a:cxnSpLocks/>
          </p:cNvCxnSpPr>
          <p:nvPr/>
        </p:nvCxnSpPr>
        <p:spPr>
          <a:xfrm flipH="1">
            <a:off x="4111412" y="1447523"/>
            <a:ext cx="1690033" cy="33154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Footer Placeholder 6">
            <a:extLst>
              <a:ext uri="{FF2B5EF4-FFF2-40B4-BE49-F238E27FC236}">
                <a16:creationId xmlns:a16="http://schemas.microsoft.com/office/drawing/2014/main" id="{10F2D6BD-B21C-8FE8-238D-ED5B9A7DFB0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Footer Placeholder 6">
            <a:extLst>
              <a:ext uri="{FF2B5EF4-FFF2-40B4-BE49-F238E27FC236}">
                <a16:creationId xmlns:a16="http://schemas.microsoft.com/office/drawing/2014/main" id="{66D07394-7DFD-A3DF-E040-0288B253846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
        <p:nvSpPr>
          <p:cNvPr id="4" name="TextBox 3">
            <a:extLst>
              <a:ext uri="{FF2B5EF4-FFF2-40B4-BE49-F238E27FC236}">
                <a16:creationId xmlns:a16="http://schemas.microsoft.com/office/drawing/2014/main" id="{A2AA7E7B-789F-BABC-8064-524E754B605A}"/>
              </a:ext>
            </a:extLst>
          </p:cNvPr>
          <p:cNvSpPr txBox="1"/>
          <p:nvPr/>
        </p:nvSpPr>
        <p:spPr>
          <a:xfrm>
            <a:off x="7107946" y="1933388"/>
            <a:ext cx="4838987" cy="781304"/>
          </a:xfrm>
          <a:prstGeom prst="rect">
            <a:avLst/>
          </a:prstGeom>
          <a:noFill/>
        </p:spPr>
        <p:txBody>
          <a:bodyPr wrap="square">
            <a:spAutoFit/>
          </a:bodyPr>
          <a:lstStyle/>
          <a:p>
            <a:pPr>
              <a:lnSpc>
                <a:spcPct val="110000"/>
              </a:lnSpc>
            </a:pPr>
            <a:r>
              <a:rPr lang="nb-NO" sz="1400" err="1"/>
              <a:t>When</a:t>
            </a:r>
            <a:r>
              <a:rPr lang="nb-NO" sz="1400"/>
              <a:t> </a:t>
            </a:r>
            <a:r>
              <a:rPr lang="nb-NO" sz="1400" err="1"/>
              <a:t>asked</a:t>
            </a:r>
            <a:r>
              <a:rPr lang="nb-NO" sz="1400"/>
              <a:t> </a:t>
            </a:r>
            <a:r>
              <a:rPr lang="nb-NO" sz="1400" err="1"/>
              <a:t>which</a:t>
            </a:r>
            <a:r>
              <a:rPr lang="nb-NO" sz="1400"/>
              <a:t> </a:t>
            </a:r>
            <a:r>
              <a:rPr lang="nb-NO" sz="1400" err="1"/>
              <a:t>ones</a:t>
            </a:r>
            <a:r>
              <a:rPr lang="nb-NO" sz="1400"/>
              <a:t> to </a:t>
            </a:r>
            <a:r>
              <a:rPr lang="nb-NO" sz="1400" err="1"/>
              <a:t>install</a:t>
            </a:r>
            <a:r>
              <a:rPr lang="nb-NO" sz="1400"/>
              <a:t>, </a:t>
            </a:r>
            <a:r>
              <a:rPr lang="nb-NO" sz="1400" err="1"/>
              <a:t>you</a:t>
            </a:r>
            <a:r>
              <a:rPr lang="nb-NO" sz="1400"/>
              <a:t> </a:t>
            </a:r>
            <a:r>
              <a:rPr lang="nb-NO" sz="1400" err="1"/>
              <a:t>can</a:t>
            </a:r>
            <a:r>
              <a:rPr lang="nb-NO" sz="1400"/>
              <a:t> </a:t>
            </a:r>
            <a:r>
              <a:rPr lang="nb-NO" sz="1400" err="1"/>
              <a:t>select</a:t>
            </a:r>
            <a:r>
              <a:rPr lang="nb-NO" sz="1400"/>
              <a:t> </a:t>
            </a:r>
            <a:r>
              <a:rPr lang="nb-NO" sz="1400" err="1"/>
              <a:t>everything</a:t>
            </a:r>
            <a:r>
              <a:rPr lang="nb-NO" sz="1400"/>
              <a:t>, or </a:t>
            </a:r>
            <a:r>
              <a:rPr lang="nb-NO" sz="1400" err="1"/>
              <a:t>select</a:t>
            </a:r>
            <a:r>
              <a:rPr lang="nb-NO" sz="1400"/>
              <a:t> </a:t>
            </a:r>
            <a:r>
              <a:rPr lang="nb-NO" sz="1400" err="1"/>
              <a:t>some</a:t>
            </a:r>
            <a:r>
              <a:rPr lang="nb-NO" sz="1400"/>
              <a:t> </a:t>
            </a:r>
            <a:r>
              <a:rPr lang="nb-NO" sz="1400" err="1"/>
              <a:t>of</a:t>
            </a:r>
            <a:r>
              <a:rPr lang="nb-NO" sz="1400"/>
              <a:t> </a:t>
            </a:r>
            <a:r>
              <a:rPr lang="nb-NO" sz="1400" err="1"/>
              <a:t>them</a:t>
            </a:r>
            <a:r>
              <a:rPr lang="nb-NO" sz="1400"/>
              <a:t> </a:t>
            </a:r>
            <a:r>
              <a:rPr lang="nb-NO" sz="1400" err="1"/>
              <a:t>if</a:t>
            </a:r>
            <a:r>
              <a:rPr lang="nb-NO" sz="1400"/>
              <a:t> </a:t>
            </a:r>
            <a:r>
              <a:rPr lang="nb-NO" sz="1400" err="1"/>
              <a:t>you</a:t>
            </a:r>
            <a:r>
              <a:rPr lang="nb-NO" sz="1400"/>
              <a:t> have a lot </a:t>
            </a:r>
            <a:r>
              <a:rPr lang="nb-NO" sz="1400" err="1"/>
              <a:t>of</a:t>
            </a:r>
            <a:r>
              <a:rPr lang="nb-NO" sz="1400"/>
              <a:t> </a:t>
            </a:r>
            <a:r>
              <a:rPr lang="nb-NO" sz="1400" err="1"/>
              <a:t>extensions</a:t>
            </a:r>
            <a:endParaRPr lang="nb-NO" sz="1400"/>
          </a:p>
        </p:txBody>
      </p:sp>
      <p:sp>
        <p:nvSpPr>
          <p:cNvPr id="3" name="Rectangle: Rounded Corners 2">
            <a:extLst>
              <a:ext uri="{FF2B5EF4-FFF2-40B4-BE49-F238E27FC236}">
                <a16:creationId xmlns:a16="http://schemas.microsoft.com/office/drawing/2014/main" id="{1BC267A7-00A2-B306-18B3-26914F00EBF6}"/>
              </a:ext>
            </a:extLst>
          </p:cNvPr>
          <p:cNvSpPr/>
          <p:nvPr/>
        </p:nvSpPr>
        <p:spPr>
          <a:xfrm>
            <a:off x="624812" y="3620060"/>
            <a:ext cx="437989" cy="46104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1" name="Picture 10">
            <a:extLst>
              <a:ext uri="{FF2B5EF4-FFF2-40B4-BE49-F238E27FC236}">
                <a16:creationId xmlns:a16="http://schemas.microsoft.com/office/drawing/2014/main" id="{2BE1D3E6-B783-B23C-6B03-DD5110FE2157}"/>
              </a:ext>
            </a:extLst>
          </p:cNvPr>
          <p:cNvPicPr>
            <a:picLocks noChangeAspect="1"/>
          </p:cNvPicPr>
          <p:nvPr/>
        </p:nvPicPr>
        <p:blipFill>
          <a:blip r:embed="rId4"/>
          <a:stretch>
            <a:fillRect/>
          </a:stretch>
        </p:blipFill>
        <p:spPr>
          <a:xfrm>
            <a:off x="7164716" y="2668513"/>
            <a:ext cx="4782217" cy="1467055"/>
          </a:xfrm>
          <a:prstGeom prst="rect">
            <a:avLst/>
          </a:prstGeom>
        </p:spPr>
      </p:pic>
      <p:cxnSp>
        <p:nvCxnSpPr>
          <p:cNvPr id="12" name="Straight Arrow Connector 11">
            <a:extLst>
              <a:ext uri="{FF2B5EF4-FFF2-40B4-BE49-F238E27FC236}">
                <a16:creationId xmlns:a16="http://schemas.microsoft.com/office/drawing/2014/main" id="{615DE246-8AC3-939D-35CA-27EA1EB123AE}"/>
              </a:ext>
            </a:extLst>
          </p:cNvPr>
          <p:cNvCxnSpPr>
            <a:cxnSpLocks/>
            <a:endCxn id="11" idx="1"/>
          </p:cNvCxnSpPr>
          <p:nvPr/>
        </p:nvCxnSpPr>
        <p:spPr>
          <a:xfrm flipV="1">
            <a:off x="4210850" y="3402041"/>
            <a:ext cx="2953866" cy="16002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D694D4D-A706-4262-48EF-69A933812AC4}"/>
              </a:ext>
            </a:extLst>
          </p:cNvPr>
          <p:cNvPicPr>
            <a:picLocks noChangeAspect="1"/>
          </p:cNvPicPr>
          <p:nvPr/>
        </p:nvPicPr>
        <p:blipFill>
          <a:blip r:embed="rId5"/>
          <a:stretch>
            <a:fillRect/>
          </a:stretch>
        </p:blipFill>
        <p:spPr>
          <a:xfrm>
            <a:off x="7701682" y="5178781"/>
            <a:ext cx="4353533" cy="800212"/>
          </a:xfrm>
          <a:prstGeom prst="rect">
            <a:avLst/>
          </a:prstGeom>
        </p:spPr>
      </p:pic>
      <p:sp>
        <p:nvSpPr>
          <p:cNvPr id="17" name="TextBox 16">
            <a:extLst>
              <a:ext uri="{FF2B5EF4-FFF2-40B4-BE49-F238E27FC236}">
                <a16:creationId xmlns:a16="http://schemas.microsoft.com/office/drawing/2014/main" id="{B4EFBD89-79D9-791A-DE90-926B6DEE4DC6}"/>
              </a:ext>
            </a:extLst>
          </p:cNvPr>
          <p:cNvSpPr txBox="1"/>
          <p:nvPr/>
        </p:nvSpPr>
        <p:spPr>
          <a:xfrm>
            <a:off x="7647494" y="4631826"/>
            <a:ext cx="3816659" cy="544316"/>
          </a:xfrm>
          <a:prstGeom prst="rect">
            <a:avLst/>
          </a:prstGeom>
          <a:noFill/>
        </p:spPr>
        <p:txBody>
          <a:bodyPr wrap="square">
            <a:spAutoFit/>
          </a:bodyPr>
          <a:lstStyle/>
          <a:p>
            <a:pPr>
              <a:lnSpc>
                <a:spcPct val="110000"/>
              </a:lnSpc>
            </a:pPr>
            <a:r>
              <a:rPr lang="nb-NO" sz="1400"/>
              <a:t>It </a:t>
            </a:r>
            <a:r>
              <a:rPr lang="nb-NO" sz="1400" err="1"/>
              <a:t>will</a:t>
            </a:r>
            <a:r>
              <a:rPr lang="nb-NO" sz="1400"/>
              <a:t> </a:t>
            </a:r>
            <a:r>
              <a:rPr lang="nb-NO" sz="1400" err="1"/>
              <a:t>take</a:t>
            </a:r>
            <a:r>
              <a:rPr lang="nb-NO" sz="1400"/>
              <a:t> a </a:t>
            </a:r>
            <a:r>
              <a:rPr lang="nb-NO" sz="1400" err="1"/>
              <a:t>minute</a:t>
            </a:r>
            <a:r>
              <a:rPr lang="nb-NO" sz="1400"/>
              <a:t> or so to </a:t>
            </a:r>
            <a:r>
              <a:rPr lang="nb-NO" sz="1400" err="1"/>
              <a:t>install</a:t>
            </a:r>
            <a:r>
              <a:rPr lang="nb-NO" sz="1400"/>
              <a:t> </a:t>
            </a:r>
            <a:r>
              <a:rPr lang="nb-NO" sz="1400" err="1"/>
              <a:t>the</a:t>
            </a:r>
            <a:r>
              <a:rPr lang="nb-NO" sz="1400"/>
              <a:t> </a:t>
            </a:r>
            <a:r>
              <a:rPr lang="nb-NO" sz="1400" err="1"/>
              <a:t>extensions</a:t>
            </a:r>
            <a:r>
              <a:rPr lang="nb-NO" sz="1400"/>
              <a:t> in </a:t>
            </a:r>
            <a:r>
              <a:rPr lang="nb-NO" sz="1400" err="1"/>
              <a:t>the</a:t>
            </a:r>
            <a:r>
              <a:rPr lang="nb-NO" sz="1400"/>
              <a:t> server</a:t>
            </a:r>
          </a:p>
        </p:txBody>
      </p:sp>
    </p:spTree>
    <p:extLst>
      <p:ext uri="{BB962C8B-B14F-4D97-AF65-F5344CB8AC3E}">
        <p14:creationId xmlns:p14="http://schemas.microsoft.com/office/powerpoint/2010/main" val="254741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40000" y="972000"/>
            <a:ext cx="11109600" cy="4838400"/>
          </a:xfrm>
        </p:spPr>
        <p:txBody>
          <a:bodyPr>
            <a:normAutofit/>
          </a:bodyPr>
          <a:lstStyle/>
          <a:p>
            <a:pPr>
              <a:lnSpc>
                <a:spcPct val="110000"/>
              </a:lnSpc>
            </a:pPr>
            <a:r>
              <a:rPr lang="nb-NO" sz="1600"/>
              <a:t>Open Folder</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Trust </a:t>
            </a:r>
            <a:r>
              <a:rPr lang="nb-NO" sz="1600" err="1"/>
              <a:t>authors</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p:txBody>
      </p:sp>
      <p:pic>
        <p:nvPicPr>
          <p:cNvPr id="8" name="Picture 7">
            <a:extLst>
              <a:ext uri="{FF2B5EF4-FFF2-40B4-BE49-F238E27FC236}">
                <a16:creationId xmlns:a16="http://schemas.microsoft.com/office/drawing/2014/main" id="{C7A1E34A-DBAC-F62C-35CA-F9EE01DFEBE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286326" y="2435039"/>
            <a:ext cx="5668166" cy="61713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a:t>
            </a:r>
          </a:p>
        </p:txBody>
      </p:sp>
      <p:pic>
        <p:nvPicPr>
          <p:cNvPr id="4" name="Picture 3">
            <a:extLst>
              <a:ext uri="{FF2B5EF4-FFF2-40B4-BE49-F238E27FC236}">
                <a16:creationId xmlns:a16="http://schemas.microsoft.com/office/drawing/2014/main" id="{EE49B416-6D45-D9BB-9236-660E9EFE010E}"/>
              </a:ext>
            </a:extLst>
          </p:cNvPr>
          <p:cNvPicPr>
            <a:picLocks noChangeAspect="1"/>
          </p:cNvPicPr>
          <p:nvPr/>
        </p:nvPicPr>
        <p:blipFill>
          <a:blip r:embed="rId4"/>
          <a:stretch>
            <a:fillRect/>
          </a:stretch>
        </p:blipFill>
        <p:spPr>
          <a:xfrm>
            <a:off x="2601844" y="802288"/>
            <a:ext cx="2915057" cy="1419423"/>
          </a:xfrm>
          <a:prstGeom prst="rect">
            <a:avLst/>
          </a:prstGeom>
        </p:spPr>
      </p:pic>
      <p:cxnSp>
        <p:nvCxnSpPr>
          <p:cNvPr id="5" name="Straight Arrow Connector 4">
            <a:extLst>
              <a:ext uri="{FF2B5EF4-FFF2-40B4-BE49-F238E27FC236}">
                <a16:creationId xmlns:a16="http://schemas.microsoft.com/office/drawing/2014/main" id="{99EDF0DF-3AE9-13BB-D977-80F04527045E}"/>
              </a:ext>
            </a:extLst>
          </p:cNvPr>
          <p:cNvCxnSpPr>
            <a:cxnSpLocks/>
          </p:cNvCxnSpPr>
          <p:nvPr/>
        </p:nvCxnSpPr>
        <p:spPr>
          <a:xfrm>
            <a:off x="2872596" y="1047600"/>
            <a:ext cx="802257" cy="6086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1BF73C7B-00A5-0A7B-F9E4-3746C6B79854}"/>
              </a:ext>
            </a:extLst>
          </p:cNvPr>
          <p:cNvPicPr>
            <a:picLocks noChangeAspect="1"/>
          </p:cNvPicPr>
          <p:nvPr/>
        </p:nvPicPr>
        <p:blipFill>
          <a:blip r:embed="rId5"/>
          <a:stretch>
            <a:fillRect/>
          </a:stretch>
        </p:blipFill>
        <p:spPr>
          <a:xfrm>
            <a:off x="2332165" y="4073713"/>
            <a:ext cx="2685376" cy="1997790"/>
          </a:xfrm>
          <a:prstGeom prst="rect">
            <a:avLst/>
          </a:prstGeom>
        </p:spPr>
      </p:pic>
      <p:cxnSp>
        <p:nvCxnSpPr>
          <p:cNvPr id="16" name="Straight Arrow Connector 15">
            <a:extLst>
              <a:ext uri="{FF2B5EF4-FFF2-40B4-BE49-F238E27FC236}">
                <a16:creationId xmlns:a16="http://schemas.microsoft.com/office/drawing/2014/main" id="{7EFC93E0-25A6-B0B4-FB10-D2643CD67A77}"/>
              </a:ext>
            </a:extLst>
          </p:cNvPr>
          <p:cNvCxnSpPr>
            <a:cxnSpLocks/>
          </p:cNvCxnSpPr>
          <p:nvPr/>
        </p:nvCxnSpPr>
        <p:spPr>
          <a:xfrm flipH="1">
            <a:off x="3350239" y="2919046"/>
            <a:ext cx="2637323" cy="279019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23C6121A-FF67-1F42-432D-FEA6E5431A44}"/>
              </a:ext>
            </a:extLst>
          </p:cNvPr>
          <p:cNvCxnSpPr>
            <a:cxnSpLocks/>
          </p:cNvCxnSpPr>
          <p:nvPr/>
        </p:nvCxnSpPr>
        <p:spPr>
          <a:xfrm flipH="1">
            <a:off x="3565392" y="1917375"/>
            <a:ext cx="673673" cy="9334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Footer Placeholder 6">
            <a:extLst>
              <a:ext uri="{FF2B5EF4-FFF2-40B4-BE49-F238E27FC236}">
                <a16:creationId xmlns:a16="http://schemas.microsoft.com/office/drawing/2014/main" id="{597C3320-0183-0501-8E4E-B0AFA063C5A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Footer Placeholder 6">
            <a:extLst>
              <a:ext uri="{FF2B5EF4-FFF2-40B4-BE49-F238E27FC236}">
                <a16:creationId xmlns:a16="http://schemas.microsoft.com/office/drawing/2014/main" id="{C068577C-A0DF-795F-9771-BAE02C59CBB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658323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EFB4012B-4844-0459-FDD6-4151322CFE5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2301" y="891218"/>
            <a:ext cx="9991220" cy="3352426"/>
          </a:xfrm>
          <a:prstGeom prst="rect">
            <a:avLst/>
          </a:prstGeom>
        </p:spPr>
      </p:pic>
      <p:sp>
        <p:nvSpPr>
          <p:cNvPr id="11" name="Rectangle: Rounded Corners 10">
            <a:extLst>
              <a:ext uri="{FF2B5EF4-FFF2-40B4-BE49-F238E27FC236}">
                <a16:creationId xmlns:a16="http://schemas.microsoft.com/office/drawing/2014/main" id="{08ECC5E9-F272-B52F-7825-2A6A702B319F}"/>
              </a:ext>
            </a:extLst>
          </p:cNvPr>
          <p:cNvSpPr/>
          <p:nvPr/>
        </p:nvSpPr>
        <p:spPr>
          <a:xfrm>
            <a:off x="722301" y="1110498"/>
            <a:ext cx="387592" cy="45000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Rectangle: Rounded Corners 11">
            <a:extLst>
              <a:ext uri="{FF2B5EF4-FFF2-40B4-BE49-F238E27FC236}">
                <a16:creationId xmlns:a16="http://schemas.microsoft.com/office/drawing/2014/main" id="{B9BEE2AB-1F32-F312-1D1B-BA023E774B1C}"/>
              </a:ext>
            </a:extLst>
          </p:cNvPr>
          <p:cNvSpPr/>
          <p:nvPr/>
        </p:nvSpPr>
        <p:spPr>
          <a:xfrm>
            <a:off x="1267111" y="1606604"/>
            <a:ext cx="907471" cy="2151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3" name="Rectangle: Rounded Corners 12">
            <a:extLst>
              <a:ext uri="{FF2B5EF4-FFF2-40B4-BE49-F238E27FC236}">
                <a16:creationId xmlns:a16="http://schemas.microsoft.com/office/drawing/2014/main" id="{DD7970DD-F435-60ED-9479-AD4450812ED1}"/>
              </a:ext>
            </a:extLst>
          </p:cNvPr>
          <p:cNvSpPr/>
          <p:nvPr/>
        </p:nvSpPr>
        <p:spPr>
          <a:xfrm>
            <a:off x="1336267" y="2153436"/>
            <a:ext cx="1605486" cy="2151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280589"/>
            <a:ext cx="11109600" cy="1125741"/>
          </a:xfrm>
        </p:spPr>
        <p:txBody>
          <a:bodyPr>
            <a:normAutofit/>
          </a:bodyPr>
          <a:lstStyle/>
          <a:p>
            <a:pPr>
              <a:lnSpc>
                <a:spcPct val="110000"/>
              </a:lnSpc>
            </a:pPr>
            <a:r>
              <a:rPr lang="nb-NO" sz="1600"/>
              <a:t>Using Explorer in </a:t>
            </a:r>
            <a:r>
              <a:rPr lang="nb-NO" sz="1600" err="1"/>
              <a:t>VS</a:t>
            </a:r>
            <a:r>
              <a:rPr lang="nb-NO" sz="1600"/>
              <a:t> Code, </a:t>
            </a:r>
            <a:r>
              <a:rPr lang="nb-NO" sz="1600" err="1"/>
              <a:t>open</a:t>
            </a:r>
            <a:r>
              <a:rPr lang="nb-NO" sz="1600"/>
              <a:t> </a:t>
            </a:r>
            <a:r>
              <a:rPr lang="nb-NO" sz="1600" err="1"/>
              <a:t>the</a:t>
            </a:r>
            <a:r>
              <a:rPr lang="nb-NO" sz="1600"/>
              <a:t> </a:t>
            </a:r>
            <a:r>
              <a:rPr lang="nb-NO" sz="1600" err="1"/>
              <a:t>example</a:t>
            </a:r>
            <a:r>
              <a:rPr lang="nb-NO" sz="1600"/>
              <a:t> file </a:t>
            </a:r>
            <a:r>
              <a:rPr lang="nb-NO" sz="1600" err="1">
                <a:latin typeface="Consolas" panose="020B0609020204030204" pitchFamily="49" charset="0"/>
              </a:rPr>
              <a:t>python-hello-world.py</a:t>
            </a:r>
            <a:endParaRPr lang="nb-NO" sz="1600">
              <a:latin typeface="Consolas" panose="020B0609020204030204" pitchFamily="49" charset="0"/>
            </a:endParaRPr>
          </a:p>
        </p:txBody>
      </p:sp>
      <p:cxnSp>
        <p:nvCxnSpPr>
          <p:cNvPr id="5" name="Straight Arrow Connector 4">
            <a:extLst>
              <a:ext uri="{FF2B5EF4-FFF2-40B4-BE49-F238E27FC236}">
                <a16:creationId xmlns:a16="http://schemas.microsoft.com/office/drawing/2014/main" id="{99EDF0DF-3AE9-13BB-D977-80F04527045E}"/>
              </a:ext>
            </a:extLst>
          </p:cNvPr>
          <p:cNvCxnSpPr>
            <a:cxnSpLocks/>
            <a:stCxn id="11" idx="3"/>
          </p:cNvCxnSpPr>
          <p:nvPr/>
        </p:nvCxnSpPr>
        <p:spPr>
          <a:xfrm>
            <a:off x="1109893" y="1335498"/>
            <a:ext cx="364924" cy="2605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F994F638-5F12-9B02-1073-08A90570FCE7}"/>
              </a:ext>
            </a:extLst>
          </p:cNvPr>
          <p:cNvCxnSpPr>
            <a:cxnSpLocks/>
          </p:cNvCxnSpPr>
          <p:nvPr/>
        </p:nvCxnSpPr>
        <p:spPr>
          <a:xfrm>
            <a:off x="1474817" y="1813195"/>
            <a:ext cx="134212" cy="3465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4D2A1A9-C9DA-8E00-2250-56FF710F9E20}"/>
              </a:ext>
            </a:extLst>
          </p:cNvPr>
          <p:cNvCxnSpPr>
            <a:cxnSpLocks/>
          </p:cNvCxnSpPr>
          <p:nvPr/>
        </p:nvCxnSpPr>
        <p:spPr>
          <a:xfrm flipV="1">
            <a:off x="2941753" y="1714180"/>
            <a:ext cx="1270793" cy="5931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DCC3A971-0CA0-D21F-8842-39738C4B733C}"/>
              </a:ext>
            </a:extLst>
          </p:cNvPr>
          <p:cNvSpPr txBox="1"/>
          <p:nvPr/>
        </p:nvSpPr>
        <p:spPr>
          <a:xfrm>
            <a:off x="4622870" y="4449521"/>
            <a:ext cx="2816200" cy="463455"/>
          </a:xfrm>
          <a:prstGeom prst="rect">
            <a:avLst/>
          </a:prstGeom>
          <a:noFill/>
        </p:spPr>
        <p:txBody>
          <a:bodyPr wrap="none" lIns="90000" tIns="46800" rIns="90000" bIns="46800" rtlCol="0">
            <a:noAutofit/>
          </a:bodyPr>
          <a:lstStyle/>
          <a:p>
            <a:pPr algn="l"/>
            <a:r>
              <a:rPr lang="nb-NO" sz="1200" err="1"/>
              <a:t>Detected</a:t>
            </a:r>
            <a:r>
              <a:rPr lang="nb-NO" sz="1200"/>
              <a:t> </a:t>
            </a:r>
            <a:r>
              <a:rPr lang="nb-NO" sz="1200" err="1"/>
              <a:t>language</a:t>
            </a:r>
            <a:r>
              <a:rPr lang="nb-NO" sz="1200"/>
              <a:t> for </a:t>
            </a:r>
            <a:r>
              <a:rPr lang="nb-NO" sz="1200" err="1"/>
              <a:t>active</a:t>
            </a:r>
            <a:r>
              <a:rPr lang="nb-NO" sz="1200"/>
              <a:t> file</a:t>
            </a:r>
          </a:p>
          <a:p>
            <a:pPr algn="l"/>
            <a:r>
              <a:rPr lang="nb-NO" sz="1200"/>
              <a:t>(</a:t>
            </a:r>
            <a:r>
              <a:rPr lang="nb-NO" sz="1200" err="1"/>
              <a:t>can</a:t>
            </a:r>
            <a:r>
              <a:rPr lang="nb-NO" sz="1200"/>
              <a:t> be </a:t>
            </a:r>
            <a:r>
              <a:rPr lang="nb-NO" sz="1200" err="1"/>
              <a:t>manually</a:t>
            </a:r>
            <a:r>
              <a:rPr lang="nb-NO" sz="1200"/>
              <a:t> </a:t>
            </a:r>
            <a:r>
              <a:rPr lang="nb-NO" sz="1200" err="1"/>
              <a:t>overridden</a:t>
            </a:r>
            <a:r>
              <a:rPr lang="nb-NO" sz="1200"/>
              <a:t>)</a:t>
            </a:r>
          </a:p>
        </p:txBody>
      </p:sp>
      <p:sp>
        <p:nvSpPr>
          <p:cNvPr id="29" name="TextBox 28">
            <a:extLst>
              <a:ext uri="{FF2B5EF4-FFF2-40B4-BE49-F238E27FC236}">
                <a16:creationId xmlns:a16="http://schemas.microsoft.com/office/drawing/2014/main" id="{A0F16859-2FAB-01FD-D11A-B8A1717AB9E6}"/>
              </a:ext>
            </a:extLst>
          </p:cNvPr>
          <p:cNvSpPr txBox="1"/>
          <p:nvPr/>
        </p:nvSpPr>
        <p:spPr>
          <a:xfrm>
            <a:off x="4897635" y="5106722"/>
            <a:ext cx="2816200" cy="831677"/>
          </a:xfrm>
          <a:prstGeom prst="rect">
            <a:avLst/>
          </a:prstGeom>
          <a:noFill/>
        </p:spPr>
        <p:txBody>
          <a:bodyPr wrap="none" lIns="90000" tIns="46800" rIns="90000" bIns="46800" rtlCol="0">
            <a:noAutofit/>
          </a:bodyPr>
          <a:lstStyle/>
          <a:p>
            <a:pPr algn="l"/>
            <a:r>
              <a:rPr lang="nb-NO" sz="1200"/>
              <a:t>Active Python </a:t>
            </a:r>
            <a:r>
              <a:rPr lang="nb-NO" sz="1200" err="1"/>
              <a:t>environment</a:t>
            </a:r>
            <a:endParaRPr lang="nb-NO" sz="1200"/>
          </a:p>
          <a:p>
            <a:pPr algn="l"/>
            <a:r>
              <a:rPr lang="nb-NO" sz="1200"/>
              <a:t>for </a:t>
            </a:r>
            <a:r>
              <a:rPr lang="nb-NO" sz="1200" err="1"/>
              <a:t>active</a:t>
            </a:r>
            <a:r>
              <a:rPr lang="nb-NO" sz="1200"/>
              <a:t> file. Press </a:t>
            </a:r>
            <a:r>
              <a:rPr lang="nb-NO" sz="1200" err="1"/>
              <a:t>here</a:t>
            </a:r>
            <a:r>
              <a:rPr lang="nb-NO" sz="1200"/>
              <a:t>, and</a:t>
            </a:r>
          </a:p>
          <a:p>
            <a:pPr algn="l"/>
            <a:r>
              <a:rPr lang="nb-NO" sz="1200"/>
              <a:t>for </a:t>
            </a:r>
            <a:r>
              <a:rPr lang="nb-NO" sz="1200" err="1"/>
              <a:t>now</a:t>
            </a:r>
            <a:r>
              <a:rPr lang="nb-NO" sz="1200"/>
              <a:t> </a:t>
            </a:r>
            <a:r>
              <a:rPr lang="nb-NO" sz="1200" err="1"/>
              <a:t>select</a:t>
            </a:r>
            <a:r>
              <a:rPr lang="nb-NO" sz="1200"/>
              <a:t> </a:t>
            </a:r>
            <a:r>
              <a:rPr lang="nb-NO" sz="1200" err="1"/>
              <a:t>one</a:t>
            </a:r>
            <a:r>
              <a:rPr lang="nb-NO" sz="1200"/>
              <a:t> </a:t>
            </a:r>
            <a:r>
              <a:rPr lang="nb-NO" sz="1200" err="1"/>
              <a:t>of</a:t>
            </a:r>
            <a:r>
              <a:rPr lang="nb-NO" sz="1200"/>
              <a:t> </a:t>
            </a:r>
            <a:r>
              <a:rPr lang="nb-NO" sz="1200" err="1"/>
              <a:t>the</a:t>
            </a:r>
            <a:r>
              <a:rPr lang="nb-NO" sz="1200"/>
              <a:t> </a:t>
            </a:r>
            <a:r>
              <a:rPr lang="nb-NO" sz="1200" err="1"/>
              <a:t>options</a:t>
            </a:r>
            <a:r>
              <a:rPr lang="nb-NO" sz="1200"/>
              <a:t>, </a:t>
            </a:r>
          </a:p>
          <a:p>
            <a:pPr algn="l"/>
            <a:r>
              <a:rPr lang="nb-NO" sz="1200"/>
              <a:t>like /bin/</a:t>
            </a:r>
            <a:r>
              <a:rPr lang="nb-NO" sz="1200" err="1"/>
              <a:t>python3</a:t>
            </a:r>
            <a:endParaRPr lang="nb-NO" sz="1200"/>
          </a:p>
        </p:txBody>
      </p:sp>
      <p:cxnSp>
        <p:nvCxnSpPr>
          <p:cNvPr id="30" name="Straight Arrow Connector 29">
            <a:extLst>
              <a:ext uri="{FF2B5EF4-FFF2-40B4-BE49-F238E27FC236}">
                <a16:creationId xmlns:a16="http://schemas.microsoft.com/office/drawing/2014/main" id="{7E767183-2953-BF4E-ADA2-72D40E2B119F}"/>
              </a:ext>
            </a:extLst>
          </p:cNvPr>
          <p:cNvCxnSpPr>
            <a:cxnSpLocks/>
          </p:cNvCxnSpPr>
          <p:nvPr/>
        </p:nvCxnSpPr>
        <p:spPr>
          <a:xfrm flipV="1">
            <a:off x="7244862" y="4243644"/>
            <a:ext cx="1337886" cy="328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7000CBB5-772F-F9F7-C5C3-3EE79A64244A}"/>
              </a:ext>
            </a:extLst>
          </p:cNvPr>
          <p:cNvCxnSpPr>
            <a:cxnSpLocks/>
          </p:cNvCxnSpPr>
          <p:nvPr/>
        </p:nvCxnSpPr>
        <p:spPr>
          <a:xfrm flipH="1">
            <a:off x="7118939" y="4307139"/>
            <a:ext cx="2422352" cy="9946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FA4A8BF7-86E7-CADA-56C9-6C61A18A9E5A}"/>
              </a:ext>
            </a:extLst>
          </p:cNvPr>
          <p:cNvPicPr>
            <a:picLocks noChangeAspect="1"/>
          </p:cNvPicPr>
          <p:nvPr/>
        </p:nvPicPr>
        <p:blipFill rotWithShape="1">
          <a:blip r:embed="rId4"/>
          <a:srcRect r="48618"/>
          <a:stretch/>
        </p:blipFill>
        <p:spPr>
          <a:xfrm>
            <a:off x="9058924" y="5051006"/>
            <a:ext cx="2863445" cy="943107"/>
          </a:xfrm>
          <a:prstGeom prst="rect">
            <a:avLst/>
          </a:prstGeom>
        </p:spPr>
      </p:pic>
      <p:cxnSp>
        <p:nvCxnSpPr>
          <p:cNvPr id="18" name="Straight Arrow Connector 17">
            <a:extLst>
              <a:ext uri="{FF2B5EF4-FFF2-40B4-BE49-F238E27FC236}">
                <a16:creationId xmlns:a16="http://schemas.microsoft.com/office/drawing/2014/main" id="{1DB16162-56AD-0644-3168-E10F055A3896}"/>
              </a:ext>
            </a:extLst>
          </p:cNvPr>
          <p:cNvCxnSpPr>
            <a:cxnSpLocks/>
          </p:cNvCxnSpPr>
          <p:nvPr/>
        </p:nvCxnSpPr>
        <p:spPr>
          <a:xfrm flipV="1">
            <a:off x="6320956" y="5618285"/>
            <a:ext cx="2708744" cy="1833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Footer Placeholder 6">
            <a:extLst>
              <a:ext uri="{FF2B5EF4-FFF2-40B4-BE49-F238E27FC236}">
                <a16:creationId xmlns:a16="http://schemas.microsoft.com/office/drawing/2014/main" id="{8FBAA27B-4E6D-5353-9582-2B1D98BE05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D2C947CF-B6EB-7B40-A245-11A2432E05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76364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extLst>
              <p:ext uri="{D42A27DB-BD31-4B8C-83A1-F6EECF244321}">
                <p14:modId xmlns:p14="http://schemas.microsoft.com/office/powerpoint/2010/main" val="9280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15350"/>
            <a:ext cx="10738494" cy="2827790"/>
          </a:xfrm>
          <a:prstGeom prst="rect">
            <a:avLst/>
          </a:prstGeom>
          <a:noFill/>
        </p:spPr>
        <p:txBody>
          <a:bodyPr wrap="none" lIns="90000" tIns="46800" rIns="90000" bIns="46800" rtlCol="0">
            <a:noAutofit/>
          </a:bodyPr>
          <a:lstStyle/>
          <a:p>
            <a:pPr algn="l"/>
            <a:r>
              <a:rPr lang="en-US" sz="1400">
                <a:hlinkClick r:id="rId7"/>
              </a:rPr>
              <a:t>https://</a:t>
            </a:r>
            <a:r>
              <a:rPr lang="en-US" sz="1400" err="1">
                <a:hlinkClick r:id="rId7"/>
              </a:rPr>
              <a:t>github.com</a:t>
            </a:r>
            <a:r>
              <a:rPr lang="en-US" sz="1400">
                <a:hlinkClick r:id="rId7"/>
              </a:rPr>
              <a:t>/</a:t>
            </a:r>
            <a:r>
              <a:rPr lang="en-US" sz="1400" err="1">
                <a:hlinkClick r:id="rId7"/>
              </a:rPr>
              <a:t>CiscoDevNet</a:t>
            </a:r>
            <a:r>
              <a:rPr lang="en-US" sz="1400">
                <a:hlinkClick r:id="rId7"/>
              </a:rPr>
              <a:t>/</a:t>
            </a:r>
            <a:r>
              <a:rPr lang="en-US" sz="1400" err="1">
                <a:hlinkClick r:id="rId7"/>
              </a:rPr>
              <a:t>yangsuite</a:t>
            </a:r>
            <a:r>
              <a:rPr lang="en-US" sz="1400">
                <a:hlinkClick r:id="rId7"/>
              </a:rPr>
              <a:t>/</a:t>
            </a:r>
            <a:endParaRPr lang="en-US" sz="1400"/>
          </a:p>
          <a:p>
            <a:pPr algn="l"/>
            <a:r>
              <a:rPr lang="en-US" sz="1400">
                <a:hlinkClick r:id="rId8"/>
              </a:rPr>
              <a:t>https://</a:t>
            </a:r>
            <a:r>
              <a:rPr lang="en-US" sz="1400" err="1">
                <a:hlinkClick r:id="rId8"/>
              </a:rPr>
              <a:t>postman.com</a:t>
            </a:r>
            <a:endParaRPr lang="en-US" sz="1400"/>
          </a:p>
          <a:p>
            <a:pPr algn="l"/>
            <a:r>
              <a:rPr lang="en-US" sz="1400">
                <a:hlinkClick r:id="rId9"/>
              </a:rPr>
              <a:t>https://</a:t>
            </a:r>
            <a:r>
              <a:rPr lang="en-US" sz="1400" err="1">
                <a:hlinkClick r:id="rId9"/>
              </a:rPr>
              <a:t>docs.ansible.com</a:t>
            </a:r>
            <a:r>
              <a:rPr lang="en-US" sz="1400">
                <a:hlinkClick r:id="rId9"/>
              </a:rPr>
              <a:t>/ansible/latest/collections/cisco/</a:t>
            </a:r>
            <a:r>
              <a:rPr lang="en-US" sz="1400" err="1">
                <a:hlinkClick r:id="rId9"/>
              </a:rPr>
              <a:t>ios</a:t>
            </a:r>
            <a:r>
              <a:rPr lang="en-US" sz="1400">
                <a:hlinkClick r:id="rId9"/>
              </a:rPr>
              <a:t>/</a:t>
            </a:r>
            <a:r>
              <a:rPr lang="en-US" sz="1400" err="1">
                <a:hlinkClick r:id="rId9"/>
              </a:rPr>
              <a:t>ios_facts_module.html</a:t>
            </a:r>
            <a:endParaRPr lang="en-US" sz="1400"/>
          </a:p>
          <a:p>
            <a:pPr algn="l"/>
            <a:r>
              <a:rPr lang="en-US" sz="1400">
                <a:hlinkClick r:id="rId10"/>
              </a:rPr>
              <a:t>https://</a:t>
            </a:r>
            <a:r>
              <a:rPr lang="en-US" sz="1400" err="1">
                <a:hlinkClick r:id="rId10"/>
              </a:rPr>
              <a:t>www.wifireference.com</a:t>
            </a:r>
            <a:r>
              <a:rPr lang="en-US" sz="1400">
                <a:hlinkClick r:id="rId10"/>
              </a:rPr>
              <a:t>/2020/01/14/viewing-network-telemetry-from-the-catalyst-9800-with-</a:t>
            </a:r>
            <a:r>
              <a:rPr lang="en-US" sz="1400" err="1">
                <a:hlinkClick r:id="rId10"/>
              </a:rPr>
              <a:t>grafana</a:t>
            </a:r>
            <a:r>
              <a:rPr lang="en-US" sz="1400">
                <a:hlinkClick r:id="rId10"/>
              </a:rPr>
              <a:t>/</a:t>
            </a:r>
            <a:endParaRPr lang="en-US" sz="1400"/>
          </a:p>
          <a:p>
            <a:pPr algn="l"/>
            <a:r>
              <a:rPr lang="en-US" sz="1400">
                <a:hlinkClick r:id="rId11"/>
              </a:rPr>
              <a:t>https://</a:t>
            </a:r>
            <a:r>
              <a:rPr lang="en-US" sz="1400" err="1">
                <a:hlinkClick r:id="rId11"/>
              </a:rPr>
              <a:t>grafana.com</a:t>
            </a:r>
            <a:r>
              <a:rPr lang="en-US" sz="1400">
                <a:hlinkClick r:id="rId11"/>
              </a:rPr>
              <a:t>/</a:t>
            </a:r>
            <a:r>
              <a:rPr lang="en-US" sz="1400" err="1">
                <a:hlinkClick r:id="rId11"/>
              </a:rPr>
              <a:t>grafana</a:t>
            </a:r>
            <a:r>
              <a:rPr lang="en-US" sz="1400">
                <a:hlinkClick r:id="rId11"/>
              </a:rPr>
              <a:t>/dashboards/13462-device-health-monitoring/</a:t>
            </a:r>
            <a:endParaRPr lang="en-US" sz="1400"/>
          </a:p>
          <a:p>
            <a:pPr algn="l"/>
            <a:r>
              <a:rPr lang="nb-NO" sz="1400" err="1">
                <a:hlinkClick r:id="rId12"/>
              </a:rPr>
              <a:t>https</a:t>
            </a:r>
            <a:r>
              <a:rPr lang="nb-NO" sz="1400">
                <a:hlinkClick r:id="rId12"/>
              </a:rPr>
              <a:t>://</a:t>
            </a:r>
            <a:r>
              <a:rPr lang="nb-NO" sz="1400" err="1">
                <a:hlinkClick r:id="rId12"/>
              </a:rPr>
              <a:t>grafana.com</a:t>
            </a:r>
            <a:r>
              <a:rPr lang="nb-NO" sz="1400">
                <a:hlinkClick r:id="rId12"/>
              </a:rPr>
              <a:t>/</a:t>
            </a:r>
            <a:r>
              <a:rPr lang="nb-NO" sz="1400" err="1">
                <a:hlinkClick r:id="rId12"/>
              </a:rPr>
              <a:t>grafana</a:t>
            </a:r>
            <a:r>
              <a:rPr lang="nb-NO" sz="1400">
                <a:hlinkClick r:id="rId12"/>
              </a:rPr>
              <a:t>/</a:t>
            </a:r>
            <a:r>
              <a:rPr lang="nb-NO" sz="1400" err="1">
                <a:hlinkClick r:id="rId12"/>
              </a:rPr>
              <a:t>dashboards</a:t>
            </a:r>
            <a:r>
              <a:rPr lang="nb-NO" sz="1400">
                <a:hlinkClick r:id="rId12"/>
              </a:rPr>
              <a:t>/12468-</a:t>
            </a:r>
            <a:r>
              <a:rPr lang="nb-NO" sz="1400" err="1">
                <a:hlinkClick r:id="rId12"/>
              </a:rPr>
              <a:t>catalyst</a:t>
            </a:r>
            <a:r>
              <a:rPr lang="nb-NO" sz="1400">
                <a:hlinkClick r:id="rId12"/>
              </a:rPr>
              <a:t>-9800-</a:t>
            </a:r>
            <a:r>
              <a:rPr lang="nb-NO" sz="1400" err="1">
                <a:hlinkClick r:id="rId12"/>
              </a:rPr>
              <a:t>client</a:t>
            </a:r>
            <a:r>
              <a:rPr lang="nb-NO" sz="1400">
                <a:hlinkClick r:id="rId12"/>
              </a:rPr>
              <a:t>-stats/</a:t>
            </a:r>
            <a:endParaRPr lang="nb-NO" sz="1400"/>
          </a:p>
          <a:p>
            <a:pPr algn="l"/>
            <a:r>
              <a:rPr lang="en-US" sz="1400">
                <a:hlinkClick r:id="rId13"/>
              </a:rPr>
              <a:t>https://</a:t>
            </a:r>
            <a:r>
              <a:rPr lang="en-US" sz="1400" err="1">
                <a:hlinkClick r:id="rId13"/>
              </a:rPr>
              <a:t>wirelessisfun.wordpress.com</a:t>
            </a:r>
            <a:r>
              <a:rPr lang="en-US" sz="1400">
                <a:hlinkClick r:id="rId13"/>
              </a:rPr>
              <a:t>/2020/12/10/network-telemetry-data-and-grafana-part-1-the-advanced-netconf-explorer/</a:t>
            </a:r>
            <a:endParaRPr lang="nb-NO" sz="1400"/>
          </a:p>
          <a:p>
            <a:pPr algn="l"/>
            <a:r>
              <a:rPr lang="en-US" sz="1400">
                <a:hlinkClick r:id="rId14"/>
              </a:rPr>
              <a:t>https://</a:t>
            </a:r>
            <a:r>
              <a:rPr lang="en-US" sz="1400" err="1">
                <a:hlinkClick r:id="rId14"/>
              </a:rPr>
              <a:t>python.org</a:t>
            </a:r>
            <a:endParaRPr lang="en-US" sz="1400"/>
          </a:p>
          <a:p>
            <a:pPr algn="l"/>
            <a:r>
              <a:rPr lang="en-US" sz="1400">
                <a:hlinkClick r:id="rId15"/>
              </a:rPr>
              <a:t>https://</a:t>
            </a:r>
            <a:r>
              <a:rPr lang="en-US" sz="1400" err="1">
                <a:hlinkClick r:id="rId15"/>
              </a:rPr>
              <a:t>codeium.com</a:t>
            </a:r>
            <a:endParaRPr lang="en-US" sz="1400"/>
          </a:p>
          <a:p>
            <a:pPr algn="l"/>
            <a:endParaRPr lang="en-US" sz="1400">
              <a:highlight>
                <a:srgbClr val="FFFF00"/>
              </a:highlight>
            </a:endParaRPr>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280589"/>
            <a:ext cx="11109600" cy="1125741"/>
          </a:xfrm>
        </p:spPr>
        <p:txBody>
          <a:bodyPr>
            <a:normAutofit/>
          </a:bodyPr>
          <a:lstStyle/>
          <a:p>
            <a:pPr>
              <a:lnSpc>
                <a:spcPct val="110000"/>
              </a:lnSpc>
            </a:pPr>
            <a:r>
              <a:rPr lang="nb-NO" sz="1600"/>
              <a:t>If </a:t>
            </a:r>
            <a:r>
              <a:rPr lang="nb-NO" sz="1600" err="1"/>
              <a:t>you</a:t>
            </a:r>
            <a:r>
              <a:rPr lang="nb-NO" sz="1600"/>
              <a:t> </a:t>
            </a:r>
            <a:r>
              <a:rPr lang="nb-NO" sz="1600" err="1"/>
              <a:t>open</a:t>
            </a:r>
            <a:r>
              <a:rPr lang="nb-NO" sz="1600"/>
              <a:t> </a:t>
            </a:r>
            <a:r>
              <a:rPr lang="nb-NO" sz="1600" err="1"/>
              <a:t>the</a:t>
            </a:r>
            <a:r>
              <a:rPr lang="nb-NO" sz="1600"/>
              <a:t> </a:t>
            </a:r>
            <a:r>
              <a:rPr lang="nb-NO" sz="1600" err="1"/>
              <a:t>Ansible</a:t>
            </a:r>
            <a:r>
              <a:rPr lang="nb-NO" sz="1600"/>
              <a:t> file </a:t>
            </a:r>
            <a:r>
              <a:rPr lang="nb-NO" sz="1600" err="1">
                <a:latin typeface="Consolas" panose="020B0609020204030204" pitchFamily="49" charset="0"/>
              </a:rPr>
              <a:t>ansible</a:t>
            </a:r>
            <a:r>
              <a:rPr lang="nb-NO" sz="1600">
                <a:latin typeface="Consolas" panose="020B0609020204030204" pitchFamily="49" charset="0"/>
              </a:rPr>
              <a:t>-first-</a:t>
            </a:r>
            <a:r>
              <a:rPr lang="nb-NO" sz="1600" err="1">
                <a:latin typeface="Consolas" panose="020B0609020204030204" pitchFamily="49" charset="0"/>
              </a:rPr>
              <a:t>playbook.yml</a:t>
            </a:r>
            <a:r>
              <a:rPr lang="nb-NO" sz="1600">
                <a:latin typeface="Consolas" panose="020B0609020204030204" pitchFamily="49" charset="0"/>
              </a:rPr>
              <a:t> </a:t>
            </a:r>
            <a:r>
              <a:rPr lang="nb-NO" sz="1600" err="1"/>
              <a:t>some</a:t>
            </a:r>
            <a:r>
              <a:rPr lang="nb-NO" sz="1600"/>
              <a:t> </a:t>
            </a:r>
            <a:r>
              <a:rPr lang="nb-NO" sz="1600" err="1"/>
              <a:t>errors</a:t>
            </a:r>
            <a:r>
              <a:rPr lang="nb-NO" sz="1600"/>
              <a:t> </a:t>
            </a:r>
            <a:r>
              <a:rPr lang="nb-NO" sz="1600" err="1"/>
              <a:t>will</a:t>
            </a:r>
            <a:r>
              <a:rPr lang="nb-NO" sz="1600"/>
              <a:t> show. </a:t>
            </a:r>
            <a:r>
              <a:rPr lang="nb-NO" sz="1600" err="1"/>
              <a:t>We</a:t>
            </a:r>
            <a:r>
              <a:rPr lang="nb-NO" sz="1600"/>
              <a:t> </a:t>
            </a:r>
            <a:r>
              <a:rPr lang="nb-NO" sz="1600" err="1"/>
              <a:t>will</a:t>
            </a:r>
            <a:r>
              <a:rPr lang="nb-NO" sz="1600"/>
              <a:t> </a:t>
            </a:r>
            <a:r>
              <a:rPr lang="nb-NO" sz="1600" err="1"/>
              <a:t>fix</a:t>
            </a:r>
            <a:r>
              <a:rPr lang="nb-NO" sz="1600"/>
              <a:t> </a:t>
            </a:r>
            <a:r>
              <a:rPr lang="nb-NO" sz="1600" err="1"/>
              <a:t>this</a:t>
            </a:r>
            <a:r>
              <a:rPr lang="nb-NO" sz="1600"/>
              <a:t> later in </a:t>
            </a:r>
            <a:r>
              <a:rPr lang="nb-NO" sz="1600" err="1"/>
              <a:t>the</a:t>
            </a:r>
            <a:r>
              <a:rPr lang="nb-NO" sz="1600"/>
              <a:t> lab, </a:t>
            </a:r>
            <a:r>
              <a:rPr lang="nb-NO" sz="1600" err="1"/>
              <a:t>after</a:t>
            </a:r>
            <a:r>
              <a:rPr lang="nb-NO" sz="1600"/>
              <a:t> </a:t>
            </a:r>
            <a:r>
              <a:rPr lang="nb-NO" sz="1600" err="1"/>
              <a:t>installing</a:t>
            </a:r>
            <a:r>
              <a:rPr lang="nb-NO" sz="1600"/>
              <a:t> </a:t>
            </a:r>
            <a:r>
              <a:rPr lang="nb-NO" sz="1600" err="1"/>
              <a:t>Ansible</a:t>
            </a:r>
            <a:endParaRPr lang="nb-NO" sz="1600">
              <a:latin typeface="Consolas" panose="020B0609020204030204" pitchFamily="49" charset="0"/>
            </a:endParaRPr>
          </a:p>
        </p:txBody>
      </p:sp>
      <p:pic>
        <p:nvPicPr>
          <p:cNvPr id="7" name="Picture 6">
            <a:extLst>
              <a:ext uri="{FF2B5EF4-FFF2-40B4-BE49-F238E27FC236}">
                <a16:creationId xmlns:a16="http://schemas.microsoft.com/office/drawing/2014/main" id="{50264CB1-7B07-3D62-C9C5-B4760B2398B4}"/>
              </a:ext>
            </a:extLst>
          </p:cNvPr>
          <p:cNvPicPr>
            <a:picLocks noChangeAspect="1"/>
          </p:cNvPicPr>
          <p:nvPr/>
        </p:nvPicPr>
        <p:blipFill>
          <a:blip r:embed="rId3"/>
          <a:stretch>
            <a:fillRect/>
          </a:stretch>
        </p:blipFill>
        <p:spPr>
          <a:xfrm>
            <a:off x="1093883" y="1171260"/>
            <a:ext cx="10002646" cy="4515480"/>
          </a:xfrm>
          <a:prstGeom prst="rect">
            <a:avLst/>
          </a:prstGeom>
        </p:spPr>
      </p:pic>
      <p:cxnSp>
        <p:nvCxnSpPr>
          <p:cNvPr id="8" name="Straight Arrow Connector 7">
            <a:extLst>
              <a:ext uri="{FF2B5EF4-FFF2-40B4-BE49-F238E27FC236}">
                <a16:creationId xmlns:a16="http://schemas.microsoft.com/office/drawing/2014/main" id="{77270D5C-063D-B1F6-4F3B-48C7E839B928}"/>
              </a:ext>
            </a:extLst>
          </p:cNvPr>
          <p:cNvCxnSpPr>
            <a:cxnSpLocks/>
          </p:cNvCxnSpPr>
          <p:nvPr/>
        </p:nvCxnSpPr>
        <p:spPr>
          <a:xfrm>
            <a:off x="7525512" y="843459"/>
            <a:ext cx="1132781" cy="40802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Footer Placeholder 6">
            <a:extLst>
              <a:ext uri="{FF2B5EF4-FFF2-40B4-BE49-F238E27FC236}">
                <a16:creationId xmlns:a16="http://schemas.microsoft.com/office/drawing/2014/main" id="{E4966BA8-6DBF-4EAA-4EE7-B7353A2504D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9455CF74-42D1-AD16-1F0F-70A933B9FDB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fr-FR" sz="1100" err="1"/>
              <a:t>Lab</a:t>
            </a:r>
            <a:r>
              <a:rPr lang="fr-FR" sz="1100"/>
              <a:t> </a:t>
            </a:r>
            <a:r>
              <a:rPr lang="fr-FR" sz="1100" err="1"/>
              <a:t>exercise</a:t>
            </a:r>
            <a:r>
              <a:rPr lang="fr-FR" sz="1100"/>
              <a:t> #3: Explore VS Code</a:t>
            </a:r>
            <a:endParaRPr lang="en-US" sz="1100"/>
          </a:p>
        </p:txBody>
      </p:sp>
    </p:spTree>
    <p:extLst>
      <p:ext uri="{BB962C8B-B14F-4D97-AF65-F5344CB8AC3E}">
        <p14:creationId xmlns:p14="http://schemas.microsoft.com/office/powerpoint/2010/main" val="2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a:t>
            </a:r>
            <a:r>
              <a:rPr lang="nb-NO" sz="1600" err="1"/>
              <a:t>exercise</a:t>
            </a:r>
            <a:r>
              <a:rPr lang="nb-NO" sz="1600"/>
              <a:t>, </a:t>
            </a:r>
            <a:r>
              <a:rPr lang="nb-NO" sz="1600" err="1"/>
              <a:t>we</a:t>
            </a:r>
            <a:r>
              <a:rPr lang="nb-NO" sz="1600"/>
              <a:t> </a:t>
            </a:r>
            <a:r>
              <a:rPr lang="nb-NO" sz="1600" err="1"/>
              <a:t>will</a:t>
            </a:r>
            <a:r>
              <a:rPr lang="nb-NO" sz="1600"/>
              <a:t> </a:t>
            </a:r>
          </a:p>
          <a:p>
            <a:pPr lvl="1">
              <a:lnSpc>
                <a:spcPct val="110000"/>
              </a:lnSpc>
            </a:pPr>
            <a:r>
              <a:rPr lang="nb-NO" sz="1400" err="1"/>
              <a:t>Create</a:t>
            </a:r>
            <a:r>
              <a:rPr lang="nb-NO" sz="1400"/>
              <a:t> a Python </a:t>
            </a:r>
            <a:r>
              <a:rPr lang="nb-NO" sz="1400" err="1"/>
              <a:t>virtual</a:t>
            </a:r>
            <a:r>
              <a:rPr lang="nb-NO" sz="1400"/>
              <a:t> </a:t>
            </a:r>
            <a:r>
              <a:rPr lang="nb-NO" sz="1400" err="1"/>
              <a:t>environment</a:t>
            </a:r>
            <a:r>
              <a:rPr lang="nb-NO" sz="1400"/>
              <a:t> to </a:t>
            </a:r>
            <a:r>
              <a:rPr lang="nb-NO" sz="1400" err="1"/>
              <a:t>use</a:t>
            </a:r>
            <a:r>
              <a:rPr lang="nb-NO" sz="1400"/>
              <a:t> for </a:t>
            </a:r>
            <a:r>
              <a:rPr lang="nb-NO" sz="1400" err="1"/>
              <a:t>Ansible</a:t>
            </a:r>
            <a:r>
              <a:rPr lang="nb-NO" sz="1400"/>
              <a:t> </a:t>
            </a:r>
            <a:r>
              <a:rPr lang="nb-NO" sz="1400" err="1"/>
              <a:t>stuff</a:t>
            </a:r>
            <a:endParaRPr lang="nb-NO" sz="1400"/>
          </a:p>
          <a:p>
            <a:pPr lvl="1">
              <a:lnSpc>
                <a:spcPct val="110000"/>
              </a:lnSpc>
            </a:pPr>
            <a:r>
              <a:rPr lang="nb-NO" sz="1400" err="1"/>
              <a:t>Install</a:t>
            </a:r>
            <a:r>
              <a:rPr lang="nb-NO" sz="1400"/>
              <a:t> </a:t>
            </a:r>
            <a:r>
              <a:rPr lang="nb-NO" sz="1400" err="1"/>
              <a:t>Ansible</a:t>
            </a:r>
            <a:r>
              <a:rPr lang="nb-NO" sz="1400"/>
              <a:t> </a:t>
            </a:r>
            <a:r>
              <a:rPr lang="nb-NO" sz="1400" err="1"/>
              <a:t>on</a:t>
            </a:r>
            <a:r>
              <a:rPr lang="nb-NO" sz="1400"/>
              <a:t> </a:t>
            </a:r>
            <a:r>
              <a:rPr lang="nb-NO" sz="1400" err="1"/>
              <a:t>the</a:t>
            </a:r>
            <a:r>
              <a:rPr lang="nb-NO" sz="1400"/>
              <a:t> </a:t>
            </a:r>
            <a:r>
              <a:rPr lang="nb-NO" sz="1400" err="1"/>
              <a:t>Ubuntu</a:t>
            </a:r>
            <a:r>
              <a:rPr lang="nb-NO" sz="1400"/>
              <a:t> Server</a:t>
            </a:r>
          </a:p>
          <a:p>
            <a:pPr lvl="1">
              <a:lnSpc>
                <a:spcPct val="110000"/>
              </a:lnSpc>
            </a:pPr>
            <a:r>
              <a:rPr lang="nb-NO" sz="1400" err="1"/>
              <a:t>Configure</a:t>
            </a:r>
            <a:r>
              <a:rPr lang="nb-NO" sz="1400"/>
              <a:t> </a:t>
            </a:r>
            <a:r>
              <a:rPr lang="nb-NO" sz="1400" err="1"/>
              <a:t>VS</a:t>
            </a:r>
            <a:r>
              <a:rPr lang="nb-NO" sz="1400"/>
              <a:t> Code to </a:t>
            </a:r>
            <a:r>
              <a:rPr lang="nb-NO" sz="1400" err="1"/>
              <a:t>use</a:t>
            </a:r>
            <a:r>
              <a:rPr lang="nb-NO" sz="1400"/>
              <a:t> </a:t>
            </a:r>
            <a:r>
              <a:rPr lang="nb-NO" sz="1400" err="1"/>
              <a:t>Ansible</a:t>
            </a:r>
            <a:r>
              <a:rPr lang="nb-NO" sz="1400"/>
              <a:t> </a:t>
            </a:r>
            <a:r>
              <a:rPr lang="nb-NO" sz="1400" err="1"/>
              <a:t>on</a:t>
            </a:r>
            <a:r>
              <a:rPr lang="nb-NO" sz="1400"/>
              <a:t> </a:t>
            </a:r>
            <a:r>
              <a:rPr lang="nb-NO" sz="1400" err="1"/>
              <a:t>the</a:t>
            </a:r>
            <a:r>
              <a:rPr lang="nb-NO" sz="1400"/>
              <a:t> </a:t>
            </a:r>
            <a:r>
              <a:rPr lang="nb-NO" sz="1400" err="1"/>
              <a:t>remote</a:t>
            </a:r>
            <a:r>
              <a:rPr lang="nb-NO" sz="1400"/>
              <a:t> server</a:t>
            </a:r>
          </a:p>
          <a:p>
            <a:pPr>
              <a:lnSpc>
                <a:spcPct val="110000"/>
              </a:lnSpc>
            </a:pPr>
            <a:r>
              <a:rPr lang="nb-NO" sz="1600"/>
              <a:t>The first </a:t>
            </a:r>
            <a:r>
              <a:rPr lang="nb-NO" sz="1600" err="1"/>
              <a:t>couple</a:t>
            </a:r>
            <a:r>
              <a:rPr lang="nb-NO" sz="1600"/>
              <a:t> </a:t>
            </a:r>
            <a:r>
              <a:rPr lang="nb-NO" sz="1600" err="1"/>
              <a:t>of</a:t>
            </a:r>
            <a:r>
              <a:rPr lang="nb-NO" sz="1600"/>
              <a:t> slides </a:t>
            </a:r>
            <a:r>
              <a:rPr lang="nb-NO" sz="1600" err="1"/>
              <a:t>will</a:t>
            </a:r>
            <a:r>
              <a:rPr lang="nb-NO" sz="1600"/>
              <a:t> </a:t>
            </a:r>
            <a:r>
              <a:rPr lang="nb-NO" sz="1600" err="1"/>
              <a:t>explain</a:t>
            </a:r>
            <a:r>
              <a:rPr lang="nb-NO" sz="1600"/>
              <a:t> </a:t>
            </a:r>
            <a:r>
              <a:rPr lang="nb-NO" sz="1600" err="1"/>
              <a:t>briefly</a:t>
            </a:r>
            <a:r>
              <a:rPr lang="nb-NO" sz="1600"/>
              <a:t> </a:t>
            </a:r>
            <a:r>
              <a:rPr lang="nb-NO" sz="1600" err="1"/>
              <a:t>about</a:t>
            </a:r>
            <a:r>
              <a:rPr lang="nb-NO" sz="1600"/>
              <a:t> </a:t>
            </a:r>
            <a:r>
              <a:rPr lang="nb-NO" sz="1600" err="1"/>
              <a:t>Ansible</a:t>
            </a:r>
            <a:r>
              <a:rPr lang="nb-NO" sz="1600"/>
              <a:t> (for </a:t>
            </a:r>
            <a:r>
              <a:rPr lang="nb-NO" sz="1600" err="1"/>
              <a:t>your</a:t>
            </a:r>
            <a:r>
              <a:rPr lang="nb-NO" sz="1600"/>
              <a:t> </a:t>
            </a:r>
            <a:r>
              <a:rPr lang="nb-NO" sz="1600" err="1"/>
              <a:t>reference</a:t>
            </a:r>
            <a:r>
              <a:rPr lang="nb-NO" sz="1600"/>
              <a:t>)</a:t>
            </a:r>
          </a:p>
          <a:p>
            <a:pPr>
              <a:lnSpc>
                <a:spcPct val="110000"/>
              </a:lnSpc>
            </a:pPr>
            <a:r>
              <a:rPr lang="nb-NO" sz="1600" err="1"/>
              <a:t>Then</a:t>
            </a:r>
            <a:r>
              <a:rPr lang="nb-NO" sz="1600"/>
              <a:t> </a:t>
            </a:r>
            <a:r>
              <a:rPr lang="nb-NO" sz="1600" err="1"/>
              <a:t>the</a:t>
            </a:r>
            <a:r>
              <a:rPr lang="nb-NO" sz="1600"/>
              <a:t> </a:t>
            </a:r>
            <a:r>
              <a:rPr lang="nb-NO" sz="1600" err="1"/>
              <a:t>installation</a:t>
            </a:r>
            <a:r>
              <a:rPr lang="nb-NO" sz="1600"/>
              <a:t> </a:t>
            </a:r>
            <a:r>
              <a:rPr lang="nb-NO" sz="1600" err="1"/>
              <a:t>process</a:t>
            </a:r>
            <a:r>
              <a:rPr lang="nb-NO" sz="1600"/>
              <a:t> is </a:t>
            </a:r>
            <a:r>
              <a:rPr lang="nb-NO" sz="1600" err="1"/>
              <a:t>explained</a:t>
            </a:r>
            <a:r>
              <a:rPr lang="nb-NO" sz="1600"/>
              <a:t> </a:t>
            </a:r>
            <a:r>
              <a:rPr lang="nb-NO" sz="1600" err="1"/>
              <a:t>step</a:t>
            </a:r>
            <a:r>
              <a:rPr lang="nb-NO" sz="1600"/>
              <a:t> by </a:t>
            </a:r>
            <a:r>
              <a:rPr lang="nb-NO" sz="1600" err="1"/>
              <a:t>step</a:t>
            </a:r>
            <a:r>
              <a:rPr lang="nb-NO" sz="1600"/>
              <a:t>, </a:t>
            </a:r>
            <a:r>
              <a:rPr lang="nb-NO" sz="1600" err="1"/>
              <a:t>before</a:t>
            </a:r>
            <a:r>
              <a:rPr lang="nb-NO" sz="1600"/>
              <a:t> re-</a:t>
            </a:r>
            <a:r>
              <a:rPr lang="nb-NO" sz="1600" err="1"/>
              <a:t>opening</a:t>
            </a:r>
            <a:r>
              <a:rPr lang="nb-NO" sz="1600"/>
              <a:t> </a:t>
            </a:r>
            <a:r>
              <a:rPr lang="nb-NO" sz="1600" err="1"/>
              <a:t>the</a:t>
            </a:r>
            <a:r>
              <a:rPr lang="nb-NO" sz="1600"/>
              <a:t> first </a:t>
            </a:r>
            <a:r>
              <a:rPr lang="nb-NO" sz="1600" err="1"/>
              <a:t>playbook</a:t>
            </a:r>
            <a:r>
              <a:rPr lang="nb-NO" sz="1600"/>
              <a:t> </a:t>
            </a:r>
            <a:r>
              <a:rPr lang="nb-NO" sz="1600" err="1"/>
              <a:t>example</a:t>
            </a:r>
            <a:endParaRPr lang="nb-NO" sz="16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4: Install Ansible</a:t>
            </a:r>
          </a:p>
        </p:txBody>
      </p:sp>
      <p:sp>
        <p:nvSpPr>
          <p:cNvPr id="3" name="Footer Placeholder 6">
            <a:extLst>
              <a:ext uri="{FF2B5EF4-FFF2-40B4-BE49-F238E27FC236}">
                <a16:creationId xmlns:a16="http://schemas.microsoft.com/office/drawing/2014/main" id="{855CA363-C58B-97B7-0D7A-9CB2FE0B8EA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6336CBD7-B379-EC32-246C-7CAD902CB21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Tree>
    <p:extLst>
      <p:ext uri="{BB962C8B-B14F-4D97-AF65-F5344CB8AC3E}">
        <p14:creationId xmlns:p14="http://schemas.microsoft.com/office/powerpoint/2010/main" val="77239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a:t>Automation </a:t>
            </a:r>
            <a:r>
              <a:rPr lang="nb-NO" sz="1600" err="1"/>
              <a:t>using</a:t>
            </a:r>
            <a:r>
              <a:rPr lang="nb-NO" sz="1600"/>
              <a:t> "</a:t>
            </a:r>
            <a:r>
              <a:rPr lang="nb-NO" sz="1600" err="1"/>
              <a:t>playbooks</a:t>
            </a:r>
            <a:r>
              <a:rPr lang="nb-NO" sz="1600"/>
              <a:t>" </a:t>
            </a:r>
            <a:r>
              <a:rPr lang="nb-NO" sz="1600" err="1"/>
              <a:t>written</a:t>
            </a:r>
            <a:r>
              <a:rPr lang="nb-NO" sz="1600"/>
              <a:t> in </a:t>
            </a:r>
            <a:r>
              <a:rPr lang="nb-NO" sz="1600" err="1"/>
              <a:t>YAML</a:t>
            </a:r>
            <a:r>
              <a:rPr lang="nb-NO" sz="1600"/>
              <a:t> format</a:t>
            </a:r>
          </a:p>
          <a:p>
            <a:pPr>
              <a:lnSpc>
                <a:spcPct val="110000"/>
              </a:lnSpc>
            </a:pPr>
            <a:r>
              <a:rPr lang="nb-NO" sz="1600"/>
              <a:t>Agent-less </a:t>
            </a:r>
            <a:r>
              <a:rPr lang="nb-NO" sz="1600" err="1"/>
              <a:t>architecture</a:t>
            </a:r>
            <a:endParaRPr lang="nb-NO" sz="1600"/>
          </a:p>
          <a:p>
            <a:pPr lvl="1">
              <a:lnSpc>
                <a:spcPct val="110000"/>
              </a:lnSpc>
            </a:pPr>
            <a:r>
              <a:rPr lang="nb-NO" sz="1400"/>
              <a:t>No </a:t>
            </a:r>
            <a:r>
              <a:rPr lang="nb-NO" sz="1400" err="1"/>
              <a:t>installation</a:t>
            </a:r>
            <a:r>
              <a:rPr lang="nb-NO" sz="1400"/>
              <a:t> </a:t>
            </a:r>
            <a:r>
              <a:rPr lang="nb-NO" sz="1400" err="1"/>
              <a:t>on</a:t>
            </a:r>
            <a:r>
              <a:rPr lang="nb-NO" sz="1400"/>
              <a:t> </a:t>
            </a:r>
            <a:r>
              <a:rPr lang="nb-NO" sz="1400" err="1"/>
              <a:t>the</a:t>
            </a:r>
            <a:r>
              <a:rPr lang="nb-NO" sz="1400"/>
              <a:t> </a:t>
            </a:r>
            <a:r>
              <a:rPr lang="nb-NO" sz="1400" err="1"/>
              <a:t>managed</a:t>
            </a:r>
            <a:r>
              <a:rPr lang="nb-NO" sz="1400"/>
              <a:t> nodes</a:t>
            </a:r>
          </a:p>
          <a:p>
            <a:pPr>
              <a:lnSpc>
                <a:spcPct val="110000"/>
              </a:lnSpc>
            </a:pPr>
            <a:r>
              <a:rPr lang="nb-NO" sz="1600" err="1"/>
              <a:t>Idempotency</a:t>
            </a:r>
            <a:endParaRPr lang="nb-NO" sz="1600"/>
          </a:p>
          <a:p>
            <a:pPr lvl="1">
              <a:lnSpc>
                <a:spcPct val="110000"/>
              </a:lnSpc>
            </a:pPr>
            <a:r>
              <a:rPr lang="nb-NO" sz="1400" err="1"/>
              <a:t>Does</a:t>
            </a:r>
            <a:r>
              <a:rPr lang="nb-NO" sz="1400"/>
              <a:t> not </a:t>
            </a:r>
            <a:r>
              <a:rPr lang="nb-NO" sz="1400" err="1"/>
              <a:t>change</a:t>
            </a:r>
            <a:r>
              <a:rPr lang="nb-NO" sz="1400"/>
              <a:t>/</a:t>
            </a:r>
            <a:r>
              <a:rPr lang="nb-NO" sz="1400" err="1"/>
              <a:t>write</a:t>
            </a:r>
            <a:r>
              <a:rPr lang="nb-NO" sz="1400"/>
              <a:t> </a:t>
            </a:r>
            <a:r>
              <a:rPr lang="nb-NO" sz="1400" err="1"/>
              <a:t>if</a:t>
            </a:r>
            <a:r>
              <a:rPr lang="nb-NO" sz="1400"/>
              <a:t> target is </a:t>
            </a:r>
            <a:r>
              <a:rPr lang="nb-NO" sz="1400" err="1"/>
              <a:t>already</a:t>
            </a:r>
            <a:r>
              <a:rPr lang="nb-NO" sz="1400"/>
              <a:t> in </a:t>
            </a:r>
            <a:r>
              <a:rPr lang="nb-NO" sz="1400" err="1"/>
              <a:t>state</a:t>
            </a:r>
            <a:r>
              <a:rPr lang="nb-NO" sz="1400"/>
              <a:t> </a:t>
            </a:r>
            <a:r>
              <a:rPr lang="nb-NO" sz="1400" err="1"/>
              <a:t>described</a:t>
            </a:r>
            <a:r>
              <a:rPr lang="nb-NO" sz="1400"/>
              <a:t> by </a:t>
            </a:r>
            <a:r>
              <a:rPr lang="nb-NO" sz="1400" err="1"/>
              <a:t>playbook</a:t>
            </a:r>
            <a:endParaRPr lang="nb-NO" sz="1400"/>
          </a:p>
          <a:p>
            <a:pPr lvl="1">
              <a:lnSpc>
                <a:spcPct val="110000"/>
              </a:lnSpc>
            </a:pPr>
            <a:endParaRPr lang="nb-NO" sz="1400"/>
          </a:p>
          <a:p>
            <a:pPr>
              <a:lnSpc>
                <a:spcPct val="110000"/>
              </a:lnSpc>
            </a:pPr>
            <a:r>
              <a:rPr lang="nb-NO" sz="1600"/>
              <a:t>Control node</a:t>
            </a:r>
          </a:p>
          <a:p>
            <a:pPr lvl="1">
              <a:lnSpc>
                <a:spcPct val="110000"/>
              </a:lnSpc>
            </a:pPr>
            <a:r>
              <a:rPr lang="nb-NO" sz="1400"/>
              <a:t>System </a:t>
            </a:r>
            <a:r>
              <a:rPr lang="nb-NO" sz="1400" err="1"/>
              <a:t>where</a:t>
            </a:r>
            <a:r>
              <a:rPr lang="nb-NO" sz="1400"/>
              <a:t> </a:t>
            </a:r>
            <a:r>
              <a:rPr lang="nb-NO" sz="1400" err="1"/>
              <a:t>Ansible</a:t>
            </a:r>
            <a:r>
              <a:rPr lang="nb-NO" sz="1400"/>
              <a:t> is </a:t>
            </a:r>
            <a:r>
              <a:rPr lang="nb-NO" sz="1400" err="1"/>
              <a:t>installed</a:t>
            </a:r>
            <a:r>
              <a:rPr lang="nb-NO" sz="1400"/>
              <a:t> and runs </a:t>
            </a:r>
            <a:r>
              <a:rPr lang="nb-NO" sz="1400" err="1"/>
              <a:t>the</a:t>
            </a:r>
            <a:r>
              <a:rPr lang="nb-NO" sz="1400"/>
              <a:t> </a:t>
            </a:r>
            <a:r>
              <a:rPr lang="nb-NO" sz="1400" err="1"/>
              <a:t>playbooks</a:t>
            </a:r>
            <a:endParaRPr lang="nb-NO" sz="1400"/>
          </a:p>
          <a:p>
            <a:pPr>
              <a:lnSpc>
                <a:spcPct val="110000"/>
              </a:lnSpc>
            </a:pPr>
            <a:r>
              <a:rPr lang="nb-NO" sz="1600"/>
              <a:t>Inventory</a:t>
            </a:r>
          </a:p>
          <a:p>
            <a:pPr lvl="1">
              <a:lnSpc>
                <a:spcPct val="110000"/>
              </a:lnSpc>
            </a:pPr>
            <a:r>
              <a:rPr lang="nb-NO" sz="1400"/>
              <a:t>List </a:t>
            </a:r>
            <a:r>
              <a:rPr lang="nb-NO" sz="1400" err="1"/>
              <a:t>of</a:t>
            </a:r>
            <a:r>
              <a:rPr lang="nb-NO" sz="1400"/>
              <a:t> </a:t>
            </a:r>
            <a:r>
              <a:rPr lang="nb-NO" sz="1400" err="1"/>
              <a:t>managed</a:t>
            </a:r>
            <a:r>
              <a:rPr lang="nb-NO" sz="1400"/>
              <a:t> nodes </a:t>
            </a:r>
            <a:r>
              <a:rPr lang="nb-NO" sz="1400" err="1"/>
              <a:t>where</a:t>
            </a:r>
            <a:r>
              <a:rPr lang="nb-NO" sz="1400"/>
              <a:t> </a:t>
            </a:r>
            <a:r>
              <a:rPr lang="nb-NO" sz="1400" err="1"/>
              <a:t>the</a:t>
            </a:r>
            <a:r>
              <a:rPr lang="nb-NO" sz="1400"/>
              <a:t> </a:t>
            </a:r>
            <a:r>
              <a:rPr lang="nb-NO" sz="1400" err="1"/>
              <a:t>playbook</a:t>
            </a:r>
            <a:r>
              <a:rPr lang="nb-NO" sz="1400"/>
              <a:t> </a:t>
            </a:r>
            <a:r>
              <a:rPr lang="nb-NO" sz="1400" err="1"/>
              <a:t>will</a:t>
            </a:r>
            <a:r>
              <a:rPr lang="nb-NO" sz="1400"/>
              <a:t> </a:t>
            </a:r>
            <a:r>
              <a:rPr lang="nb-NO" sz="1400" err="1"/>
              <a:t>affect</a:t>
            </a:r>
            <a:endParaRPr lang="nb-NO" sz="1400"/>
          </a:p>
          <a:p>
            <a:pPr>
              <a:lnSpc>
                <a:spcPct val="110000"/>
              </a:lnSpc>
            </a:pPr>
            <a:r>
              <a:rPr lang="nb-NO" sz="1600" err="1"/>
              <a:t>Managed</a:t>
            </a:r>
            <a:r>
              <a:rPr lang="nb-NO" sz="1600"/>
              <a:t> nodes</a:t>
            </a:r>
          </a:p>
          <a:p>
            <a:pPr lvl="1">
              <a:lnSpc>
                <a:spcPct val="110000"/>
              </a:lnSpc>
            </a:pPr>
            <a:r>
              <a:rPr lang="nb-NO" sz="1400"/>
              <a:t>Remote systems </a:t>
            </a:r>
            <a:r>
              <a:rPr lang="nb-NO" sz="1400" err="1"/>
              <a:t>that</a:t>
            </a:r>
            <a:r>
              <a:rPr lang="nb-NO" sz="1400"/>
              <a:t> </a:t>
            </a:r>
            <a:r>
              <a:rPr lang="nb-NO" sz="1400" err="1"/>
              <a:t>are</a:t>
            </a:r>
            <a:r>
              <a:rPr lang="nb-NO" sz="1400"/>
              <a:t> </a:t>
            </a:r>
            <a:r>
              <a:rPr lang="nb-NO" sz="1400" err="1"/>
              <a:t>the</a:t>
            </a:r>
            <a:r>
              <a:rPr lang="nb-NO" sz="1400"/>
              <a:t> targets </a:t>
            </a:r>
            <a:r>
              <a:rPr lang="nb-NO" sz="1400" err="1"/>
              <a:t>of</a:t>
            </a:r>
            <a:r>
              <a:rPr lang="nb-NO" sz="1400"/>
              <a:t> </a:t>
            </a:r>
            <a:r>
              <a:rPr lang="nb-NO" sz="1400" err="1"/>
              <a:t>your</a:t>
            </a:r>
            <a:r>
              <a:rPr lang="nb-NO" sz="1400"/>
              <a:t> </a:t>
            </a:r>
            <a:r>
              <a:rPr lang="nb-NO" sz="1400" err="1"/>
              <a:t>playbooks</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What is Ansible</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5" name="Picture 4">
            <a:extLst>
              <a:ext uri="{FF2B5EF4-FFF2-40B4-BE49-F238E27FC236}">
                <a16:creationId xmlns:a16="http://schemas.microsoft.com/office/drawing/2014/main" id="{82DD04DF-520F-28F7-2148-51D7BB4981B2}"/>
              </a:ext>
            </a:extLst>
          </p:cNvPr>
          <p:cNvPicPr>
            <a:picLocks noChangeAspect="1"/>
          </p:cNvPicPr>
          <p:nvPr/>
        </p:nvPicPr>
        <p:blipFill>
          <a:blip r:embed="rId3"/>
          <a:stretch>
            <a:fillRect/>
          </a:stretch>
        </p:blipFill>
        <p:spPr>
          <a:xfrm>
            <a:off x="8401050" y="362149"/>
            <a:ext cx="3754063" cy="3352167"/>
          </a:xfrm>
          <a:prstGeom prst="rect">
            <a:avLst/>
          </a:prstGeom>
        </p:spPr>
      </p:pic>
    </p:spTree>
    <p:extLst>
      <p:ext uri="{BB962C8B-B14F-4D97-AF65-F5344CB8AC3E}">
        <p14:creationId xmlns:p14="http://schemas.microsoft.com/office/powerpoint/2010/main" val="33852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err="1"/>
              <a:t>Plugins</a:t>
            </a:r>
            <a:endParaRPr lang="nb-NO" sz="1600"/>
          </a:p>
          <a:p>
            <a:pPr lvl="1">
              <a:lnSpc>
                <a:spcPct val="110000"/>
              </a:lnSpc>
            </a:pPr>
            <a:r>
              <a:rPr lang="nb-NO" sz="1400" err="1"/>
              <a:t>Extends</a:t>
            </a:r>
            <a:r>
              <a:rPr lang="nb-NO" sz="1400"/>
              <a:t> </a:t>
            </a:r>
            <a:r>
              <a:rPr lang="nb-NO" sz="1400" err="1"/>
              <a:t>the</a:t>
            </a:r>
            <a:r>
              <a:rPr lang="nb-NO" sz="1400"/>
              <a:t> </a:t>
            </a:r>
            <a:r>
              <a:rPr lang="nb-NO" sz="1400" err="1"/>
              <a:t>core</a:t>
            </a:r>
            <a:r>
              <a:rPr lang="nb-NO" sz="1400"/>
              <a:t> </a:t>
            </a:r>
            <a:r>
              <a:rPr lang="nb-NO" sz="1400" err="1"/>
              <a:t>functionality</a:t>
            </a:r>
            <a:r>
              <a:rPr lang="nb-NO" sz="1400"/>
              <a:t> </a:t>
            </a:r>
            <a:r>
              <a:rPr lang="nb-NO" sz="1400" err="1"/>
              <a:t>of</a:t>
            </a:r>
            <a:r>
              <a:rPr lang="nb-NO" sz="1400"/>
              <a:t> </a:t>
            </a:r>
            <a:r>
              <a:rPr lang="nb-NO" sz="1400" err="1"/>
              <a:t>Ansible</a:t>
            </a:r>
            <a:endParaRPr lang="nb-NO" sz="1400"/>
          </a:p>
          <a:p>
            <a:pPr lvl="1">
              <a:lnSpc>
                <a:spcPct val="110000"/>
              </a:lnSpc>
            </a:pPr>
            <a:r>
              <a:rPr lang="nb-NO" sz="1400" err="1"/>
              <a:t>Examples</a:t>
            </a:r>
            <a:endParaRPr lang="nb-NO" sz="1400"/>
          </a:p>
          <a:p>
            <a:pPr lvl="2">
              <a:lnSpc>
                <a:spcPct val="110000"/>
              </a:lnSpc>
            </a:pPr>
            <a:r>
              <a:rPr lang="nb-NO" sz="1000" err="1"/>
              <a:t>cisco.ios.ios</a:t>
            </a:r>
            <a:r>
              <a:rPr lang="nb-NO" sz="1000"/>
              <a:t>  </a:t>
            </a:r>
            <a:r>
              <a:rPr lang="nb-NO" sz="1000" err="1"/>
              <a:t>cliconf</a:t>
            </a:r>
            <a:r>
              <a:rPr lang="nb-NO" sz="1000"/>
              <a:t> - To run CLI </a:t>
            </a:r>
            <a:r>
              <a:rPr lang="nb-NO" sz="1000" err="1"/>
              <a:t>commands</a:t>
            </a:r>
            <a:r>
              <a:rPr lang="nb-NO" sz="1000"/>
              <a:t> </a:t>
            </a:r>
            <a:r>
              <a:rPr lang="nb-NO" sz="1000" err="1"/>
              <a:t>on</a:t>
            </a:r>
            <a:r>
              <a:rPr lang="nb-NO" sz="1000"/>
              <a:t> Cisco IOS </a:t>
            </a:r>
            <a:r>
              <a:rPr lang="nb-NO" sz="1000" err="1"/>
              <a:t>device</a:t>
            </a:r>
            <a:endParaRPr lang="nb-NO" sz="1000"/>
          </a:p>
          <a:p>
            <a:pPr lvl="2">
              <a:lnSpc>
                <a:spcPct val="110000"/>
              </a:lnSpc>
            </a:pPr>
            <a:r>
              <a:rPr lang="nb-NO" sz="1000" err="1"/>
              <a:t>Become</a:t>
            </a:r>
            <a:r>
              <a:rPr lang="nb-NO" sz="1000"/>
              <a:t> </a:t>
            </a:r>
            <a:r>
              <a:rPr lang="nb-NO" sz="1000" err="1"/>
              <a:t>plugins</a:t>
            </a:r>
            <a:r>
              <a:rPr lang="nb-NO" sz="1000"/>
              <a:t>, </a:t>
            </a:r>
            <a:r>
              <a:rPr lang="nb-NO" sz="1000" err="1"/>
              <a:t>how</a:t>
            </a:r>
            <a:r>
              <a:rPr lang="nb-NO" sz="1000"/>
              <a:t> to </a:t>
            </a:r>
            <a:r>
              <a:rPr lang="nb-NO" sz="1000" err="1"/>
              <a:t>get</a:t>
            </a:r>
            <a:r>
              <a:rPr lang="nb-NO" sz="1000"/>
              <a:t> </a:t>
            </a:r>
            <a:r>
              <a:rPr lang="nb-NO" sz="1000" err="1"/>
              <a:t>write</a:t>
            </a:r>
            <a:r>
              <a:rPr lang="nb-NO" sz="1000"/>
              <a:t> </a:t>
            </a:r>
            <a:r>
              <a:rPr lang="nb-NO" sz="1000" err="1"/>
              <a:t>access</a:t>
            </a:r>
            <a:r>
              <a:rPr lang="nb-NO" sz="1000"/>
              <a:t> </a:t>
            </a:r>
            <a:r>
              <a:rPr lang="nb-NO" sz="1000" err="1"/>
              <a:t>on</a:t>
            </a:r>
            <a:r>
              <a:rPr lang="nb-NO" sz="1000"/>
              <a:t> </a:t>
            </a:r>
            <a:r>
              <a:rPr lang="nb-NO" sz="1000" err="1"/>
              <a:t>various</a:t>
            </a:r>
            <a:r>
              <a:rPr lang="nb-NO" sz="1000"/>
              <a:t> systems ("</a:t>
            </a:r>
            <a:r>
              <a:rPr lang="nb-NO" sz="1000" err="1"/>
              <a:t>sudo</a:t>
            </a:r>
            <a:r>
              <a:rPr lang="nb-NO" sz="1000"/>
              <a:t>", "</a:t>
            </a:r>
            <a:r>
              <a:rPr lang="nb-NO" sz="1000" err="1"/>
              <a:t>enable</a:t>
            </a:r>
            <a:r>
              <a:rPr lang="nb-NO" sz="1000"/>
              <a:t>" </a:t>
            </a:r>
            <a:r>
              <a:rPr lang="nb-NO" sz="1000" err="1"/>
              <a:t>etc</a:t>
            </a:r>
            <a:r>
              <a:rPr lang="nb-NO" sz="1000"/>
              <a:t>)</a:t>
            </a:r>
          </a:p>
          <a:p>
            <a:pPr lvl="2">
              <a:lnSpc>
                <a:spcPct val="110000"/>
              </a:lnSpc>
            </a:pPr>
            <a:r>
              <a:rPr lang="nb-NO" sz="1000"/>
              <a:t>Connection </a:t>
            </a:r>
            <a:r>
              <a:rPr lang="nb-NO" sz="1000" err="1"/>
              <a:t>plugins</a:t>
            </a:r>
            <a:r>
              <a:rPr lang="nb-NO" sz="1000"/>
              <a:t>, like SSH</a:t>
            </a:r>
          </a:p>
          <a:p>
            <a:pPr>
              <a:lnSpc>
                <a:spcPct val="110000"/>
              </a:lnSpc>
            </a:pPr>
            <a:r>
              <a:rPr lang="nb-NO" sz="1600" err="1"/>
              <a:t>Modules</a:t>
            </a:r>
            <a:endParaRPr lang="nb-NO" sz="1600"/>
          </a:p>
          <a:p>
            <a:pPr lvl="1">
              <a:lnSpc>
                <a:spcPct val="110000"/>
              </a:lnSpc>
            </a:pPr>
            <a:r>
              <a:rPr lang="nb-NO" sz="1400" err="1"/>
              <a:t>Built</a:t>
            </a:r>
            <a:r>
              <a:rPr lang="nb-NO" sz="1400"/>
              <a:t>-in or </a:t>
            </a:r>
            <a:r>
              <a:rPr lang="nb-NO" sz="1400" err="1"/>
              <a:t>custom</a:t>
            </a:r>
            <a:r>
              <a:rPr lang="nb-NO" sz="1400"/>
              <a:t> </a:t>
            </a:r>
            <a:r>
              <a:rPr lang="nb-NO" sz="1400" err="1"/>
              <a:t>code</a:t>
            </a:r>
            <a:r>
              <a:rPr lang="nb-NO" sz="1400"/>
              <a:t> </a:t>
            </a:r>
            <a:r>
              <a:rPr lang="nb-NO" sz="1400" err="1"/>
              <a:t>snippets</a:t>
            </a:r>
            <a:r>
              <a:rPr lang="nb-NO" sz="1400"/>
              <a:t> to </a:t>
            </a:r>
            <a:r>
              <a:rPr lang="nb-NO" sz="1400" err="1"/>
              <a:t>perform</a:t>
            </a:r>
            <a:r>
              <a:rPr lang="nb-NO" sz="1400"/>
              <a:t> </a:t>
            </a:r>
            <a:r>
              <a:rPr lang="nb-NO" sz="1400" err="1"/>
              <a:t>various</a:t>
            </a:r>
            <a:r>
              <a:rPr lang="nb-NO" sz="1400"/>
              <a:t> </a:t>
            </a:r>
            <a:r>
              <a:rPr lang="nb-NO" sz="1400" err="1"/>
              <a:t>tasks</a:t>
            </a:r>
            <a:endParaRPr lang="nb-NO" sz="1400"/>
          </a:p>
          <a:p>
            <a:pPr lvl="1">
              <a:lnSpc>
                <a:spcPct val="110000"/>
              </a:lnSpc>
            </a:pPr>
            <a:r>
              <a:rPr lang="nb-NO" sz="1400"/>
              <a:t>A </a:t>
            </a:r>
            <a:r>
              <a:rPr lang="nb-NO" sz="1400" err="1"/>
              <a:t>special</a:t>
            </a:r>
            <a:r>
              <a:rPr lang="nb-NO" sz="1400"/>
              <a:t> type </a:t>
            </a:r>
            <a:r>
              <a:rPr lang="nb-NO" sz="1400" err="1"/>
              <a:t>of</a:t>
            </a:r>
            <a:r>
              <a:rPr lang="nb-NO" sz="1400"/>
              <a:t> </a:t>
            </a:r>
            <a:r>
              <a:rPr lang="nb-NO" sz="1400" err="1"/>
              <a:t>plugin</a:t>
            </a:r>
            <a:endParaRPr lang="nb-NO" sz="1400"/>
          </a:p>
          <a:p>
            <a:pPr lvl="1">
              <a:lnSpc>
                <a:spcPct val="110000"/>
              </a:lnSpc>
            </a:pPr>
            <a:r>
              <a:rPr lang="nb-NO" sz="1400" err="1"/>
              <a:t>Examples</a:t>
            </a:r>
            <a:endParaRPr lang="nb-NO" sz="1400"/>
          </a:p>
          <a:p>
            <a:pPr lvl="2">
              <a:lnSpc>
                <a:spcPct val="110000"/>
              </a:lnSpc>
            </a:pPr>
            <a:r>
              <a:rPr lang="nb-NO" sz="1200" err="1"/>
              <a:t>cisco.ios.ios_config</a:t>
            </a:r>
            <a:endParaRPr lang="nb-NO" sz="1200"/>
          </a:p>
          <a:p>
            <a:pPr lvl="2">
              <a:lnSpc>
                <a:spcPct val="110000"/>
              </a:lnSpc>
            </a:pPr>
            <a:r>
              <a:rPr lang="en-US" sz="1200" err="1"/>
              <a:t>cisco.ise.endpoint</a:t>
            </a:r>
            <a:endParaRPr lang="nb-NO" sz="1200"/>
          </a:p>
          <a:p>
            <a:pPr lvl="2">
              <a:lnSpc>
                <a:spcPct val="110000"/>
              </a:lnSpc>
            </a:pP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lugins and modules</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5" name="Picture 4">
            <a:extLst>
              <a:ext uri="{FF2B5EF4-FFF2-40B4-BE49-F238E27FC236}">
                <a16:creationId xmlns:a16="http://schemas.microsoft.com/office/drawing/2014/main" id="{C049DB05-19C9-75CF-1716-033099892C22}"/>
              </a:ext>
            </a:extLst>
          </p:cNvPr>
          <p:cNvPicPr>
            <a:picLocks noChangeAspect="1"/>
          </p:cNvPicPr>
          <p:nvPr/>
        </p:nvPicPr>
        <p:blipFill>
          <a:blip r:embed="rId3"/>
          <a:stretch>
            <a:fillRect/>
          </a:stretch>
        </p:blipFill>
        <p:spPr>
          <a:xfrm>
            <a:off x="5090145" y="3834943"/>
            <a:ext cx="2802905" cy="898367"/>
          </a:xfrm>
          <a:prstGeom prst="rect">
            <a:avLst/>
          </a:prstGeom>
        </p:spPr>
      </p:pic>
      <p:pic>
        <p:nvPicPr>
          <p:cNvPr id="7" name="Picture 6">
            <a:extLst>
              <a:ext uri="{FF2B5EF4-FFF2-40B4-BE49-F238E27FC236}">
                <a16:creationId xmlns:a16="http://schemas.microsoft.com/office/drawing/2014/main" id="{570286E5-094F-0920-9DAE-C4D4F72E6333}"/>
              </a:ext>
            </a:extLst>
          </p:cNvPr>
          <p:cNvPicPr>
            <a:picLocks noChangeAspect="1"/>
          </p:cNvPicPr>
          <p:nvPr/>
        </p:nvPicPr>
        <p:blipFill>
          <a:blip r:embed="rId4"/>
          <a:stretch>
            <a:fillRect/>
          </a:stretch>
        </p:blipFill>
        <p:spPr>
          <a:xfrm>
            <a:off x="5090145" y="4971006"/>
            <a:ext cx="2123456" cy="1041542"/>
          </a:xfrm>
          <a:prstGeom prst="rect">
            <a:avLst/>
          </a:prstGeom>
        </p:spPr>
      </p:pic>
      <p:cxnSp>
        <p:nvCxnSpPr>
          <p:cNvPr id="8" name="Straight Arrow Connector 7">
            <a:extLst>
              <a:ext uri="{FF2B5EF4-FFF2-40B4-BE49-F238E27FC236}">
                <a16:creationId xmlns:a16="http://schemas.microsoft.com/office/drawing/2014/main" id="{1FE24919-990F-8045-C81C-E62A932DC4D9}"/>
              </a:ext>
            </a:extLst>
          </p:cNvPr>
          <p:cNvCxnSpPr>
            <a:cxnSpLocks/>
          </p:cNvCxnSpPr>
          <p:nvPr/>
        </p:nvCxnSpPr>
        <p:spPr>
          <a:xfrm flipV="1">
            <a:off x="3106827" y="4284126"/>
            <a:ext cx="1983318" cy="4491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1B710D42-F9CC-B8D3-F2EB-19D5514CCDBE}"/>
              </a:ext>
            </a:extLst>
          </p:cNvPr>
          <p:cNvCxnSpPr>
            <a:cxnSpLocks/>
            <a:endCxn id="7" idx="1"/>
          </p:cNvCxnSpPr>
          <p:nvPr/>
        </p:nvCxnSpPr>
        <p:spPr>
          <a:xfrm>
            <a:off x="3011577" y="5069860"/>
            <a:ext cx="2078568" cy="4219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3559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dirty="0" err="1"/>
              <a:t>Installing</a:t>
            </a:r>
            <a:r>
              <a:rPr lang="nb-NO" sz="1600" dirty="0"/>
              <a:t> in a Python </a:t>
            </a:r>
            <a:r>
              <a:rPr lang="nb-NO" sz="1600" dirty="0" err="1"/>
              <a:t>VENV</a:t>
            </a:r>
            <a:r>
              <a:rPr lang="nb-NO" sz="1600" dirty="0"/>
              <a:t> (Virtual Environment)</a:t>
            </a:r>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400" dirty="0"/>
              <a:t>(</a:t>
            </a:r>
            <a:r>
              <a:rPr lang="nb-NO" sz="1400" dirty="0" err="1"/>
              <a:t>optional</a:t>
            </a:r>
            <a:r>
              <a:rPr lang="nb-NO" sz="1400" dirty="0"/>
              <a:t> info) </a:t>
            </a:r>
            <a:r>
              <a:rPr lang="nb-NO" sz="1400" dirty="0" err="1"/>
              <a:t>Ansible</a:t>
            </a:r>
            <a:r>
              <a:rPr lang="nb-NO" sz="1400" dirty="0"/>
              <a:t> </a:t>
            </a:r>
            <a:r>
              <a:rPr lang="nb-NO" sz="1400" dirty="0" err="1"/>
              <a:t>could</a:t>
            </a:r>
            <a:r>
              <a:rPr lang="nb-NO" sz="1400" dirty="0"/>
              <a:t> be </a:t>
            </a:r>
            <a:r>
              <a:rPr lang="nb-NO" sz="1400" dirty="0" err="1"/>
              <a:t>installed</a:t>
            </a:r>
            <a:r>
              <a:rPr lang="nb-NO" sz="1400" dirty="0"/>
              <a:t> </a:t>
            </a:r>
            <a:r>
              <a:rPr lang="nb-NO" sz="1400" dirty="0" err="1"/>
              <a:t>globally</a:t>
            </a:r>
            <a:r>
              <a:rPr lang="nb-NO" sz="1400" dirty="0"/>
              <a:t>. </a:t>
            </a:r>
            <a:r>
              <a:rPr lang="nb-NO" sz="1400" dirty="0" err="1"/>
              <a:t>But</a:t>
            </a:r>
            <a:r>
              <a:rPr lang="nb-NO" sz="1400" dirty="0"/>
              <a:t> by </a:t>
            </a:r>
            <a:r>
              <a:rPr lang="nb-NO" sz="1400" dirty="0" err="1"/>
              <a:t>using</a:t>
            </a:r>
            <a:r>
              <a:rPr lang="nb-NO" sz="1400" dirty="0"/>
              <a:t> </a:t>
            </a:r>
            <a:r>
              <a:rPr lang="nb-NO" sz="1400" dirty="0" err="1"/>
              <a:t>VENV</a:t>
            </a:r>
            <a:r>
              <a:rPr lang="nb-NO" sz="1400" dirty="0"/>
              <a:t> </a:t>
            </a:r>
            <a:r>
              <a:rPr lang="nb-NO" sz="1400" dirty="0" err="1"/>
              <a:t>we</a:t>
            </a:r>
            <a:r>
              <a:rPr lang="nb-NO" sz="1400" dirty="0"/>
              <a:t> </a:t>
            </a:r>
            <a:r>
              <a:rPr lang="nb-NO" sz="1400" dirty="0" err="1"/>
              <a:t>can</a:t>
            </a:r>
            <a:r>
              <a:rPr lang="nb-NO" sz="1400" dirty="0"/>
              <a:t> </a:t>
            </a:r>
            <a:r>
              <a:rPr lang="nb-NO" sz="1400" dirty="0" err="1"/>
              <a:t>control</a:t>
            </a:r>
            <a:r>
              <a:rPr lang="nb-NO" sz="1400" dirty="0"/>
              <a:t> </a:t>
            </a:r>
            <a:r>
              <a:rPr lang="nb-NO" sz="1400" dirty="0" err="1"/>
              <a:t>the</a:t>
            </a:r>
            <a:r>
              <a:rPr lang="nb-NO" sz="1400" dirty="0"/>
              <a:t> </a:t>
            </a:r>
            <a:r>
              <a:rPr lang="nb-NO" sz="1400" dirty="0" err="1"/>
              <a:t>environment</a:t>
            </a:r>
            <a:r>
              <a:rPr lang="nb-NO" sz="1400" dirty="0"/>
              <a:t> more </a:t>
            </a:r>
            <a:r>
              <a:rPr lang="nb-NO" sz="1400" dirty="0" err="1"/>
              <a:t>closely</a:t>
            </a:r>
            <a:r>
              <a:rPr lang="nb-NO" sz="1400" dirty="0"/>
              <a:t>. Most </a:t>
            </a:r>
            <a:r>
              <a:rPr lang="nb-NO" sz="1400" dirty="0" err="1"/>
              <a:t>projects</a:t>
            </a:r>
            <a:r>
              <a:rPr lang="nb-NO" sz="1400" dirty="0"/>
              <a:t> </a:t>
            </a:r>
            <a:r>
              <a:rPr lang="nb-NO" sz="1400" dirty="0" err="1"/>
              <a:t>will</a:t>
            </a:r>
            <a:r>
              <a:rPr lang="nb-NO" sz="1400" dirty="0"/>
              <a:t> have </a:t>
            </a:r>
            <a:r>
              <a:rPr lang="nb-NO" sz="1400" dirty="0" err="1"/>
              <a:t>some</a:t>
            </a:r>
            <a:r>
              <a:rPr lang="nb-NO" sz="1400" dirty="0"/>
              <a:t> </a:t>
            </a:r>
            <a:r>
              <a:rPr lang="nb-NO" sz="1400" dirty="0" err="1"/>
              <a:t>dependencies</a:t>
            </a:r>
            <a:r>
              <a:rPr lang="nb-NO" sz="1400" dirty="0"/>
              <a:t>, and by controlling </a:t>
            </a:r>
            <a:r>
              <a:rPr lang="nb-NO" sz="1400" dirty="0" err="1"/>
              <a:t>the</a:t>
            </a:r>
            <a:r>
              <a:rPr lang="nb-NO" sz="1400" dirty="0"/>
              <a:t> </a:t>
            </a:r>
            <a:r>
              <a:rPr lang="nb-NO" sz="1400" dirty="0" err="1"/>
              <a:t>environment</a:t>
            </a:r>
            <a:r>
              <a:rPr lang="nb-NO" sz="1400" dirty="0"/>
              <a:t> </a:t>
            </a:r>
            <a:r>
              <a:rPr lang="nb-NO" sz="1400" dirty="0" err="1"/>
              <a:t>you</a:t>
            </a:r>
            <a:r>
              <a:rPr lang="nb-NO" sz="1400" dirty="0"/>
              <a:t> </a:t>
            </a:r>
            <a:r>
              <a:rPr lang="nb-NO" sz="1400" dirty="0" err="1"/>
              <a:t>ensure</a:t>
            </a:r>
            <a:r>
              <a:rPr lang="nb-NO" sz="1400" dirty="0"/>
              <a:t> </a:t>
            </a:r>
            <a:r>
              <a:rPr lang="nb-NO" sz="1400" dirty="0" err="1"/>
              <a:t>that</a:t>
            </a:r>
            <a:r>
              <a:rPr lang="nb-NO" sz="1400" dirty="0"/>
              <a:t> </a:t>
            </a:r>
            <a:r>
              <a:rPr lang="nb-NO" sz="1400" dirty="0" err="1"/>
              <a:t>the</a:t>
            </a:r>
            <a:r>
              <a:rPr lang="nb-NO" sz="1400" dirty="0"/>
              <a:t> </a:t>
            </a:r>
            <a:r>
              <a:rPr lang="nb-NO" sz="1400" dirty="0" err="1"/>
              <a:t>packages</a:t>
            </a:r>
            <a:r>
              <a:rPr lang="nb-NO" sz="1400" dirty="0"/>
              <a:t> in </a:t>
            </a:r>
            <a:r>
              <a:rPr lang="nb-NO" sz="1400" dirty="0" err="1"/>
              <a:t>the</a:t>
            </a:r>
            <a:r>
              <a:rPr lang="nb-NO" sz="1400" dirty="0"/>
              <a:t> </a:t>
            </a:r>
            <a:r>
              <a:rPr lang="nb-NO" sz="1400" dirty="0" err="1"/>
              <a:t>environment</a:t>
            </a:r>
            <a:r>
              <a:rPr lang="nb-NO" sz="1400" dirty="0"/>
              <a:t> </a:t>
            </a:r>
            <a:r>
              <a:rPr lang="nb-NO" sz="1400" dirty="0" err="1"/>
              <a:t>are</a:t>
            </a:r>
            <a:r>
              <a:rPr lang="nb-NO" sz="1400" dirty="0"/>
              <a:t> </a:t>
            </a:r>
            <a:r>
              <a:rPr lang="nb-NO" sz="1400" dirty="0" err="1"/>
              <a:t>ones</a:t>
            </a:r>
            <a:r>
              <a:rPr lang="nb-NO" sz="1400" dirty="0"/>
              <a:t> </a:t>
            </a:r>
            <a:r>
              <a:rPr lang="nb-NO" sz="1400" dirty="0" err="1"/>
              <a:t>that</a:t>
            </a:r>
            <a:r>
              <a:rPr lang="nb-NO" sz="1400" dirty="0"/>
              <a:t> is </a:t>
            </a:r>
            <a:r>
              <a:rPr lang="nb-NO" sz="1400" dirty="0" err="1"/>
              <a:t>tested</a:t>
            </a:r>
            <a:r>
              <a:rPr lang="nb-NO" sz="1400" dirty="0"/>
              <a:t> to be </a:t>
            </a:r>
            <a:r>
              <a:rPr lang="nb-NO" sz="1400" dirty="0" err="1"/>
              <a:t>compatible</a:t>
            </a:r>
            <a:r>
              <a:rPr lang="nb-NO" sz="1400" dirty="0"/>
              <a:t> </a:t>
            </a:r>
            <a:r>
              <a:rPr lang="nb-NO" sz="1400" dirty="0" err="1"/>
              <a:t>with</a:t>
            </a:r>
            <a:r>
              <a:rPr lang="nb-NO" sz="1400" dirty="0"/>
              <a:t> </a:t>
            </a:r>
            <a:r>
              <a:rPr lang="nb-NO" sz="1400" dirty="0" err="1"/>
              <a:t>the</a:t>
            </a:r>
            <a:r>
              <a:rPr lang="nb-NO" sz="1400" dirty="0"/>
              <a:t> </a:t>
            </a:r>
            <a:r>
              <a:rPr lang="nb-NO" sz="1400" dirty="0" err="1"/>
              <a:t>project</a:t>
            </a:r>
            <a:r>
              <a:rPr lang="nb-NO" sz="1400" dirty="0"/>
              <a:t>. Here </a:t>
            </a:r>
            <a:r>
              <a:rPr lang="nb-NO" sz="1400" dirty="0" err="1"/>
              <a:t>we</a:t>
            </a:r>
            <a:r>
              <a:rPr lang="nb-NO" sz="1400" dirty="0"/>
              <a:t> just </a:t>
            </a:r>
            <a:r>
              <a:rPr lang="nb-NO" sz="1400" dirty="0" err="1"/>
              <a:t>use</a:t>
            </a:r>
            <a:r>
              <a:rPr lang="nb-NO" sz="1400" dirty="0"/>
              <a:t> </a:t>
            </a:r>
            <a:r>
              <a:rPr lang="nb-NO" sz="1400" dirty="0" err="1"/>
              <a:t>the</a:t>
            </a:r>
            <a:r>
              <a:rPr lang="nb-NO" sz="1400" dirty="0"/>
              <a:t> latest, </a:t>
            </a:r>
            <a:r>
              <a:rPr lang="nb-NO" sz="1400" dirty="0" err="1"/>
              <a:t>but</a:t>
            </a:r>
            <a:r>
              <a:rPr lang="nb-NO" sz="1400" dirty="0"/>
              <a:t> it is </a:t>
            </a:r>
            <a:r>
              <a:rPr lang="nb-NO" sz="1400" dirty="0" err="1"/>
              <a:t>shared</a:t>
            </a:r>
            <a:r>
              <a:rPr lang="nb-NO" sz="1400" dirty="0"/>
              <a:t> to list ("</a:t>
            </a:r>
            <a:r>
              <a:rPr lang="nb-NO" sz="1400" dirty="0" err="1"/>
              <a:t>freeze</a:t>
            </a:r>
            <a:r>
              <a:rPr lang="nb-NO" sz="1400" dirty="0"/>
              <a:t>") </a:t>
            </a:r>
            <a:r>
              <a:rPr lang="nb-NO" sz="1400" dirty="0" err="1"/>
              <a:t>the</a:t>
            </a:r>
            <a:r>
              <a:rPr lang="nb-NO" sz="1400" dirty="0"/>
              <a:t> </a:t>
            </a:r>
            <a:r>
              <a:rPr lang="nb-NO" sz="1400" dirty="0" err="1"/>
              <a:t>currently</a:t>
            </a:r>
            <a:r>
              <a:rPr lang="nb-NO" sz="1400" dirty="0"/>
              <a:t> </a:t>
            </a:r>
            <a:r>
              <a:rPr lang="nb-NO" sz="1400" dirty="0" err="1"/>
              <a:t>installed</a:t>
            </a:r>
            <a:r>
              <a:rPr lang="nb-NO" sz="1400" dirty="0"/>
              <a:t> </a:t>
            </a:r>
            <a:r>
              <a:rPr lang="nb-NO" sz="1400" dirty="0" err="1"/>
              <a:t>packages</a:t>
            </a:r>
            <a:r>
              <a:rPr lang="nb-NO" sz="1400" dirty="0"/>
              <a:t> and </a:t>
            </a:r>
            <a:r>
              <a:rPr lang="nb-NO" sz="1400" dirty="0" err="1"/>
              <a:t>versions</a:t>
            </a:r>
            <a:r>
              <a:rPr lang="nb-NO" sz="1400" dirty="0"/>
              <a:t> from an </a:t>
            </a:r>
            <a:r>
              <a:rPr lang="nb-NO" sz="1400" dirty="0" err="1"/>
              <a:t>environment</a:t>
            </a:r>
            <a:r>
              <a:rPr lang="nb-NO" sz="1400" dirty="0"/>
              <a:t> </a:t>
            </a:r>
            <a:r>
              <a:rPr lang="nb-NO" sz="1400" dirty="0" err="1"/>
              <a:t>when</a:t>
            </a:r>
            <a:r>
              <a:rPr lang="nb-NO" sz="1400" dirty="0"/>
              <a:t> </a:t>
            </a:r>
            <a:r>
              <a:rPr lang="nb-NO" sz="1400" dirty="0" err="1"/>
              <a:t>tested</a:t>
            </a:r>
            <a:r>
              <a:rPr lang="nb-NO" sz="1400" dirty="0"/>
              <a:t> OK, and </a:t>
            </a:r>
            <a:r>
              <a:rPr lang="nb-NO" sz="1400" dirty="0" err="1"/>
              <a:t>use</a:t>
            </a:r>
            <a:r>
              <a:rPr lang="nb-NO" sz="1400" dirty="0"/>
              <a:t> </a:t>
            </a:r>
            <a:r>
              <a:rPr lang="nb-NO" sz="1400" dirty="0" err="1"/>
              <a:t>this</a:t>
            </a:r>
            <a:r>
              <a:rPr lang="nb-NO" sz="1400" dirty="0"/>
              <a:t> as a </a:t>
            </a:r>
            <a:r>
              <a:rPr lang="nb-NO" sz="1400" dirty="0" err="1"/>
              <a:t>requirements</a:t>
            </a:r>
            <a:r>
              <a:rPr lang="nb-NO" sz="1400" dirty="0"/>
              <a:t> input </a:t>
            </a:r>
            <a:r>
              <a:rPr lang="nb-NO" sz="1400" dirty="0" err="1"/>
              <a:t>when</a:t>
            </a:r>
            <a:r>
              <a:rPr lang="nb-NO" sz="1400" dirty="0"/>
              <a:t> </a:t>
            </a:r>
            <a:r>
              <a:rPr lang="nb-NO" sz="1400" dirty="0" err="1"/>
              <a:t>reproducing</a:t>
            </a:r>
            <a:r>
              <a:rPr lang="nb-NO" sz="1400" dirty="0"/>
              <a:t> </a:t>
            </a:r>
            <a:r>
              <a:rPr lang="nb-NO" sz="1400" dirty="0" err="1"/>
              <a:t>the</a:t>
            </a:r>
            <a:r>
              <a:rPr lang="nb-NO" sz="1400" dirty="0"/>
              <a:t> </a:t>
            </a:r>
            <a:r>
              <a:rPr lang="nb-NO" sz="1400" dirty="0" err="1"/>
              <a:t>environment</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installation</a:t>
            </a:r>
          </a:p>
        </p:txBody>
      </p:sp>
      <p:sp>
        <p:nvSpPr>
          <p:cNvPr id="3" name="Footer Placeholder 6">
            <a:extLst>
              <a:ext uri="{FF2B5EF4-FFF2-40B4-BE49-F238E27FC236}">
                <a16:creationId xmlns:a16="http://schemas.microsoft.com/office/drawing/2014/main" id="{77FF1E93-AC1C-5651-2FC2-8ABE16F5AAA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84F2DA91-90C9-C865-9D2D-3CEDE26E5AB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
        <p:nvSpPr>
          <p:cNvPr id="7" name="TextBox 6">
            <a:extLst>
              <a:ext uri="{FF2B5EF4-FFF2-40B4-BE49-F238E27FC236}">
                <a16:creationId xmlns:a16="http://schemas.microsoft.com/office/drawing/2014/main" id="{F57809A5-5D18-E09A-D8A2-8E873756E594}"/>
              </a:ext>
            </a:extLst>
          </p:cNvPr>
          <p:cNvSpPr txBox="1"/>
          <p:nvPr/>
        </p:nvSpPr>
        <p:spPr>
          <a:xfrm>
            <a:off x="755153" y="1510922"/>
            <a:ext cx="9890101" cy="971228"/>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t> </a:t>
            </a:r>
            <a:r>
              <a:rPr lang="en-US" sz="1050" dirty="0" err="1"/>
              <a:t>sudo</a:t>
            </a:r>
            <a:r>
              <a:rPr lang="en-US" sz="1050" dirty="0"/>
              <a:t> apt install pip python3-ven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mkdir</a:t>
            </a:r>
            <a:r>
              <a:rPr lang="en-US" sz="1050" dirty="0">
                <a:solidFill>
                  <a:srgbClr val="EEE8D5"/>
                </a:solidFill>
                <a:latin typeface="Consolas" panose="020B0609020204030204" pitchFamily="49" charset="0"/>
              </a:rPr>
              <a:t> ~/ans</a:t>
            </a:r>
            <a:r>
              <a:rPr lang="en-US" sz="1050" dirty="0"/>
              <a:t>ible-</a:t>
            </a:r>
            <a:r>
              <a:rPr lang="en-US" sz="1050" dirty="0" err="1"/>
              <a:t>venv</a:t>
            </a:r>
            <a:endParaRPr lang="en-US" sz="1050" dirty="0"/>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python3 -m </a:t>
            </a:r>
            <a:r>
              <a:rPr lang="en-US" sz="1050" dirty="0" err="1">
                <a:solidFill>
                  <a:srgbClr val="EEE8D5"/>
                </a:solidFill>
                <a:latin typeface="Consolas" panose="020B0609020204030204" pitchFamily="49" charset="0"/>
              </a:rPr>
              <a:t>venv</a:t>
            </a:r>
            <a:r>
              <a:rPr lang="en-US" sz="1050" dirty="0">
                <a:solidFill>
                  <a:srgbClr val="EEE8D5"/>
                </a:solidFill>
                <a:latin typeface="Consolas" panose="020B0609020204030204" pitchFamily="49" charset="0"/>
              </a:rPr>
              <a:t> ~/ansible-</a:t>
            </a:r>
            <a:r>
              <a:rPr lang="en-US" sz="1050" dirty="0" err="1">
                <a:solidFill>
                  <a:srgbClr val="EEE8D5"/>
                </a:solidFill>
                <a:latin typeface="Consolas" panose="020B0609020204030204" pitchFamily="49" charset="0"/>
              </a:rPr>
              <a:t>venv</a:t>
            </a:r>
            <a:r>
              <a:rPr lang="en-US" sz="1050" dirty="0">
                <a:solidFill>
                  <a:srgbClr val="EEE8D5"/>
                </a:solidFill>
                <a:latin typeface="Consolas" panose="020B0609020204030204" pitchFamily="49" charset="0"/>
              </a:rPr>
              <a:t>/</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fr-FR" sz="1050" dirty="0">
                <a:solidFill>
                  <a:srgbClr val="EEE8D5"/>
                </a:solidFill>
                <a:latin typeface="Consolas" panose="020B0609020204030204" pitchFamily="49" charset="0"/>
              </a:rPr>
              <a:t>source ~/ansible-</a:t>
            </a:r>
            <a:r>
              <a:rPr lang="fr-FR" sz="1050" dirty="0" err="1">
                <a:solidFill>
                  <a:srgbClr val="EEE8D5"/>
                </a:solidFill>
                <a:latin typeface="Consolas" panose="020B0609020204030204" pitchFamily="49" charset="0"/>
              </a:rPr>
              <a:t>venv</a:t>
            </a:r>
            <a:r>
              <a:rPr lang="fr-FR" sz="1050" dirty="0">
                <a:solidFill>
                  <a:srgbClr val="EEE8D5"/>
                </a:solidFill>
                <a:latin typeface="Consolas" panose="020B0609020204030204" pitchFamily="49" charset="0"/>
              </a:rPr>
              <a:t>/bin/</a:t>
            </a:r>
            <a:r>
              <a:rPr lang="fr-FR" sz="1050" dirty="0" err="1">
                <a:solidFill>
                  <a:srgbClr val="EEE8D5"/>
                </a:solidFill>
                <a:latin typeface="Consolas" panose="020B0609020204030204" pitchFamily="49" charset="0"/>
              </a:rPr>
              <a:t>activate</a:t>
            </a:r>
            <a:endParaRPr lang="fr-FR" sz="1050" dirty="0">
              <a:solidFill>
                <a:srgbClr val="EEE8D5"/>
              </a:solidFill>
              <a:latin typeface="Consolas" panose="020B0609020204030204" pitchFamily="49" charset="0"/>
            </a:endParaRPr>
          </a:p>
          <a:p>
            <a:pPr lvl="1"/>
            <a:r>
              <a:rPr lang="fr-FR" sz="1050" dirty="0">
                <a:solidFill>
                  <a:srgbClr val="EEE8D5"/>
                </a:solidFill>
                <a:latin typeface="Consolas" panose="020B0609020204030204" pitchFamily="49" charset="0"/>
              </a:rPr>
              <a:t>(ansible-</a:t>
            </a:r>
            <a:r>
              <a:rPr lang="fr-FR" sz="1050" dirty="0" err="1">
                <a:solidFill>
                  <a:srgbClr val="EEE8D5"/>
                </a:solidFill>
                <a:latin typeface="Consolas" panose="020B0609020204030204" pitchFamily="49" charset="0"/>
              </a:rPr>
              <a:t>venv</a:t>
            </a:r>
            <a:r>
              <a:rPr lang="fr-FR" sz="1050" dirty="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pip</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stall</a:t>
            </a:r>
            <a:r>
              <a:rPr lang="fr-FR" sz="1050" dirty="0">
                <a:solidFill>
                  <a:srgbClr val="EEE8D5"/>
                </a:solidFill>
                <a:latin typeface="Consolas" panose="020B0609020204030204" pitchFamily="49" charset="0"/>
              </a:rPr>
              <a:t> ansible ansible-</a:t>
            </a:r>
            <a:r>
              <a:rPr lang="fr-FR" sz="1050" dirty="0" err="1">
                <a:solidFill>
                  <a:srgbClr val="EEE8D5"/>
                </a:solidFill>
                <a:latin typeface="Consolas" panose="020B0609020204030204" pitchFamily="49" charset="0"/>
              </a:rPr>
              <a:t>lint</a:t>
            </a:r>
            <a:endParaRPr lang="en-US" sz="1050" dirty="0">
              <a:solidFill>
                <a:srgbClr val="EEE8D5"/>
              </a:solidFill>
              <a:latin typeface="Consolas" panose="020B0609020204030204" pitchFamily="49" charset="0"/>
            </a:endParaRPr>
          </a:p>
        </p:txBody>
      </p:sp>
      <p:sp>
        <p:nvSpPr>
          <p:cNvPr id="8" name="TextBox 7">
            <a:extLst>
              <a:ext uri="{FF2B5EF4-FFF2-40B4-BE49-F238E27FC236}">
                <a16:creationId xmlns:a16="http://schemas.microsoft.com/office/drawing/2014/main" id="{8062001E-013F-DBFC-98EA-B07E339612BF}"/>
              </a:ext>
            </a:extLst>
          </p:cNvPr>
          <p:cNvSpPr txBox="1"/>
          <p:nvPr/>
        </p:nvSpPr>
        <p:spPr>
          <a:xfrm>
            <a:off x="755153" y="2588728"/>
            <a:ext cx="9890101" cy="20376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nsible --version</a:t>
            </a:r>
          </a:p>
          <a:p>
            <a:pPr lvl="1"/>
            <a:r>
              <a:rPr lang="en-US" sz="1050">
                <a:solidFill>
                  <a:srgbClr val="EEE8D5"/>
                </a:solidFill>
                <a:latin typeface="Consolas" panose="020B0609020204030204" pitchFamily="49" charset="0"/>
              </a:rPr>
              <a:t>ansible [core 2.17.1]</a:t>
            </a:r>
          </a:p>
          <a:p>
            <a:pPr lvl="1"/>
            <a:r>
              <a:rPr lang="en-US" sz="1050">
                <a:solidFill>
                  <a:srgbClr val="EEE8D5"/>
                </a:solidFill>
                <a:latin typeface="Consolas" panose="020B0609020204030204" pitchFamily="49" charset="0"/>
              </a:rPr>
              <a:t>  config file = None</a:t>
            </a:r>
          </a:p>
          <a:p>
            <a:pPr lvl="1"/>
            <a:r>
              <a:rPr lang="en-US" sz="1050">
                <a:solidFill>
                  <a:srgbClr val="EEE8D5"/>
                </a:solidFill>
                <a:latin typeface="Consolas" panose="020B0609020204030204" pitchFamily="49" charset="0"/>
              </a:rPr>
              <a:t>  configured module search path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plugins/modules', '/</a:t>
            </a:r>
            <a:r>
              <a:rPr lang="en-US" sz="1050" err="1">
                <a:solidFill>
                  <a:srgbClr val="EEE8D5"/>
                </a:solidFill>
                <a:latin typeface="Consolas" panose="020B0609020204030204" pitchFamily="49" charset="0"/>
              </a:rPr>
              <a:t>usr</a:t>
            </a:r>
            <a:r>
              <a:rPr lang="en-US" sz="1050">
                <a:solidFill>
                  <a:srgbClr val="EEE8D5"/>
                </a:solidFill>
                <a:latin typeface="Consolas" panose="020B0609020204030204" pitchFamily="49" charset="0"/>
              </a:rPr>
              <a:t>/share/ansible/plugins/modules']</a:t>
            </a:r>
          </a:p>
          <a:p>
            <a:pPr lvl="1"/>
            <a:r>
              <a:rPr lang="en-US" sz="1050">
                <a:solidFill>
                  <a:srgbClr val="EEE8D5"/>
                </a:solidFill>
                <a:latin typeface="Consolas" panose="020B0609020204030204" pitchFamily="49" charset="0"/>
              </a:rPr>
              <a:t>  ansible python module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lib/</a:t>
            </a:r>
            <a:r>
              <a:rPr lang="en-US" sz="1050" err="1">
                <a:solidFill>
                  <a:srgbClr val="EEE8D5"/>
                </a:solidFill>
                <a:latin typeface="Consolas" panose="020B0609020204030204" pitchFamily="49" charset="0"/>
              </a:rPr>
              <a:t>python3.12</a:t>
            </a:r>
            <a:r>
              <a:rPr lang="en-US" sz="1050">
                <a:solidFill>
                  <a:srgbClr val="EEE8D5"/>
                </a:solidFill>
                <a:latin typeface="Consolas" panose="020B0609020204030204" pitchFamily="49" charset="0"/>
              </a:rPr>
              <a:t>/site-packages/ansible</a:t>
            </a:r>
          </a:p>
          <a:p>
            <a:pPr lvl="1"/>
            <a:r>
              <a:rPr lang="en-US" sz="1050">
                <a:solidFill>
                  <a:srgbClr val="EEE8D5"/>
                </a:solidFill>
                <a:latin typeface="Consolas" panose="020B0609020204030204" pitchFamily="49" charset="0"/>
              </a:rPr>
              <a:t>  ansible collection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collections:/</a:t>
            </a:r>
            <a:r>
              <a:rPr lang="en-US" sz="1050" err="1">
                <a:solidFill>
                  <a:srgbClr val="EEE8D5"/>
                </a:solidFill>
                <a:latin typeface="Consolas" panose="020B0609020204030204" pitchFamily="49" charset="0"/>
              </a:rPr>
              <a:t>usr</a:t>
            </a:r>
            <a:r>
              <a:rPr lang="en-US" sz="1050">
                <a:solidFill>
                  <a:srgbClr val="EEE8D5"/>
                </a:solidFill>
                <a:latin typeface="Consolas" panose="020B0609020204030204" pitchFamily="49" charset="0"/>
              </a:rPr>
              <a:t>/share/ansible/collections</a:t>
            </a:r>
          </a:p>
          <a:p>
            <a:pPr lvl="1"/>
            <a:r>
              <a:rPr lang="en-US" sz="1050">
                <a:solidFill>
                  <a:srgbClr val="EEE8D5"/>
                </a:solidFill>
                <a:latin typeface="Consolas" panose="020B0609020204030204" pitchFamily="49" charset="0"/>
              </a:rPr>
              <a:t>  executable location =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bin/ansible</a:t>
            </a:r>
          </a:p>
          <a:p>
            <a:pPr lvl="1"/>
            <a:r>
              <a:rPr lang="en-US" sz="1050">
                <a:solidFill>
                  <a:srgbClr val="EEE8D5"/>
                </a:solidFill>
                <a:latin typeface="Consolas" panose="020B0609020204030204" pitchFamily="49" charset="0"/>
              </a:rPr>
              <a:t>  python version = 3.12.3 (main, Apr 10 2024, 05:33:47) [GCC 13.2.0]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bin/</a:t>
            </a:r>
            <a:r>
              <a:rPr lang="en-US" sz="1050" err="1">
                <a:solidFill>
                  <a:srgbClr val="EEE8D5"/>
                </a:solidFill>
                <a:latin typeface="Consolas" panose="020B0609020204030204" pitchFamily="49" charset="0"/>
              </a:rPr>
              <a:t>python3</a:t>
            </a:r>
            <a:r>
              <a:rPr lang="en-US" sz="1050">
                <a:solidFill>
                  <a:srgbClr val="EEE8D5"/>
                </a:solidFill>
                <a:latin typeface="Consolas" panose="020B0609020204030204" pitchFamily="49" charset="0"/>
              </a:rPr>
              <a:t>)</a:t>
            </a:r>
          </a:p>
          <a:p>
            <a:pPr lvl="1"/>
            <a:r>
              <a:rPr lang="en-US" sz="1050">
                <a:solidFill>
                  <a:srgbClr val="EEE8D5"/>
                </a:solidFill>
                <a:latin typeface="Consolas" panose="020B0609020204030204" pitchFamily="49" charset="0"/>
              </a:rPr>
              <a:t>  jinja version = 3.1.4</a:t>
            </a:r>
          </a:p>
          <a:p>
            <a:pPr lvl="1"/>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libyaml</a:t>
            </a:r>
            <a:r>
              <a:rPr lang="en-US" sz="1050">
                <a:solidFill>
                  <a:srgbClr val="EEE8D5"/>
                </a:solidFill>
                <a:latin typeface="Consolas" panose="020B0609020204030204" pitchFamily="49" charset="0"/>
              </a:rPr>
              <a:t> = True</a:t>
            </a: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9" name="Rectangle: Rounded Corners 8">
            <a:extLst>
              <a:ext uri="{FF2B5EF4-FFF2-40B4-BE49-F238E27FC236}">
                <a16:creationId xmlns:a16="http://schemas.microsoft.com/office/drawing/2014/main" id="{696415D3-221E-C514-59CA-A0A57109A27E}"/>
              </a:ext>
            </a:extLst>
          </p:cNvPr>
          <p:cNvSpPr/>
          <p:nvPr/>
        </p:nvSpPr>
        <p:spPr>
          <a:xfrm>
            <a:off x="5854891" y="3821370"/>
            <a:ext cx="3183602" cy="25930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468106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nsible Collections</a:t>
            </a:r>
          </a:p>
        </p:txBody>
      </p:sp>
      <p:sp>
        <p:nvSpPr>
          <p:cNvPr id="2" name="Footer Placeholder 6">
            <a:extLst>
              <a:ext uri="{FF2B5EF4-FFF2-40B4-BE49-F238E27FC236}">
                <a16:creationId xmlns:a16="http://schemas.microsoft.com/office/drawing/2014/main" id="{BCDEC502-98D2-2BE1-83D7-7542319A002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BF78579-E9B0-3316-8A52-54306D0ECA8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7" name="Picture 6">
            <a:extLst>
              <a:ext uri="{FF2B5EF4-FFF2-40B4-BE49-F238E27FC236}">
                <a16:creationId xmlns:a16="http://schemas.microsoft.com/office/drawing/2014/main" id="{7D670DAC-AB9A-4E67-B563-21F399B61E68}"/>
              </a:ext>
            </a:extLst>
          </p:cNvPr>
          <p:cNvPicPr>
            <a:picLocks noChangeAspect="1"/>
          </p:cNvPicPr>
          <p:nvPr/>
        </p:nvPicPr>
        <p:blipFill rotWithShape="1">
          <a:blip r:embed="rId3"/>
          <a:srcRect t="1130" b="1"/>
          <a:stretch/>
        </p:blipFill>
        <p:spPr>
          <a:xfrm>
            <a:off x="540000" y="2084091"/>
            <a:ext cx="5725324" cy="1789553"/>
          </a:xfrm>
          <a:prstGeom prst="rect">
            <a:avLst/>
          </a:prstGeom>
        </p:spPr>
      </p:pic>
      <p:pic>
        <p:nvPicPr>
          <p:cNvPr id="9" name="Picture 8">
            <a:extLst>
              <a:ext uri="{FF2B5EF4-FFF2-40B4-BE49-F238E27FC236}">
                <a16:creationId xmlns:a16="http://schemas.microsoft.com/office/drawing/2014/main" id="{A86868A0-95B8-7ADB-9EF3-DC56E2D3FA45}"/>
              </a:ext>
            </a:extLst>
          </p:cNvPr>
          <p:cNvPicPr>
            <a:picLocks noChangeAspect="1"/>
          </p:cNvPicPr>
          <p:nvPr/>
        </p:nvPicPr>
        <p:blipFill>
          <a:blip r:embed="rId4"/>
          <a:stretch>
            <a:fillRect/>
          </a:stretch>
        </p:blipFill>
        <p:spPr>
          <a:xfrm>
            <a:off x="540000" y="3975944"/>
            <a:ext cx="6115904" cy="2019582"/>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2CEB6283-97FE-9E3F-7985-A0425839CF3A}"/>
              </a:ext>
            </a:extLst>
          </p:cNvPr>
          <p:cNvSpPr txBox="1">
            <a:spLocks/>
          </p:cNvSpPr>
          <p:nvPr/>
        </p:nvSpPr>
        <p:spPr bwMode="gray">
          <a:xfrm>
            <a:off x="540000" y="800856"/>
            <a:ext cx="11109600" cy="509237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Installing</a:t>
            </a:r>
            <a:r>
              <a:rPr lang="nb-NO" sz="1600" dirty="0"/>
              <a:t> in a Python </a:t>
            </a:r>
            <a:r>
              <a:rPr lang="nb-NO" sz="1600" dirty="0" err="1"/>
              <a:t>VENV</a:t>
            </a:r>
            <a:r>
              <a:rPr lang="nb-NO" sz="1600" dirty="0"/>
              <a:t> (Virtual Environment)</a:t>
            </a:r>
          </a:p>
          <a:p>
            <a:pPr lvl="1">
              <a:lnSpc>
                <a:spcPct val="110000"/>
              </a:lnSpc>
            </a:pPr>
            <a:r>
              <a:rPr lang="nb-NO" sz="1400" dirty="0" err="1">
                <a:hlinkClick r:id="rId5"/>
              </a:rPr>
              <a:t>https</a:t>
            </a:r>
            <a:r>
              <a:rPr lang="nb-NO" sz="1400" dirty="0">
                <a:hlinkClick r:id="rId5"/>
              </a:rPr>
              <a:t>://</a:t>
            </a:r>
            <a:r>
              <a:rPr lang="nb-NO" sz="1400" dirty="0" err="1">
                <a:hlinkClick r:id="rId5"/>
              </a:rPr>
              <a:t>docs.ansible.com</a:t>
            </a:r>
            <a:r>
              <a:rPr lang="nb-NO" sz="1400" dirty="0">
                <a:hlinkClick r:id="rId5"/>
              </a:rPr>
              <a:t>/</a:t>
            </a:r>
            <a:r>
              <a:rPr lang="nb-NO" sz="1400" dirty="0" err="1">
                <a:hlinkClick r:id="rId5"/>
              </a:rPr>
              <a:t>ansible</a:t>
            </a:r>
            <a:r>
              <a:rPr lang="nb-NO" sz="1400" dirty="0">
                <a:hlinkClick r:id="rId5"/>
              </a:rPr>
              <a:t>/latest/</a:t>
            </a:r>
            <a:r>
              <a:rPr lang="nb-NO" sz="1400" dirty="0" err="1">
                <a:hlinkClick r:id="rId5"/>
              </a:rPr>
              <a:t>collections</a:t>
            </a:r>
            <a:r>
              <a:rPr lang="nb-NO" sz="1400" dirty="0">
                <a:hlinkClick r:id="rId5"/>
              </a:rPr>
              <a:t>/</a:t>
            </a:r>
            <a:r>
              <a:rPr lang="nb-NO" sz="1400" dirty="0" err="1">
                <a:hlinkClick r:id="rId5"/>
              </a:rPr>
              <a:t>index.html#list-of-collections</a:t>
            </a:r>
            <a:endParaRPr lang="nb-NO" sz="1400" dirty="0"/>
          </a:p>
          <a:p>
            <a:pPr>
              <a:lnSpc>
                <a:spcPct val="110000"/>
              </a:lnSpc>
            </a:pPr>
            <a:r>
              <a:rPr lang="nb-NO" sz="1600" dirty="0"/>
              <a:t>This is </a:t>
            </a:r>
            <a:r>
              <a:rPr lang="nb-NO" sz="1600" dirty="0" err="1"/>
              <a:t>how</a:t>
            </a:r>
            <a:r>
              <a:rPr lang="nb-NO" sz="1600" dirty="0"/>
              <a:t> to </a:t>
            </a:r>
            <a:r>
              <a:rPr lang="nb-NO" sz="1600" dirty="0" err="1"/>
              <a:t>look</a:t>
            </a:r>
            <a:r>
              <a:rPr lang="nb-NO" sz="1600" dirty="0"/>
              <a:t> up </a:t>
            </a:r>
            <a:r>
              <a:rPr lang="nb-NO" sz="1600" dirty="0" err="1"/>
              <a:t>which</a:t>
            </a:r>
            <a:r>
              <a:rPr lang="nb-NO" sz="1600" dirty="0"/>
              <a:t> </a:t>
            </a:r>
            <a:r>
              <a:rPr lang="nb-NO" sz="1600" dirty="0" err="1"/>
              <a:t>collections</a:t>
            </a:r>
            <a:r>
              <a:rPr lang="nb-NO" sz="1600" dirty="0"/>
              <a:t> </a:t>
            </a:r>
            <a:r>
              <a:rPr lang="nb-NO" sz="1600" dirty="0" err="1"/>
              <a:t>you</a:t>
            </a:r>
            <a:r>
              <a:rPr lang="nb-NO" sz="1600" dirty="0"/>
              <a:t> have </a:t>
            </a:r>
            <a:r>
              <a:rPr lang="nb-NO" sz="1600" dirty="0" err="1"/>
              <a:t>installed</a:t>
            </a:r>
            <a:r>
              <a:rPr lang="nb-NO" sz="1600" dirty="0"/>
              <a:t> in </a:t>
            </a:r>
            <a:r>
              <a:rPr lang="nb-NO" sz="1600" dirty="0" err="1"/>
              <a:t>your</a:t>
            </a:r>
            <a:r>
              <a:rPr lang="nb-NO" sz="1600" dirty="0"/>
              <a:t> </a:t>
            </a:r>
            <a:r>
              <a:rPr lang="nb-NO" sz="1600" dirty="0" err="1"/>
              <a:t>environment</a:t>
            </a:r>
            <a:endParaRPr lang="nb-NO" sz="1600" dirty="0"/>
          </a:p>
        </p:txBody>
      </p:sp>
    </p:spTree>
    <p:extLst>
      <p:ext uri="{BB962C8B-B14F-4D97-AF65-F5344CB8AC3E}">
        <p14:creationId xmlns:p14="http://schemas.microsoft.com/office/powerpoint/2010/main" val="125077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400" dirty="0" err="1"/>
              <a:t>Navigating</a:t>
            </a:r>
            <a:r>
              <a:rPr lang="nb-NO" sz="1400" dirty="0"/>
              <a:t> </a:t>
            </a:r>
            <a:r>
              <a:rPr lang="nb-NO" sz="1400" dirty="0" err="1"/>
              <a:t>the</a:t>
            </a:r>
            <a:r>
              <a:rPr lang="nb-NO" sz="1400" dirty="0"/>
              <a:t> </a:t>
            </a:r>
            <a:r>
              <a:rPr lang="nb-NO" sz="1400" dirty="0" err="1"/>
              <a:t>documentation</a:t>
            </a:r>
            <a:endParaRPr lang="nb-NO" sz="1400" dirty="0"/>
          </a:p>
          <a:p>
            <a:pPr>
              <a:lnSpc>
                <a:spcPct val="110000"/>
              </a:lnSpc>
            </a:pPr>
            <a:r>
              <a:rPr lang="nb-NO" sz="1400" dirty="0" err="1">
                <a:hlinkClick r:id="rId3"/>
              </a:rPr>
              <a:t>https</a:t>
            </a:r>
            <a:r>
              <a:rPr lang="nb-NO" sz="1400" dirty="0">
                <a:hlinkClick r:id="rId3"/>
              </a:rPr>
              <a:t>://</a:t>
            </a:r>
            <a:r>
              <a:rPr lang="nb-NO" sz="1400" dirty="0" err="1">
                <a:hlinkClick r:id="rId3"/>
              </a:rPr>
              <a:t>docs.ansible.com</a:t>
            </a:r>
            <a:r>
              <a:rPr lang="nb-NO" sz="1400" dirty="0">
                <a:hlinkClick r:id="rId3"/>
              </a:rPr>
              <a:t>/</a:t>
            </a:r>
            <a:r>
              <a:rPr lang="nb-NO" sz="1400" dirty="0" err="1">
                <a:hlinkClick r:id="rId3"/>
              </a:rPr>
              <a:t>ansible</a:t>
            </a:r>
            <a:r>
              <a:rPr lang="nb-NO" sz="1400" dirty="0">
                <a:hlinkClick r:id="rId3"/>
              </a:rPr>
              <a:t>/latest/</a:t>
            </a:r>
            <a:r>
              <a:rPr lang="nb-NO" sz="1400" dirty="0" err="1">
                <a:hlinkClick r:id="rId3"/>
              </a:rPr>
              <a:t>collections</a:t>
            </a:r>
            <a:r>
              <a:rPr lang="nb-NO" sz="1400" dirty="0">
                <a:hlinkClick r:id="rId3"/>
              </a:rPr>
              <a:t>/</a:t>
            </a:r>
            <a:r>
              <a:rPr lang="nb-NO" sz="1400" dirty="0" err="1">
                <a:hlinkClick r:id="rId3"/>
              </a:rPr>
              <a:t>index.html#list-of-collections</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nsible Collections</a:t>
            </a:r>
          </a:p>
        </p:txBody>
      </p:sp>
      <p:pic>
        <p:nvPicPr>
          <p:cNvPr id="3" name="Picture 2">
            <a:extLst>
              <a:ext uri="{FF2B5EF4-FFF2-40B4-BE49-F238E27FC236}">
                <a16:creationId xmlns:a16="http://schemas.microsoft.com/office/drawing/2014/main" id="{239ACFC8-173D-DC74-B0A3-696A2B66F272}"/>
              </a:ext>
            </a:extLst>
          </p:cNvPr>
          <p:cNvPicPr>
            <a:picLocks noChangeAspect="1"/>
          </p:cNvPicPr>
          <p:nvPr/>
        </p:nvPicPr>
        <p:blipFill rotWithShape="1">
          <a:blip r:embed="rId4"/>
          <a:srcRect r="44211"/>
          <a:stretch/>
        </p:blipFill>
        <p:spPr>
          <a:xfrm>
            <a:off x="226908" y="2337034"/>
            <a:ext cx="1638468" cy="3026639"/>
          </a:xfrm>
          <a:prstGeom prst="rect">
            <a:avLst/>
          </a:prstGeom>
        </p:spPr>
      </p:pic>
      <p:pic>
        <p:nvPicPr>
          <p:cNvPr id="7" name="Picture 6">
            <a:extLst>
              <a:ext uri="{FF2B5EF4-FFF2-40B4-BE49-F238E27FC236}">
                <a16:creationId xmlns:a16="http://schemas.microsoft.com/office/drawing/2014/main" id="{52A60F10-AEF6-ED03-3095-C22AC630EA84}"/>
              </a:ext>
            </a:extLst>
          </p:cNvPr>
          <p:cNvPicPr>
            <a:picLocks noChangeAspect="1"/>
          </p:cNvPicPr>
          <p:nvPr/>
        </p:nvPicPr>
        <p:blipFill>
          <a:blip r:embed="rId5"/>
          <a:stretch>
            <a:fillRect/>
          </a:stretch>
        </p:blipFill>
        <p:spPr>
          <a:xfrm>
            <a:off x="2543574" y="1877168"/>
            <a:ext cx="3372594" cy="4090455"/>
          </a:xfrm>
          <a:prstGeom prst="rect">
            <a:avLst/>
          </a:prstGeom>
        </p:spPr>
      </p:pic>
      <p:pic>
        <p:nvPicPr>
          <p:cNvPr id="9" name="Picture 8">
            <a:extLst>
              <a:ext uri="{FF2B5EF4-FFF2-40B4-BE49-F238E27FC236}">
                <a16:creationId xmlns:a16="http://schemas.microsoft.com/office/drawing/2014/main" id="{6CFEA48C-1BC9-4C25-2592-55C133B06764}"/>
              </a:ext>
            </a:extLst>
          </p:cNvPr>
          <p:cNvPicPr>
            <a:picLocks noChangeAspect="1"/>
          </p:cNvPicPr>
          <p:nvPr/>
        </p:nvPicPr>
        <p:blipFill>
          <a:blip r:embed="rId6"/>
          <a:stretch>
            <a:fillRect/>
          </a:stretch>
        </p:blipFill>
        <p:spPr>
          <a:xfrm>
            <a:off x="8552266" y="788570"/>
            <a:ext cx="3410426" cy="1962424"/>
          </a:xfrm>
          <a:prstGeom prst="rect">
            <a:avLst/>
          </a:prstGeom>
        </p:spPr>
      </p:pic>
      <p:pic>
        <p:nvPicPr>
          <p:cNvPr id="11" name="Picture 10">
            <a:extLst>
              <a:ext uri="{FF2B5EF4-FFF2-40B4-BE49-F238E27FC236}">
                <a16:creationId xmlns:a16="http://schemas.microsoft.com/office/drawing/2014/main" id="{048B6A1A-FB79-E01C-84F4-801DB33B13E3}"/>
              </a:ext>
            </a:extLst>
          </p:cNvPr>
          <p:cNvPicPr>
            <a:picLocks noChangeAspect="1"/>
          </p:cNvPicPr>
          <p:nvPr/>
        </p:nvPicPr>
        <p:blipFill>
          <a:blip r:embed="rId7"/>
          <a:stretch>
            <a:fillRect/>
          </a:stretch>
        </p:blipFill>
        <p:spPr>
          <a:xfrm>
            <a:off x="6989011" y="3822543"/>
            <a:ext cx="4973681" cy="1170278"/>
          </a:xfrm>
          <a:prstGeom prst="rect">
            <a:avLst/>
          </a:prstGeom>
        </p:spPr>
      </p:pic>
      <p:cxnSp>
        <p:nvCxnSpPr>
          <p:cNvPr id="13" name="Straight Arrow Connector 12">
            <a:extLst>
              <a:ext uri="{FF2B5EF4-FFF2-40B4-BE49-F238E27FC236}">
                <a16:creationId xmlns:a16="http://schemas.microsoft.com/office/drawing/2014/main" id="{043FDF76-650E-664A-6950-61FF8B625ECD}"/>
              </a:ext>
            </a:extLst>
          </p:cNvPr>
          <p:cNvCxnSpPr/>
          <p:nvPr/>
        </p:nvCxnSpPr>
        <p:spPr>
          <a:xfrm flipV="1">
            <a:off x="822960" y="4224528"/>
            <a:ext cx="1720614" cy="9966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91DF3D52-1978-598A-4AA7-4F713D9A4DDF}"/>
              </a:ext>
            </a:extLst>
          </p:cNvPr>
          <p:cNvCxnSpPr>
            <a:cxnSpLocks/>
          </p:cNvCxnSpPr>
          <p:nvPr/>
        </p:nvCxnSpPr>
        <p:spPr>
          <a:xfrm flipV="1">
            <a:off x="3581400" y="2099916"/>
            <a:ext cx="4786223" cy="6083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78BF0BEF-AD42-B279-AE4A-B511D401801C}"/>
              </a:ext>
            </a:extLst>
          </p:cNvPr>
          <p:cNvCxnSpPr>
            <a:cxnSpLocks/>
          </p:cNvCxnSpPr>
          <p:nvPr/>
        </p:nvCxnSpPr>
        <p:spPr>
          <a:xfrm>
            <a:off x="3581400" y="2708275"/>
            <a:ext cx="3407611" cy="15162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0190F51F-81F8-0E60-769D-362E06E53CD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F340342-FF92-B5AF-4139-3E83B013C09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Tree>
    <p:extLst>
      <p:ext uri="{BB962C8B-B14F-4D97-AF65-F5344CB8AC3E}">
        <p14:creationId xmlns:p14="http://schemas.microsoft.com/office/powerpoint/2010/main" val="87909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40000" y="972000"/>
            <a:ext cx="8465264" cy="5275800"/>
          </a:xfrm>
        </p:spPr>
        <p:txBody>
          <a:bodyPr>
            <a:normAutofit/>
          </a:bodyPr>
          <a:lstStyle/>
          <a:p>
            <a:pPr>
              <a:lnSpc>
                <a:spcPct val="110000"/>
              </a:lnSpc>
            </a:pPr>
            <a:r>
              <a:rPr lang="nb-NO" sz="1400" dirty="0" err="1"/>
              <a:t>Check</a:t>
            </a:r>
            <a:r>
              <a:rPr lang="nb-NO" sz="1400" dirty="0"/>
              <a:t> </a:t>
            </a:r>
            <a:r>
              <a:rPr lang="nb-NO" sz="1400" dirty="0" err="1"/>
              <a:t>which</a:t>
            </a:r>
            <a:r>
              <a:rPr lang="nb-NO" sz="1400" dirty="0"/>
              <a:t> Python </a:t>
            </a:r>
            <a:r>
              <a:rPr lang="nb-NO" sz="1400" dirty="0" err="1"/>
              <a:t>environment</a:t>
            </a:r>
            <a:r>
              <a:rPr lang="nb-NO" sz="1400" dirty="0"/>
              <a:t> is used by </a:t>
            </a:r>
            <a:r>
              <a:rPr lang="nb-NO" sz="1400" dirty="0" err="1"/>
              <a:t>Ansible</a:t>
            </a: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Select </a:t>
            </a:r>
            <a:r>
              <a:rPr lang="nb-NO" sz="1400" dirty="0" err="1"/>
              <a:t>python</a:t>
            </a:r>
            <a:r>
              <a:rPr lang="nb-NO" sz="1400" dirty="0"/>
              <a:t> </a:t>
            </a:r>
            <a:r>
              <a:rPr lang="nb-NO" sz="1400" dirty="0" err="1"/>
              <a:t>environment</a:t>
            </a:r>
            <a:r>
              <a:rPr lang="nb-NO" sz="1400" dirty="0"/>
              <a:t> (VS Code, </a:t>
            </a:r>
            <a:r>
              <a:rPr lang="nb-NO" sz="1400" dirty="0" err="1"/>
              <a:t>bottom</a:t>
            </a:r>
            <a:r>
              <a:rPr lang="nb-NO" sz="1400" dirty="0"/>
              <a:t> line)</a:t>
            </a:r>
          </a:p>
          <a:p>
            <a:pPr>
              <a:lnSpc>
                <a:spcPct val="110000"/>
              </a:lnSpc>
            </a:pPr>
            <a:endParaRPr lang="nb-NO" sz="1400" dirty="0"/>
          </a:p>
          <a:p>
            <a:pPr>
              <a:lnSpc>
                <a:spcPct val="110000"/>
              </a:lnSpc>
            </a:pPr>
            <a:endParaRPr lang="nb-NO" sz="1400" dirty="0"/>
          </a:p>
          <a:p>
            <a:pPr>
              <a:lnSpc>
                <a:spcPct val="110000"/>
              </a:lnSpc>
            </a:pPr>
            <a:r>
              <a:rPr lang="nb-NO" sz="1400" dirty="0"/>
              <a:t>Select «Enter interpreter </a:t>
            </a:r>
            <a:r>
              <a:rPr lang="nb-NO" sz="1400" dirty="0" err="1"/>
              <a:t>path</a:t>
            </a:r>
            <a:r>
              <a:rPr lang="nb-NO" sz="1400" dirty="0"/>
              <a:t>...»</a:t>
            </a:r>
          </a:p>
          <a:p>
            <a:pPr>
              <a:lnSpc>
                <a:spcPct val="110000"/>
              </a:lnSpc>
            </a:pP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Enter </a:t>
            </a:r>
            <a:r>
              <a:rPr lang="nb-NO" sz="1400" dirty="0" err="1"/>
              <a:t>the</a:t>
            </a:r>
            <a:r>
              <a:rPr lang="nb-NO" sz="1400" dirty="0"/>
              <a:t> </a:t>
            </a:r>
            <a:r>
              <a:rPr lang="nb-NO" sz="1400" dirty="0" err="1"/>
              <a:t>python</a:t>
            </a:r>
            <a:r>
              <a:rPr lang="nb-NO" sz="1400" dirty="0"/>
              <a:t> </a:t>
            </a:r>
            <a:r>
              <a:rPr lang="nb-NO" sz="1400" dirty="0" err="1"/>
              <a:t>environment</a:t>
            </a:r>
            <a:r>
              <a:rPr lang="nb-NO" sz="1400" dirty="0"/>
              <a:t> </a:t>
            </a:r>
            <a:r>
              <a:rPr lang="nb-NO" sz="1400" dirty="0" err="1"/>
              <a:t>that</a:t>
            </a:r>
            <a:r>
              <a:rPr lang="nb-NO" sz="1400" dirty="0"/>
              <a:t> </a:t>
            </a:r>
            <a:r>
              <a:rPr lang="nb-NO" sz="1400" dirty="0" err="1"/>
              <a:t>Ansible</a:t>
            </a:r>
            <a:r>
              <a:rPr lang="nb-NO" sz="1400" dirty="0"/>
              <a:t> </a:t>
            </a:r>
            <a:r>
              <a:rPr lang="nb-NO" sz="1400" dirty="0" err="1"/>
              <a:t>use</a:t>
            </a:r>
            <a:r>
              <a:rPr lang="nb-NO" sz="1400" dirty="0"/>
              <a:t>, </a:t>
            </a:r>
            <a:r>
              <a:rPr lang="nb-NO" sz="1400" dirty="0" err="1"/>
              <a:t>into</a:t>
            </a:r>
            <a:r>
              <a:rPr lang="nb-NO" sz="1400" dirty="0"/>
              <a:t> </a:t>
            </a:r>
            <a:r>
              <a:rPr lang="nb-NO" sz="1400" dirty="0" err="1"/>
              <a:t>this</a:t>
            </a:r>
            <a:r>
              <a:rPr lang="nb-NO" sz="1400" dirty="0"/>
              <a:t> line and press Enter</a:t>
            </a:r>
          </a:p>
          <a:p>
            <a:pPr>
              <a:lnSpc>
                <a:spcPct val="110000"/>
              </a:lnSpc>
            </a:pPr>
            <a:endParaRPr lang="nb-NO" sz="1400" dirty="0"/>
          </a:p>
          <a:p>
            <a:pPr>
              <a:lnSpc>
                <a:spcPct val="110000"/>
              </a:lnSpc>
            </a:pPr>
            <a:endParaRPr lang="nb-NO" sz="1400" dirty="0"/>
          </a:p>
          <a:p>
            <a:pPr>
              <a:lnSpc>
                <a:spcPct val="110000"/>
              </a:lnSpc>
            </a:pPr>
            <a:r>
              <a:rPr lang="nb-NO" sz="1400" dirty="0" err="1"/>
              <a:t>Bottom</a:t>
            </a:r>
            <a:r>
              <a:rPr lang="nb-NO" sz="1400" dirty="0"/>
              <a:t> line </a:t>
            </a:r>
            <a:r>
              <a:rPr lang="nb-NO" sz="1400" dirty="0" err="1"/>
              <a:t>should</a:t>
            </a:r>
            <a:r>
              <a:rPr lang="nb-NO" sz="1400" dirty="0"/>
              <a:t> </a:t>
            </a:r>
            <a:r>
              <a:rPr lang="nb-NO" sz="1400" dirty="0" err="1"/>
              <a:t>now</a:t>
            </a:r>
            <a:r>
              <a:rPr lang="nb-NO" sz="1400" dirty="0"/>
              <a:t> show </a:t>
            </a:r>
            <a:r>
              <a:rPr lang="nb-NO" sz="1400" dirty="0" err="1"/>
              <a:t>the</a:t>
            </a:r>
            <a:r>
              <a:rPr lang="nb-NO" sz="1400" dirty="0"/>
              <a:t> </a:t>
            </a:r>
            <a:r>
              <a:rPr lang="nb-NO" sz="1400" dirty="0" err="1"/>
              <a:t>Ansible</a:t>
            </a:r>
            <a:r>
              <a:rPr lang="nb-NO" sz="1400" dirty="0"/>
              <a:t> </a:t>
            </a:r>
            <a:r>
              <a:rPr lang="nb-NO" sz="1400" dirty="0" err="1"/>
              <a:t>version</a:t>
            </a:r>
            <a:r>
              <a:rPr lang="nb-NO" sz="1400" dirty="0"/>
              <a:t> (2.17.3) and Python </a:t>
            </a:r>
            <a:r>
              <a:rPr lang="nb-NO" sz="1400" dirty="0" err="1"/>
              <a:t>version</a:t>
            </a:r>
            <a:r>
              <a:rPr lang="nb-NO" sz="1400" dirty="0"/>
              <a:t> and </a:t>
            </a:r>
            <a:r>
              <a:rPr lang="nb-NO" sz="1400" dirty="0" err="1"/>
              <a:t>venv</a:t>
            </a:r>
            <a:endParaRPr lang="nb-NO" sz="1400" dirty="0"/>
          </a:p>
        </p:txBody>
      </p:sp>
      <p:pic>
        <p:nvPicPr>
          <p:cNvPr id="6" name="Picture 5">
            <a:extLst>
              <a:ext uri="{FF2B5EF4-FFF2-40B4-BE49-F238E27FC236}">
                <a16:creationId xmlns:a16="http://schemas.microsoft.com/office/drawing/2014/main" id="{BC118955-017A-7218-BB6B-D0BB0299B8CD}"/>
              </a:ext>
            </a:extLst>
          </p:cNvPr>
          <p:cNvPicPr>
            <a:picLocks noChangeAspect="1"/>
          </p:cNvPicPr>
          <p:nvPr/>
        </p:nvPicPr>
        <p:blipFill>
          <a:blip r:embed="rId3"/>
          <a:stretch>
            <a:fillRect/>
          </a:stretch>
        </p:blipFill>
        <p:spPr>
          <a:xfrm>
            <a:off x="755153" y="5034971"/>
            <a:ext cx="2962688" cy="628738"/>
          </a:xfrm>
          <a:prstGeom prst="rect">
            <a:avLst/>
          </a:prstGeom>
        </p:spPr>
      </p:pic>
      <p:pic>
        <p:nvPicPr>
          <p:cNvPr id="13" name="Picture 12">
            <a:extLst>
              <a:ext uri="{FF2B5EF4-FFF2-40B4-BE49-F238E27FC236}">
                <a16:creationId xmlns:a16="http://schemas.microsoft.com/office/drawing/2014/main" id="{3015E50D-B367-F00A-464A-7AD575C0650F}"/>
              </a:ext>
            </a:extLst>
          </p:cNvPr>
          <p:cNvPicPr>
            <a:picLocks noChangeAspect="1"/>
          </p:cNvPicPr>
          <p:nvPr/>
        </p:nvPicPr>
        <p:blipFill rotWithShape="1">
          <a:blip r:embed="rId4"/>
          <a:srcRect t="43120" b="-1"/>
          <a:stretch/>
        </p:blipFill>
        <p:spPr>
          <a:xfrm>
            <a:off x="755153" y="2547808"/>
            <a:ext cx="3238952" cy="709837"/>
          </a:xfrm>
          <a:prstGeom prst="rect">
            <a:avLst/>
          </a:prstGeom>
        </p:spPr>
      </p:pic>
      <p:sp>
        <p:nvSpPr>
          <p:cNvPr id="9" name="TextBox 8">
            <a:extLst>
              <a:ext uri="{FF2B5EF4-FFF2-40B4-BE49-F238E27FC236}">
                <a16:creationId xmlns:a16="http://schemas.microsoft.com/office/drawing/2014/main" id="{76667482-48B7-C29F-CD5F-748E1DA51AFA}"/>
              </a:ext>
            </a:extLst>
          </p:cNvPr>
          <p:cNvSpPr txBox="1"/>
          <p:nvPr/>
        </p:nvSpPr>
        <p:spPr>
          <a:xfrm>
            <a:off x="755153" y="1499027"/>
            <a:ext cx="9890101"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fr-FR" sz="1050">
                <a:solidFill>
                  <a:srgbClr val="EEE8D5"/>
                </a:solidFill>
                <a:latin typeface="Consolas" panose="020B0609020204030204" pitchFamily="49" charset="0"/>
              </a:rPr>
              <a:t>source ~/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6D6D6D"/>
                </a:solidFill>
              </a:rPr>
              <a:t>) </a:t>
            </a:r>
            <a:r>
              <a:rPr lang="fr-FR" sz="1050" err="1">
                <a:solidFill>
                  <a:srgbClr val="6D6D6D"/>
                </a:solidFill>
              </a:rPr>
              <a:t>devnet-adm@ubuntu-devnet</a:t>
            </a:r>
            <a:r>
              <a:rPr lang="fr-FR" sz="1050">
                <a:solidFill>
                  <a:srgbClr val="6D6D6D"/>
                </a:solidFill>
              </a:rPr>
              <a:t>:~</a:t>
            </a:r>
            <a:r>
              <a:rPr lang="fr-FR" sz="1050">
                <a:solidFill>
                  <a:srgbClr val="EEE8D5"/>
                </a:solidFill>
                <a:latin typeface="Consolas" panose="020B0609020204030204" pitchFamily="49" charset="0"/>
              </a:rPr>
              <a:t>$ </a:t>
            </a:r>
            <a:r>
              <a:rPr lang="en-US" sz="1050">
                <a:solidFill>
                  <a:srgbClr val="EEE8D5"/>
                </a:solidFill>
                <a:latin typeface="Consolas" panose="020B0609020204030204" pitchFamily="49" charset="0"/>
              </a:rPr>
              <a:t>ansible --version | grep "python version"</a:t>
            </a:r>
          </a:p>
          <a:p>
            <a:pPr lvl="1"/>
            <a:r>
              <a:rPr lang="en-US" sz="1050">
                <a:solidFill>
                  <a:srgbClr val="EEE8D5"/>
                </a:solidFill>
                <a:latin typeface="Consolas" panose="020B0609020204030204" pitchFamily="49" charset="0"/>
              </a:rPr>
              <a:t>  python version = 3.12.3 (main, Apr 10 2024, 05:33:47) [GCC 13.2.0] (/home/</a:t>
            </a:r>
            <a:r>
              <a:rPr lang="en-US" sz="1050" err="1">
                <a:solidFill>
                  <a:srgbClr val="EEE8D5"/>
                </a:solidFill>
                <a:latin typeface="Consolas" panose="020B0609020204030204" pitchFamily="49" charset="0"/>
              </a:rPr>
              <a:t>devnet-adm</a:t>
            </a:r>
            <a:r>
              <a:rPr lang="en-US" sz="1050">
                <a:solidFill>
                  <a:srgbClr val="EEE8D5"/>
                </a:solidFill>
                <a:latin typeface="Consolas" panose="020B0609020204030204" pitchFamily="49" charset="0"/>
              </a:rPr>
              <a:t>/ansible-</a:t>
            </a:r>
            <a:r>
              <a:rPr lang="en-US" sz="1050" err="1">
                <a:solidFill>
                  <a:srgbClr val="EEE8D5"/>
                </a:solidFill>
                <a:latin typeface="Consolas" panose="020B0609020204030204" pitchFamily="49" charset="0"/>
              </a:rPr>
              <a:t>venv</a:t>
            </a:r>
            <a:r>
              <a:rPr lang="en-US" sz="1050">
                <a:solidFill>
                  <a:srgbClr val="EEE8D5"/>
                </a:solidFill>
                <a:latin typeface="Consolas" panose="020B0609020204030204" pitchFamily="49" charset="0"/>
              </a:rPr>
              <a:t>/bin/</a:t>
            </a:r>
            <a:r>
              <a:rPr lang="en-US" sz="1050" err="1">
                <a:solidFill>
                  <a:srgbClr val="EEE8D5"/>
                </a:solidFill>
                <a:latin typeface="Consolas" panose="020B0609020204030204" pitchFamily="49" charset="0"/>
              </a:rPr>
              <a:t>python3</a:t>
            </a:r>
            <a:r>
              <a:rPr lang="en-US" sz="1050">
                <a:solidFill>
                  <a:srgbClr val="EEE8D5"/>
                </a:solidFill>
                <a:latin typeface="Consolas" panose="020B0609020204030204" pitchFamily="49" charset="0"/>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Python environment for Ansible</a:t>
            </a:r>
          </a:p>
        </p:txBody>
      </p:sp>
      <p:cxnSp>
        <p:nvCxnSpPr>
          <p:cNvPr id="8" name="Straight Arrow Connector 7">
            <a:extLst>
              <a:ext uri="{FF2B5EF4-FFF2-40B4-BE49-F238E27FC236}">
                <a16:creationId xmlns:a16="http://schemas.microsoft.com/office/drawing/2014/main" id="{87407839-F583-F4F8-6870-7596EB34EDF4}"/>
              </a:ext>
            </a:extLst>
          </p:cNvPr>
          <p:cNvCxnSpPr>
            <a:cxnSpLocks/>
          </p:cNvCxnSpPr>
          <p:nvPr/>
        </p:nvCxnSpPr>
        <p:spPr>
          <a:xfrm>
            <a:off x="2467155" y="3101665"/>
            <a:ext cx="475830" cy="5849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1A11297B-9D47-93B8-252D-68759FA77E1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E2DB7780-0CB7-A551-3EA7-484C310E45A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21" name="Picture 20">
            <a:extLst>
              <a:ext uri="{FF2B5EF4-FFF2-40B4-BE49-F238E27FC236}">
                <a16:creationId xmlns:a16="http://schemas.microsoft.com/office/drawing/2014/main" id="{062B4A05-916E-A35E-8CF6-67FE46A27FA1}"/>
              </a:ext>
            </a:extLst>
          </p:cNvPr>
          <p:cNvPicPr>
            <a:picLocks noChangeAspect="1"/>
          </p:cNvPicPr>
          <p:nvPr/>
        </p:nvPicPr>
        <p:blipFill rotWithShape="1">
          <a:blip r:embed="rId5"/>
          <a:srcRect b="16664"/>
          <a:stretch/>
        </p:blipFill>
        <p:spPr>
          <a:xfrm>
            <a:off x="755153" y="3611914"/>
            <a:ext cx="5687219" cy="1016179"/>
          </a:xfrm>
          <a:prstGeom prst="rect">
            <a:avLst/>
          </a:prstGeom>
        </p:spPr>
      </p:pic>
      <p:cxnSp>
        <p:nvCxnSpPr>
          <p:cNvPr id="10" name="Straight Arrow Connector 9">
            <a:extLst>
              <a:ext uri="{FF2B5EF4-FFF2-40B4-BE49-F238E27FC236}">
                <a16:creationId xmlns:a16="http://schemas.microsoft.com/office/drawing/2014/main" id="{114731E6-C0B6-42E8-0546-511317D59522}"/>
              </a:ext>
            </a:extLst>
          </p:cNvPr>
          <p:cNvCxnSpPr>
            <a:cxnSpLocks/>
          </p:cNvCxnSpPr>
          <p:nvPr/>
        </p:nvCxnSpPr>
        <p:spPr>
          <a:xfrm flipH="1">
            <a:off x="3555894" y="2059321"/>
            <a:ext cx="3838776" cy="3321249"/>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4F842464-3A0A-B8C8-C4F9-2F7A194E41A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378253" y="5881915"/>
            <a:ext cx="2534002" cy="181000"/>
          </a:xfrm>
          <a:prstGeom prst="rect">
            <a:avLst/>
          </a:prstGeom>
        </p:spPr>
      </p:pic>
      <p:sp>
        <p:nvSpPr>
          <p:cNvPr id="4" name="TextBox 3">
            <a:extLst>
              <a:ext uri="{FF2B5EF4-FFF2-40B4-BE49-F238E27FC236}">
                <a16:creationId xmlns:a16="http://schemas.microsoft.com/office/drawing/2014/main" id="{029ED1AA-DA0B-547F-1943-6B940D5DB07C}"/>
              </a:ext>
            </a:extLst>
          </p:cNvPr>
          <p:cNvSpPr txBox="1"/>
          <p:nvPr/>
        </p:nvSpPr>
        <p:spPr>
          <a:xfrm>
            <a:off x="7082711" y="5020795"/>
            <a:ext cx="3953884" cy="246221"/>
          </a:xfrm>
          <a:prstGeom prst="rect">
            <a:avLst/>
          </a:prstGeom>
          <a:noFill/>
          <a:ln>
            <a:solidFill>
              <a:srgbClr val="002B36"/>
            </a:solidFill>
          </a:ln>
        </p:spPr>
        <p:txBody>
          <a:bodyPr wrap="square">
            <a:spAutoFit/>
          </a:bodyPr>
          <a:lstStyle/>
          <a:p>
            <a:r>
              <a:rPr lang="en-US" sz="1000" dirty="0">
                <a:latin typeface="Consolas" panose="020B0609020204030204" pitchFamily="49" charset="0"/>
              </a:rPr>
              <a:t>/home/</a:t>
            </a:r>
            <a:r>
              <a:rPr lang="en-US" sz="1000" dirty="0" err="1">
                <a:latin typeface="Consolas" panose="020B0609020204030204" pitchFamily="49" charset="0"/>
              </a:rPr>
              <a:t>devnet-adm</a:t>
            </a:r>
            <a:r>
              <a:rPr lang="en-US" sz="1000" dirty="0">
                <a:latin typeface="Consolas" panose="020B0609020204030204" pitchFamily="49" charset="0"/>
              </a:rPr>
              <a:t>/ansible-</a:t>
            </a:r>
            <a:r>
              <a:rPr lang="en-US" sz="1000" dirty="0" err="1">
                <a:latin typeface="Consolas" panose="020B0609020204030204" pitchFamily="49" charset="0"/>
              </a:rPr>
              <a:t>venv</a:t>
            </a:r>
            <a:r>
              <a:rPr lang="en-US" sz="1000" dirty="0">
                <a:latin typeface="Consolas" panose="020B0609020204030204" pitchFamily="49" charset="0"/>
              </a:rPr>
              <a:t>/bin/python3</a:t>
            </a:r>
          </a:p>
        </p:txBody>
      </p:sp>
    </p:spTree>
    <p:extLst>
      <p:ext uri="{BB962C8B-B14F-4D97-AF65-F5344CB8AC3E}">
        <p14:creationId xmlns:p14="http://schemas.microsoft.com/office/powerpoint/2010/main" val="2554802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 - Choose file type</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972000"/>
            <a:ext cx="7873845" cy="4838400"/>
          </a:xfrm>
        </p:spPr>
        <p:txBody>
          <a:bodyPr>
            <a:normAutofit/>
          </a:bodyPr>
          <a:lstStyle/>
          <a:p>
            <a:pPr>
              <a:lnSpc>
                <a:spcPct val="110000"/>
              </a:lnSpc>
            </a:pPr>
            <a:r>
              <a:rPr lang="nb-NO" sz="1600"/>
              <a:t>If not auto </a:t>
            </a:r>
            <a:r>
              <a:rPr lang="nb-NO" sz="1600" err="1"/>
              <a:t>detected</a:t>
            </a:r>
            <a:r>
              <a:rPr lang="nb-NO" sz="1600"/>
              <a:t>, file type </a:t>
            </a:r>
            <a:r>
              <a:rPr lang="nb-NO" sz="1600" err="1"/>
              <a:t>can</a:t>
            </a:r>
            <a:r>
              <a:rPr lang="nb-NO" sz="1600"/>
              <a:t> be </a:t>
            </a:r>
            <a:r>
              <a:rPr lang="nb-NO" sz="1600" err="1"/>
              <a:t>changed</a:t>
            </a:r>
            <a:r>
              <a:rPr lang="nb-NO" sz="1600"/>
              <a:t> for </a:t>
            </a:r>
            <a:r>
              <a:rPr lang="nb-NO" sz="1600" err="1"/>
              <a:t>open</a:t>
            </a:r>
            <a:r>
              <a:rPr lang="nb-NO" sz="1600"/>
              <a:t> files</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Tips: If </a:t>
            </a:r>
            <a:r>
              <a:rPr lang="nb-NO" sz="1600" err="1"/>
              <a:t>the</a:t>
            </a:r>
            <a:r>
              <a:rPr lang="nb-NO" sz="1600"/>
              <a:t> file </a:t>
            </a:r>
            <a:r>
              <a:rPr lang="nb-NO" sz="1600" err="1"/>
              <a:t>name</a:t>
            </a:r>
            <a:r>
              <a:rPr lang="nb-NO" sz="1600"/>
              <a:t> </a:t>
            </a:r>
            <a:r>
              <a:rPr lang="nb-NO" sz="1600" err="1"/>
              <a:t>contains</a:t>
            </a:r>
            <a:r>
              <a:rPr lang="nb-NO" sz="1600"/>
              <a:t> </a:t>
            </a:r>
            <a:r>
              <a:rPr lang="nb-NO" sz="1600" err="1"/>
              <a:t>the</a:t>
            </a:r>
            <a:r>
              <a:rPr lang="nb-NO" sz="1600"/>
              <a:t> </a:t>
            </a:r>
            <a:r>
              <a:rPr lang="nb-NO" sz="1600" err="1"/>
              <a:t>word</a:t>
            </a:r>
            <a:r>
              <a:rPr lang="nb-NO" sz="1600"/>
              <a:t> «</a:t>
            </a:r>
            <a:r>
              <a:rPr lang="nb-NO" sz="1600" err="1"/>
              <a:t>playbook</a:t>
            </a:r>
            <a:r>
              <a:rPr lang="nb-NO" sz="1600"/>
              <a:t>», it </a:t>
            </a:r>
            <a:r>
              <a:rPr lang="nb-NO" sz="1600" err="1"/>
              <a:t>will</a:t>
            </a:r>
            <a:r>
              <a:rPr lang="nb-NO" sz="1600"/>
              <a:t> </a:t>
            </a:r>
            <a:r>
              <a:rPr lang="nb-NO" sz="1600" err="1"/>
              <a:t>automatically</a:t>
            </a:r>
            <a:r>
              <a:rPr lang="nb-NO" sz="1600"/>
              <a:t> be </a:t>
            </a:r>
            <a:r>
              <a:rPr lang="nb-NO" sz="1600" err="1"/>
              <a:t>recognized</a:t>
            </a:r>
            <a:r>
              <a:rPr lang="nb-NO" sz="1600"/>
              <a:t> as </a:t>
            </a:r>
            <a:r>
              <a:rPr lang="nb-NO" sz="1600" err="1"/>
              <a:t>Ansible</a:t>
            </a:r>
            <a:r>
              <a:rPr lang="nb-NO" sz="1600"/>
              <a:t> by </a:t>
            </a:r>
            <a:r>
              <a:rPr lang="nb-NO" sz="1600" err="1"/>
              <a:t>VS</a:t>
            </a:r>
            <a:r>
              <a:rPr lang="nb-NO" sz="1600"/>
              <a:t> Code (and not general </a:t>
            </a:r>
            <a:r>
              <a:rPr lang="nb-NO" sz="1600" err="1"/>
              <a:t>YAML</a:t>
            </a:r>
            <a:r>
              <a:rPr lang="nb-NO" sz="1600"/>
              <a:t>)</a:t>
            </a:r>
          </a:p>
          <a:p>
            <a:pPr lvl="1">
              <a:lnSpc>
                <a:spcPct val="110000"/>
              </a:lnSpc>
            </a:pPr>
            <a:r>
              <a:rPr lang="nb-NO" sz="1400" err="1"/>
              <a:t>interface-playbook.yaml</a:t>
            </a:r>
            <a:endParaRPr lang="nb-NO" sz="1400"/>
          </a:p>
          <a:p>
            <a:pPr lvl="1">
              <a:lnSpc>
                <a:spcPct val="110000"/>
              </a:lnSpc>
            </a:pPr>
            <a:r>
              <a:rPr lang="nb-NO" sz="1400"/>
              <a:t>demo-</a:t>
            </a:r>
            <a:r>
              <a:rPr lang="nb-NO" sz="1400" err="1"/>
              <a:t>playbook.yaml</a:t>
            </a:r>
            <a:endParaRPr lang="nb-NO" sz="1400"/>
          </a:p>
          <a:p>
            <a:pPr marL="0" indent="0">
              <a:lnSpc>
                <a:spcPct val="110000"/>
              </a:lnSpc>
              <a:buNone/>
            </a:pPr>
            <a:endParaRPr lang="nb-NO" sz="1600"/>
          </a:p>
          <a:p>
            <a:pPr>
              <a:lnSpc>
                <a:spcPct val="110000"/>
              </a:lnSpc>
            </a:pPr>
            <a:endParaRPr lang="nb-NO" sz="1600"/>
          </a:p>
          <a:p>
            <a:pPr marL="0" indent="0">
              <a:lnSpc>
                <a:spcPct val="110000"/>
              </a:lnSpc>
              <a:buNone/>
            </a:pPr>
            <a:endParaRPr lang="nb-NO" sz="1600"/>
          </a:p>
          <a:p>
            <a:pPr marL="0" indent="0">
              <a:lnSpc>
                <a:spcPct val="110000"/>
              </a:lnSpc>
              <a:buNone/>
            </a:pPr>
            <a:endParaRPr lang="nb-NO" sz="1600"/>
          </a:p>
        </p:txBody>
      </p:sp>
      <p:pic>
        <p:nvPicPr>
          <p:cNvPr id="10" name="Picture 9">
            <a:extLst>
              <a:ext uri="{FF2B5EF4-FFF2-40B4-BE49-F238E27FC236}">
                <a16:creationId xmlns:a16="http://schemas.microsoft.com/office/drawing/2014/main" id="{89AD7208-33E1-786F-68C4-B07CE69D9B90}"/>
              </a:ext>
            </a:extLst>
          </p:cNvPr>
          <p:cNvPicPr>
            <a:picLocks noChangeAspect="1"/>
          </p:cNvPicPr>
          <p:nvPr/>
        </p:nvPicPr>
        <p:blipFill>
          <a:blip r:embed="rId3"/>
          <a:stretch>
            <a:fillRect/>
          </a:stretch>
        </p:blipFill>
        <p:spPr>
          <a:xfrm>
            <a:off x="767105" y="1512000"/>
            <a:ext cx="3905795" cy="590632"/>
          </a:xfrm>
          <a:prstGeom prst="rect">
            <a:avLst/>
          </a:prstGeom>
        </p:spPr>
      </p:pic>
      <p:pic>
        <p:nvPicPr>
          <p:cNvPr id="13" name="Picture 12">
            <a:extLst>
              <a:ext uri="{FF2B5EF4-FFF2-40B4-BE49-F238E27FC236}">
                <a16:creationId xmlns:a16="http://schemas.microsoft.com/office/drawing/2014/main" id="{64C063CB-5F33-4B77-965C-B90C6AE27B39}"/>
              </a:ext>
            </a:extLst>
          </p:cNvPr>
          <p:cNvPicPr>
            <a:picLocks noChangeAspect="1"/>
          </p:cNvPicPr>
          <p:nvPr/>
        </p:nvPicPr>
        <p:blipFill>
          <a:blip r:embed="rId4"/>
          <a:stretch>
            <a:fillRect/>
          </a:stretch>
        </p:blipFill>
        <p:spPr>
          <a:xfrm>
            <a:off x="5017813" y="1512000"/>
            <a:ext cx="3724795" cy="1933845"/>
          </a:xfrm>
          <a:prstGeom prst="rect">
            <a:avLst/>
          </a:prstGeom>
        </p:spPr>
      </p:pic>
      <p:cxnSp>
        <p:nvCxnSpPr>
          <p:cNvPr id="14" name="Straight Arrow Connector 13">
            <a:extLst>
              <a:ext uri="{FF2B5EF4-FFF2-40B4-BE49-F238E27FC236}">
                <a16:creationId xmlns:a16="http://schemas.microsoft.com/office/drawing/2014/main" id="{EBD79003-BA5F-9EC4-AB1E-B169474A75BA}"/>
              </a:ext>
            </a:extLst>
          </p:cNvPr>
          <p:cNvCxnSpPr>
            <a:cxnSpLocks/>
          </p:cNvCxnSpPr>
          <p:nvPr/>
        </p:nvCxnSpPr>
        <p:spPr>
          <a:xfrm>
            <a:off x="3536830" y="1942305"/>
            <a:ext cx="1846053" cy="9316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Footer Placeholder 6">
            <a:extLst>
              <a:ext uri="{FF2B5EF4-FFF2-40B4-BE49-F238E27FC236}">
                <a16:creationId xmlns:a16="http://schemas.microsoft.com/office/drawing/2014/main" id="{5FE68121-81AE-F2E5-DCD9-C328BBA3F90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53BC320-EB76-AACD-B492-E0CEFD69F83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spTree>
    <p:extLst>
      <p:ext uri="{BB962C8B-B14F-4D97-AF65-F5344CB8AC3E}">
        <p14:creationId xmlns:p14="http://schemas.microsoft.com/office/powerpoint/2010/main" val="232783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lint</a:t>
            </a:r>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539999" y="755650"/>
            <a:ext cx="7873845" cy="5397500"/>
          </a:xfrm>
        </p:spPr>
        <p:txBody>
          <a:bodyPr>
            <a:normAutofit lnSpcReduction="10000"/>
          </a:bodyPr>
          <a:lstStyle/>
          <a:p>
            <a:pPr>
              <a:lnSpc>
                <a:spcPct val="110000"/>
              </a:lnSpc>
            </a:pPr>
            <a:r>
              <a:rPr lang="en-GB" sz="1600" dirty="0"/>
              <a:t>Linting (syntax checking) is done on file save</a:t>
            </a:r>
          </a:p>
          <a:p>
            <a:pPr>
              <a:lnSpc>
                <a:spcPct val="110000"/>
              </a:lnSpc>
            </a:pPr>
            <a:r>
              <a:rPr lang="en-GB" sz="1600" dirty="0"/>
              <a:t>The «</a:t>
            </a:r>
            <a:r>
              <a:rPr lang="en-GB" sz="1600" dirty="0">
                <a:latin typeface="Consolas" panose="020B0609020204030204" pitchFamily="49" charset="0"/>
              </a:rPr>
              <a:t>ansible-first-</a:t>
            </a:r>
            <a:r>
              <a:rPr lang="en-GB" sz="1600" dirty="0" err="1">
                <a:latin typeface="Consolas" panose="020B0609020204030204" pitchFamily="49" charset="0"/>
              </a:rPr>
              <a:t>playbook.yml</a:t>
            </a:r>
            <a:r>
              <a:rPr lang="en-GB" sz="1600" dirty="0"/>
              <a:t>» should have an error that shows on first save, when ansible-lint runs in the background</a:t>
            </a:r>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endParaRPr lang="en-GB" sz="1600" dirty="0"/>
          </a:p>
          <a:p>
            <a:pPr>
              <a:lnSpc>
                <a:spcPct val="110000"/>
              </a:lnSpc>
            </a:pPr>
            <a:r>
              <a:rPr lang="en-GB" sz="1600" dirty="0"/>
              <a:t>Try to fix this yourself </a:t>
            </a:r>
            <a:r>
              <a:rPr lang="en-GB" sz="1600" dirty="0">
                <a:sym typeface="Wingdings" panose="05000000000000000000" pitchFamily="2" charset="2"/>
              </a:rPr>
              <a:t></a:t>
            </a:r>
          </a:p>
          <a:p>
            <a:pPr>
              <a:lnSpc>
                <a:spcPct val="110000"/>
              </a:lnSpc>
            </a:pPr>
            <a:r>
              <a:rPr lang="en-GB" sz="1600" dirty="0">
                <a:sym typeface="Wingdings" panose="05000000000000000000" pitchFamily="2" charset="2"/>
              </a:rPr>
              <a:t>(optional info) You can also specify ansible-lint to exclude certain errors, like the "line too long" error. </a:t>
            </a:r>
          </a:p>
          <a:p>
            <a:pPr lvl="1">
              <a:lnSpc>
                <a:spcPct val="110000"/>
              </a:lnSpc>
            </a:pPr>
            <a:r>
              <a:rPr lang="en-GB" sz="1400" dirty="0">
                <a:sym typeface="Wingdings" panose="05000000000000000000" pitchFamily="2" charset="2"/>
              </a:rPr>
              <a:t>Open Settings (Ctrl-,) and search for "ansible-lint"</a:t>
            </a:r>
            <a:br>
              <a:rPr lang="en-GB" sz="1400" dirty="0">
                <a:sym typeface="Wingdings" panose="05000000000000000000" pitchFamily="2" charset="2"/>
              </a:rPr>
            </a:br>
            <a:r>
              <a:rPr lang="en-GB" sz="1400" dirty="0">
                <a:sym typeface="Wingdings" panose="05000000000000000000" pitchFamily="2" charset="2"/>
              </a:rPr>
              <a:t>Enter </a:t>
            </a:r>
            <a:r>
              <a:rPr lang="en-GB" sz="1400" dirty="0" err="1">
                <a:latin typeface="Consolas" panose="020B0609020204030204" pitchFamily="49" charset="0"/>
                <a:sym typeface="Wingdings" panose="05000000000000000000" pitchFamily="2" charset="2"/>
              </a:rPr>
              <a:t>-x</a:t>
            </a:r>
            <a:r>
              <a:rPr lang="en-GB" sz="1400" dirty="0">
                <a:latin typeface="Consolas" panose="020B0609020204030204" pitchFamily="49" charset="0"/>
                <a:sym typeface="Wingdings" panose="05000000000000000000" pitchFamily="2" charset="2"/>
              </a:rPr>
              <a:t> </a:t>
            </a:r>
            <a:r>
              <a:rPr lang="en-GB" sz="1400" dirty="0" err="1">
                <a:latin typeface="Consolas" panose="020B0609020204030204" pitchFamily="49" charset="0"/>
                <a:sym typeface="Wingdings" panose="05000000000000000000" pitchFamily="2" charset="2"/>
              </a:rPr>
              <a:t>yaml</a:t>
            </a:r>
            <a:r>
              <a:rPr lang="en-GB" sz="1400" dirty="0">
                <a:latin typeface="Consolas" panose="020B0609020204030204" pitchFamily="49" charset="0"/>
                <a:sym typeface="Wingdings" panose="05000000000000000000" pitchFamily="2" charset="2"/>
              </a:rPr>
              <a:t>[line-length]</a:t>
            </a:r>
            <a:endParaRPr lang="en-GB" sz="1400" dirty="0">
              <a:latin typeface="Consolas" panose="020B0609020204030204" pitchFamily="49" charset="0"/>
            </a:endParaRPr>
          </a:p>
        </p:txBody>
      </p:sp>
      <p:sp>
        <p:nvSpPr>
          <p:cNvPr id="3" name="Footer Placeholder 6">
            <a:extLst>
              <a:ext uri="{FF2B5EF4-FFF2-40B4-BE49-F238E27FC236}">
                <a16:creationId xmlns:a16="http://schemas.microsoft.com/office/drawing/2014/main" id="{5FE68121-81AE-F2E5-DCD9-C328BBA3F90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E53BC320-EB76-AACD-B492-E0CEFD69F83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4: Install Ansible</a:t>
            </a:r>
          </a:p>
        </p:txBody>
      </p:sp>
      <p:pic>
        <p:nvPicPr>
          <p:cNvPr id="6" name="Picture 5">
            <a:extLst>
              <a:ext uri="{FF2B5EF4-FFF2-40B4-BE49-F238E27FC236}">
                <a16:creationId xmlns:a16="http://schemas.microsoft.com/office/drawing/2014/main" id="{04E65978-1008-7A95-E700-4C9A7AAF775C}"/>
              </a:ext>
            </a:extLst>
          </p:cNvPr>
          <p:cNvPicPr>
            <a:picLocks noChangeAspect="1"/>
          </p:cNvPicPr>
          <p:nvPr/>
        </p:nvPicPr>
        <p:blipFill>
          <a:blip r:embed="rId3"/>
          <a:stretch>
            <a:fillRect/>
          </a:stretch>
        </p:blipFill>
        <p:spPr>
          <a:xfrm>
            <a:off x="791768" y="2081024"/>
            <a:ext cx="7087589" cy="2695951"/>
          </a:xfrm>
          <a:prstGeom prst="rect">
            <a:avLst/>
          </a:prstGeom>
        </p:spPr>
      </p:pic>
      <p:pic>
        <p:nvPicPr>
          <p:cNvPr id="7" name="Picture 6">
            <a:extLst>
              <a:ext uri="{FF2B5EF4-FFF2-40B4-BE49-F238E27FC236}">
                <a16:creationId xmlns:a16="http://schemas.microsoft.com/office/drawing/2014/main" id="{E70A9FC5-9E1C-CD63-96A5-06B37A215839}"/>
              </a:ext>
            </a:extLst>
          </p:cNvPr>
          <p:cNvPicPr>
            <a:picLocks noChangeAspect="1"/>
          </p:cNvPicPr>
          <p:nvPr/>
        </p:nvPicPr>
        <p:blipFill>
          <a:blip r:embed="rId4"/>
          <a:stretch>
            <a:fillRect/>
          </a:stretch>
        </p:blipFill>
        <p:spPr>
          <a:xfrm>
            <a:off x="6927849" y="5242511"/>
            <a:ext cx="3708401" cy="793464"/>
          </a:xfrm>
          <a:prstGeom prst="rect">
            <a:avLst/>
          </a:prstGeom>
        </p:spPr>
      </p:pic>
      <p:cxnSp>
        <p:nvCxnSpPr>
          <p:cNvPr id="5" name="Straight Arrow Connector 4">
            <a:extLst>
              <a:ext uri="{FF2B5EF4-FFF2-40B4-BE49-F238E27FC236}">
                <a16:creationId xmlns:a16="http://schemas.microsoft.com/office/drawing/2014/main" id="{BD871EDE-EE23-5166-D361-BCAC3CDBFFBF}"/>
              </a:ext>
            </a:extLst>
          </p:cNvPr>
          <p:cNvCxnSpPr>
            <a:cxnSpLocks/>
          </p:cNvCxnSpPr>
          <p:nvPr/>
        </p:nvCxnSpPr>
        <p:spPr>
          <a:xfrm>
            <a:off x="3840480" y="5852160"/>
            <a:ext cx="308736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7373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093994" cy="1754326"/>
          </a:xfrm>
          <a:prstGeom prst="rect">
            <a:avLst/>
          </a:prstGeom>
          <a:noFill/>
        </p:spPr>
        <p:txBody>
          <a:bodyPr wrap="square">
            <a:spAutoFit/>
          </a:bodyPr>
          <a:lstStyle/>
          <a:p>
            <a:r>
              <a:rPr lang="en-US"/>
              <a:t>© Andreas Koksrud 2024. All rights reserved. This presentation is provided for educational and informational purposes only. You may distribute and learn from this presentation, but commercial use or any form of monetization is strictly prohibited without prior written consent.</a:t>
            </a:r>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lab, </a:t>
            </a:r>
            <a:r>
              <a:rPr lang="nb-NO" sz="1600" err="1"/>
              <a:t>you</a:t>
            </a:r>
            <a:r>
              <a:rPr lang="nb-NO" sz="1600"/>
              <a:t> </a:t>
            </a:r>
            <a:r>
              <a:rPr lang="nb-NO" sz="1600" err="1"/>
              <a:t>will</a:t>
            </a:r>
            <a:r>
              <a:rPr lang="nb-NO" sz="1600"/>
              <a:t> be given a simple </a:t>
            </a:r>
            <a:r>
              <a:rPr lang="nb-NO" sz="1600" err="1"/>
              <a:t>example</a:t>
            </a:r>
            <a:r>
              <a:rPr lang="nb-NO" sz="1600"/>
              <a:t> to </a:t>
            </a:r>
            <a:r>
              <a:rPr lang="nb-NO" sz="1600" err="1"/>
              <a:t>get</a:t>
            </a:r>
            <a:r>
              <a:rPr lang="nb-NO" sz="1600"/>
              <a:t> </a:t>
            </a:r>
            <a:r>
              <a:rPr lang="nb-NO" sz="1600" err="1"/>
              <a:t>you</a:t>
            </a:r>
            <a:r>
              <a:rPr lang="nb-NO" sz="1600"/>
              <a:t> </a:t>
            </a:r>
            <a:r>
              <a:rPr lang="nb-NO" sz="1600" err="1"/>
              <a:t>started</a:t>
            </a:r>
            <a:r>
              <a:rPr lang="nb-NO" sz="1600"/>
              <a:t> </a:t>
            </a:r>
            <a:r>
              <a:rPr lang="nb-NO" sz="1600" err="1"/>
              <a:t>with</a:t>
            </a:r>
            <a:r>
              <a:rPr lang="nb-NO" sz="1600"/>
              <a:t> </a:t>
            </a:r>
            <a:r>
              <a:rPr lang="nb-NO" sz="1600" err="1"/>
              <a:t>Ansible</a:t>
            </a:r>
            <a:endParaRPr lang="nb-NO" sz="1600"/>
          </a:p>
          <a:p>
            <a:pPr>
              <a:lnSpc>
                <a:spcPct val="110000"/>
              </a:lnSpc>
            </a:pPr>
            <a:r>
              <a:rPr lang="nb-NO" sz="1600"/>
              <a:t>The </a:t>
            </a:r>
            <a:r>
              <a:rPr lang="nb-NO" sz="1600" err="1"/>
              <a:t>Ansible</a:t>
            </a:r>
            <a:r>
              <a:rPr lang="nb-NO" sz="1600"/>
              <a:t> </a:t>
            </a:r>
            <a:r>
              <a:rPr lang="nb-NO" sz="1600" err="1"/>
              <a:t>section</a:t>
            </a:r>
            <a:r>
              <a:rPr lang="nb-NO" sz="1600"/>
              <a:t> </a:t>
            </a:r>
            <a:r>
              <a:rPr lang="nb-NO" sz="1600" err="1"/>
              <a:t>of</a:t>
            </a:r>
            <a:r>
              <a:rPr lang="nb-NO" sz="1600"/>
              <a:t> </a:t>
            </a:r>
            <a:r>
              <a:rPr lang="nb-NO" sz="1600" err="1"/>
              <a:t>Day2</a:t>
            </a:r>
            <a:r>
              <a:rPr lang="nb-NO" sz="1600"/>
              <a:t> </a:t>
            </a:r>
            <a:r>
              <a:rPr lang="nb-NO" sz="1600" err="1"/>
              <a:t>will</a:t>
            </a:r>
            <a:r>
              <a:rPr lang="nb-NO" sz="1600"/>
              <a:t> </a:t>
            </a:r>
            <a:r>
              <a:rPr lang="nb-NO" sz="1600" err="1"/>
              <a:t>include</a:t>
            </a:r>
            <a:r>
              <a:rPr lang="nb-NO" sz="1600"/>
              <a:t> more </a:t>
            </a:r>
            <a:r>
              <a:rPr lang="nb-NO" sz="1600" err="1"/>
              <a:t>exercises</a:t>
            </a:r>
            <a:r>
              <a:rPr lang="nb-NO" sz="1600"/>
              <a:t> for </a:t>
            </a:r>
            <a:r>
              <a:rPr lang="nb-NO" sz="1600" err="1"/>
              <a:t>you</a:t>
            </a:r>
            <a:r>
              <a:rPr lang="nb-NO" sz="1600"/>
              <a:t> to do, </a:t>
            </a:r>
            <a:r>
              <a:rPr lang="nb-NO" sz="1600" err="1"/>
              <a:t>including</a:t>
            </a:r>
            <a:r>
              <a:rPr lang="nb-NO" sz="1600"/>
              <a:t> </a:t>
            </a:r>
            <a:r>
              <a:rPr lang="nb-NO" sz="1600" err="1"/>
              <a:t>example</a:t>
            </a:r>
            <a:r>
              <a:rPr lang="nb-NO" sz="1600"/>
              <a:t> </a:t>
            </a:r>
            <a:r>
              <a:rPr lang="nb-NO" sz="1600" err="1"/>
              <a:t>solutions</a:t>
            </a:r>
            <a:endParaRPr lang="nb-NO" sz="1600"/>
          </a:p>
          <a:p>
            <a:pPr marL="0" indent="0">
              <a:lnSpc>
                <a:spcPct val="110000"/>
              </a:lnSpc>
              <a:buNone/>
            </a:pPr>
            <a:endParaRPr lang="nb-NO" sz="1000"/>
          </a:p>
          <a:p>
            <a:pPr marL="0" indent="0">
              <a:lnSpc>
                <a:spcPct val="110000"/>
              </a:lnSpc>
              <a:buNone/>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ab exercise #5: Explore Ansible</a:t>
            </a:r>
          </a:p>
        </p:txBody>
      </p:sp>
      <p:sp>
        <p:nvSpPr>
          <p:cNvPr id="3" name="Footer Placeholder 6">
            <a:extLst>
              <a:ext uri="{FF2B5EF4-FFF2-40B4-BE49-F238E27FC236}">
                <a16:creationId xmlns:a16="http://schemas.microsoft.com/office/drawing/2014/main" id="{9D3E58D1-6427-C8CC-C4ED-CD9DD644C1D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5C76EA7-DE23-854E-87C7-0357221CF8D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Tree>
    <p:extLst>
      <p:ext uri="{BB962C8B-B14F-4D97-AF65-F5344CB8AC3E}">
        <p14:creationId xmlns:p14="http://schemas.microsoft.com/office/powerpoint/2010/main" val="324084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ather facts </a:t>
            </a:r>
          </a:p>
        </p:txBody>
      </p:sp>
      <p:sp>
        <p:nvSpPr>
          <p:cNvPr id="6" name="The distance between the headline and the start of the body copy is always constant.…">
            <a:extLst>
              <a:ext uri="{FF2B5EF4-FFF2-40B4-BE49-F238E27FC236}">
                <a16:creationId xmlns:a16="http://schemas.microsoft.com/office/drawing/2014/main" id="{D33A7F7C-0CFF-12D8-D3F9-55EA11817DA1}"/>
              </a:ext>
            </a:extLst>
          </p:cNvPr>
          <p:cNvSpPr txBox="1">
            <a:spLocks noGrp="1"/>
          </p:cNvSpPr>
          <p:nvPr>
            <p:ph idx="1"/>
          </p:nvPr>
        </p:nvSpPr>
        <p:spPr>
          <a:xfrm>
            <a:off x="540000" y="972000"/>
            <a:ext cx="7191410" cy="5044598"/>
          </a:xfrm>
        </p:spPr>
        <p:txBody>
          <a:bodyPr>
            <a:normAutofit/>
          </a:bodyPr>
          <a:lstStyle/>
          <a:p>
            <a:pPr>
              <a:lnSpc>
                <a:spcPct val="110000"/>
              </a:lnSpc>
            </a:pPr>
            <a:r>
              <a:rPr lang="nb-NO" sz="1600" err="1"/>
              <a:t>Create</a:t>
            </a:r>
            <a:r>
              <a:rPr lang="nb-NO" sz="1600"/>
              <a:t> a folder</a:t>
            </a:r>
          </a:p>
          <a:p>
            <a:pPr>
              <a:lnSpc>
                <a:spcPct val="110000"/>
              </a:lnSpc>
            </a:pPr>
            <a:endParaRPr lang="nb-NO" sz="1600"/>
          </a:p>
          <a:p>
            <a:pPr>
              <a:lnSpc>
                <a:spcPct val="110000"/>
              </a:lnSpc>
            </a:pPr>
            <a:r>
              <a:rPr lang="nb-NO" sz="1600"/>
              <a:t>Shows up </a:t>
            </a:r>
            <a:r>
              <a:rPr lang="nb-NO" sz="1600" err="1"/>
              <a:t>automatically</a:t>
            </a:r>
            <a:r>
              <a:rPr lang="nb-NO" sz="1600"/>
              <a:t> in </a:t>
            </a:r>
            <a:r>
              <a:rPr lang="nb-NO" sz="1600" err="1"/>
              <a:t>VS</a:t>
            </a:r>
            <a:r>
              <a:rPr lang="nb-NO" sz="1600"/>
              <a:t> Code</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Create</a:t>
            </a:r>
            <a:r>
              <a:rPr lang="nb-NO" sz="1600"/>
              <a:t> files and folders in </a:t>
            </a:r>
            <a:r>
              <a:rPr lang="nb-NO" sz="1600" err="1"/>
              <a:t>VS</a:t>
            </a:r>
            <a:r>
              <a:rPr lang="nb-NO" sz="1600"/>
              <a:t> Code, right </a:t>
            </a:r>
            <a:r>
              <a:rPr lang="nb-NO" sz="1600" err="1"/>
              <a:t>click</a:t>
            </a:r>
            <a:r>
              <a:rPr lang="nb-NO" sz="1600"/>
              <a:t> to </a:t>
            </a:r>
            <a:r>
              <a:rPr lang="nb-NO" sz="1600" err="1"/>
              <a:t>get</a:t>
            </a:r>
            <a:r>
              <a:rPr lang="nb-NO" sz="1600"/>
              <a:t> </a:t>
            </a:r>
            <a:r>
              <a:rPr lang="nb-NO" sz="1600" err="1"/>
              <a:t>menu</a:t>
            </a:r>
            <a:endParaRPr lang="nb-NO" sz="1600"/>
          </a:p>
          <a:p>
            <a:pPr>
              <a:lnSpc>
                <a:spcPct val="110000"/>
              </a:lnSpc>
            </a:pPr>
            <a:endParaRPr lang="nb-NO" sz="1600"/>
          </a:p>
          <a:p>
            <a:pPr>
              <a:lnSpc>
                <a:spcPct val="110000"/>
              </a:lnSpc>
            </a:pPr>
            <a:r>
              <a:rPr lang="nb-NO" sz="1600" err="1"/>
              <a:t>Create</a:t>
            </a:r>
            <a:r>
              <a:rPr lang="nb-NO" sz="1600"/>
              <a:t> </a:t>
            </a:r>
            <a:r>
              <a:rPr lang="nb-NO" sz="1600" err="1"/>
              <a:t>the</a:t>
            </a:r>
            <a:r>
              <a:rPr lang="nb-NO" sz="1600"/>
              <a:t> file "</a:t>
            </a:r>
            <a:r>
              <a:rPr lang="nb-NO" sz="1600" err="1"/>
              <a:t>gather_facts-playbook.yml</a:t>
            </a:r>
            <a:r>
              <a:rPr lang="nb-NO" sz="1600"/>
              <a:t>"</a:t>
            </a:r>
          </a:p>
          <a:p>
            <a:pPr>
              <a:lnSpc>
                <a:spcPct val="110000"/>
              </a:lnSpc>
            </a:pPr>
            <a:endParaRPr lang="nb-NO" sz="1600"/>
          </a:p>
          <a:p>
            <a:pPr>
              <a:lnSpc>
                <a:spcPct val="110000"/>
              </a:lnSpc>
            </a:pPr>
            <a:r>
              <a:rPr lang="nb-NO" sz="1600" err="1"/>
              <a:t>Copy-paste</a:t>
            </a:r>
            <a:r>
              <a:rPr lang="nb-NO" sz="1600"/>
              <a:t> from </a:t>
            </a:r>
            <a:r>
              <a:rPr lang="nb-NO" sz="1600" err="1"/>
              <a:t>this</a:t>
            </a:r>
            <a:r>
              <a:rPr lang="nb-NO" sz="1600"/>
              <a:t> </a:t>
            </a:r>
            <a:r>
              <a:rPr lang="nb-NO" sz="1600" err="1"/>
              <a:t>textbox</a:t>
            </a:r>
            <a:r>
              <a:rPr lang="nb-NO" sz="1600"/>
              <a:t> to </a:t>
            </a:r>
            <a:r>
              <a:rPr lang="nb-NO" sz="1600" err="1"/>
              <a:t>VS</a:t>
            </a:r>
            <a:r>
              <a:rPr lang="nb-NO" sz="1600"/>
              <a:t> Code</a:t>
            </a:r>
          </a:p>
        </p:txBody>
      </p:sp>
      <p:sp>
        <p:nvSpPr>
          <p:cNvPr id="2" name="Footer Placeholder 6">
            <a:extLst>
              <a:ext uri="{FF2B5EF4-FFF2-40B4-BE49-F238E27FC236}">
                <a16:creationId xmlns:a16="http://schemas.microsoft.com/office/drawing/2014/main" id="{8B7157A5-9DD8-CC1E-095B-05C4C1980BD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4D754D07-9E11-A566-0AB6-8DAFC56BFA0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16" name="Picture 15">
            <a:extLst>
              <a:ext uri="{FF2B5EF4-FFF2-40B4-BE49-F238E27FC236}">
                <a16:creationId xmlns:a16="http://schemas.microsoft.com/office/drawing/2014/main" id="{4D9DADFD-10FA-19A6-98E4-610C81750C85}"/>
              </a:ext>
            </a:extLst>
          </p:cNvPr>
          <p:cNvPicPr>
            <a:picLocks noChangeAspect="1"/>
          </p:cNvPicPr>
          <p:nvPr/>
        </p:nvPicPr>
        <p:blipFill rotWithShape="1">
          <a:blip r:embed="rId3">
            <a:extLst>
              <a:ext uri="{28A0092B-C50C-407E-A947-70E740481C1C}">
                <a14:useLocalDpi xmlns:a14="http://schemas.microsoft.com/office/drawing/2010/main" val="0"/>
              </a:ext>
            </a:extLst>
          </a:blip>
          <a:srcRect l="526" r="526"/>
          <a:stretch/>
        </p:blipFill>
        <p:spPr>
          <a:xfrm>
            <a:off x="736662" y="2254580"/>
            <a:ext cx="2521368" cy="1629002"/>
          </a:xfrm>
          <a:prstGeom prst="rect">
            <a:avLst/>
          </a:prstGeom>
        </p:spPr>
      </p:pic>
      <p:pic>
        <p:nvPicPr>
          <p:cNvPr id="18" name="Picture 17">
            <a:extLst>
              <a:ext uri="{FF2B5EF4-FFF2-40B4-BE49-F238E27FC236}">
                <a16:creationId xmlns:a16="http://schemas.microsoft.com/office/drawing/2014/main" id="{DE5F48FC-3C42-5859-4351-E0D25B460A59}"/>
              </a:ext>
            </a:extLst>
          </p:cNvPr>
          <p:cNvPicPr>
            <a:picLocks noChangeAspect="1"/>
          </p:cNvPicPr>
          <p:nvPr/>
        </p:nvPicPr>
        <p:blipFill rotWithShape="1">
          <a:blip r:embed="rId4">
            <a:extLst>
              <a:ext uri="{28A0092B-C50C-407E-A947-70E740481C1C}">
                <a14:useLocalDpi xmlns:a14="http://schemas.microsoft.com/office/drawing/2010/main" val="0"/>
              </a:ext>
            </a:extLst>
          </a:blip>
          <a:srcRect t="7889" b="7889"/>
          <a:stretch/>
        </p:blipFill>
        <p:spPr>
          <a:xfrm>
            <a:off x="720000" y="4149543"/>
            <a:ext cx="3658111" cy="573691"/>
          </a:xfrm>
          <a:prstGeom prst="rect">
            <a:avLst/>
          </a:prstGeom>
        </p:spPr>
      </p:pic>
      <p:pic>
        <p:nvPicPr>
          <p:cNvPr id="20" name="Picture 19">
            <a:extLst>
              <a:ext uri="{FF2B5EF4-FFF2-40B4-BE49-F238E27FC236}">
                <a16:creationId xmlns:a16="http://schemas.microsoft.com/office/drawing/2014/main" id="{D269A6E6-DC19-3C34-5B65-3556FAACB2F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96209" y="5010546"/>
            <a:ext cx="2229163" cy="428685"/>
          </a:xfrm>
          <a:prstGeom prst="rect">
            <a:avLst/>
          </a:prstGeom>
        </p:spPr>
      </p:pic>
      <p:cxnSp>
        <p:nvCxnSpPr>
          <p:cNvPr id="21" name="Straight Arrow Connector 20">
            <a:extLst>
              <a:ext uri="{FF2B5EF4-FFF2-40B4-BE49-F238E27FC236}">
                <a16:creationId xmlns:a16="http://schemas.microsoft.com/office/drawing/2014/main" id="{EC927A16-2591-A872-203C-B66E8FFBC2DB}"/>
              </a:ext>
            </a:extLst>
          </p:cNvPr>
          <p:cNvCxnSpPr>
            <a:cxnSpLocks/>
          </p:cNvCxnSpPr>
          <p:nvPr/>
        </p:nvCxnSpPr>
        <p:spPr>
          <a:xfrm flipV="1">
            <a:off x="3742124" y="972000"/>
            <a:ext cx="6114594" cy="459124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B3E6F7D2-C565-37C9-CA40-083E631696E4}"/>
              </a:ext>
            </a:extLst>
          </p:cNvPr>
          <p:cNvSpPr txBox="1"/>
          <p:nvPr/>
        </p:nvSpPr>
        <p:spPr>
          <a:xfrm>
            <a:off x="9856718" y="296996"/>
            <a:ext cx="2234512" cy="1169551"/>
          </a:xfrm>
          <a:prstGeom prst="rect">
            <a:avLst/>
          </a:prstGeom>
          <a:noFill/>
          <a:ln>
            <a:solidFill>
              <a:srgbClr val="002B36"/>
            </a:solidFill>
          </a:ln>
        </p:spPr>
        <p:txBody>
          <a:bodyPr wrap="square">
            <a:spAutoFit/>
          </a:bodyPr>
          <a:lstStyle/>
          <a:p>
            <a:r>
              <a:rPr lang="en-US" sz="500">
                <a:latin typeface="Consolas" panose="020B0609020204030204" pitchFamily="49" charset="0"/>
              </a:rPr>
              <a:t>---</a:t>
            </a:r>
          </a:p>
          <a:p>
            <a:r>
              <a:rPr lang="en-US" sz="500">
                <a:latin typeface="Consolas" panose="020B0609020204030204" pitchFamily="49" charset="0"/>
              </a:rPr>
              <a:t>- name: IOS Facts</a:t>
            </a:r>
          </a:p>
          <a:p>
            <a:r>
              <a:rPr lang="en-US" sz="500">
                <a:latin typeface="Consolas" panose="020B0609020204030204" pitchFamily="49" charset="0"/>
              </a:rPr>
              <a:t>  hosts: </a:t>
            </a:r>
            <a:r>
              <a:rPr lang="en-US" sz="500" err="1">
                <a:latin typeface="Consolas" panose="020B0609020204030204" pitchFamily="49" charset="0"/>
              </a:rPr>
              <a:t>wlc</a:t>
            </a:r>
            <a:endParaRPr lang="en-US" sz="500">
              <a:latin typeface="Consolas" panose="020B0609020204030204" pitchFamily="49" charset="0"/>
            </a:endParaRPr>
          </a:p>
          <a:p>
            <a:r>
              <a:rPr lang="en-US" sz="500">
                <a:latin typeface="Consolas" panose="020B0609020204030204" pitchFamily="49" charset="0"/>
              </a:rPr>
              <a:t>  connection: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gather_facts</a:t>
            </a:r>
            <a:r>
              <a:rPr lang="en-US" sz="500">
                <a:latin typeface="Consolas" panose="020B0609020204030204" pitchFamily="49" charset="0"/>
              </a:rPr>
              <a:t>: false</a:t>
            </a:r>
          </a:p>
          <a:p>
            <a:r>
              <a:rPr lang="en-US" sz="500">
                <a:latin typeface="Consolas" panose="020B0609020204030204" pitchFamily="49" charset="0"/>
              </a:rPr>
              <a:t>  tasks:</a:t>
            </a:r>
          </a:p>
          <a:p>
            <a:r>
              <a:rPr lang="en-US" sz="500">
                <a:latin typeface="Consolas" panose="020B0609020204030204" pitchFamily="49" charset="0"/>
              </a:rPr>
              <a:t>    - name: Gather all legacy facts</a:t>
            </a:r>
          </a:p>
          <a:p>
            <a:r>
              <a:rPr lang="en-US" sz="500">
                <a:latin typeface="Consolas" panose="020B0609020204030204" pitchFamily="49" charset="0"/>
              </a:rPr>
              <a:t>      </a:t>
            </a:r>
            <a:r>
              <a:rPr lang="en-US" sz="500" err="1">
                <a:latin typeface="Consolas" panose="020B0609020204030204" pitchFamily="49" charset="0"/>
              </a:rPr>
              <a:t>cisco.ios.ios_facts</a:t>
            </a:r>
            <a:r>
              <a:rPr lang="en-US" sz="500">
                <a:latin typeface="Consolas" panose="020B0609020204030204" pitchFamily="49" charset="0"/>
              </a:rPr>
              <a:t>:</a:t>
            </a:r>
          </a:p>
          <a:p>
            <a:r>
              <a:rPr lang="en-US" sz="500">
                <a:latin typeface="Consolas" panose="020B0609020204030204" pitchFamily="49" charset="0"/>
              </a:rPr>
              <a:t>        </a:t>
            </a:r>
            <a:r>
              <a:rPr lang="en-US" sz="500" err="1">
                <a:latin typeface="Consolas" panose="020B0609020204030204" pitchFamily="49" charset="0"/>
              </a:rPr>
              <a:t>gather_subset</a:t>
            </a:r>
            <a:r>
              <a:rPr lang="en-US" sz="500">
                <a:latin typeface="Consolas" panose="020B0609020204030204" pitchFamily="49" charset="0"/>
              </a:rPr>
              <a:t>: all</a:t>
            </a:r>
          </a:p>
          <a:p>
            <a:r>
              <a:rPr lang="en-US" sz="500">
                <a:latin typeface="Consolas" panose="020B0609020204030204" pitchFamily="49" charset="0"/>
              </a:rPr>
              <a:t>      register: </a:t>
            </a:r>
            <a:r>
              <a:rPr lang="en-US" sz="500" err="1">
                <a:latin typeface="Consolas" panose="020B0609020204030204" pitchFamily="49" charset="0"/>
              </a:rPr>
              <a:t>facts1</a:t>
            </a:r>
            <a:endParaRPr lang="en-US" sz="500">
              <a:latin typeface="Consolas" panose="020B0609020204030204" pitchFamily="49" charset="0"/>
            </a:endParaRPr>
          </a:p>
          <a:p>
            <a:r>
              <a:rPr lang="en-US" sz="500">
                <a:latin typeface="Consolas" panose="020B0609020204030204" pitchFamily="49" charset="0"/>
              </a:rPr>
              <a:t>    - name: Show facts</a:t>
            </a:r>
          </a:p>
          <a:p>
            <a:r>
              <a:rPr lang="en-US" sz="500">
                <a:latin typeface="Consolas" panose="020B0609020204030204" pitchFamily="49" charset="0"/>
              </a:rPr>
              <a:t>      </a:t>
            </a:r>
            <a:r>
              <a:rPr lang="en-US" sz="500" err="1">
                <a:latin typeface="Consolas" panose="020B0609020204030204" pitchFamily="49" charset="0"/>
              </a:rPr>
              <a:t>ansible.builtin.debug</a:t>
            </a:r>
            <a:r>
              <a:rPr lang="en-US" sz="500">
                <a:latin typeface="Consolas" panose="020B0609020204030204" pitchFamily="49" charset="0"/>
              </a:rPr>
              <a:t>:</a:t>
            </a:r>
          </a:p>
          <a:p>
            <a:r>
              <a:rPr lang="en-US" sz="500">
                <a:latin typeface="Consolas" panose="020B0609020204030204" pitchFamily="49" charset="0"/>
              </a:rPr>
              <a:t>        msg: "{{ </a:t>
            </a:r>
            <a:r>
              <a:rPr lang="en-US" sz="500" err="1">
                <a:latin typeface="Consolas" panose="020B0609020204030204" pitchFamily="49" charset="0"/>
              </a:rPr>
              <a:t>facts1</a:t>
            </a:r>
            <a:r>
              <a:rPr lang="en-US" sz="500">
                <a:latin typeface="Consolas" panose="020B0609020204030204" pitchFamily="49" charset="0"/>
              </a:rPr>
              <a:t> }}"</a:t>
            </a:r>
          </a:p>
          <a:p>
            <a:endParaRPr lang="en-US" sz="500">
              <a:latin typeface="Consolas" panose="020B0609020204030204" pitchFamily="49" charset="0"/>
            </a:endParaRPr>
          </a:p>
        </p:txBody>
      </p:sp>
      <p:sp>
        <p:nvSpPr>
          <p:cNvPr id="25" name="TextBox 24">
            <a:extLst>
              <a:ext uri="{FF2B5EF4-FFF2-40B4-BE49-F238E27FC236}">
                <a16:creationId xmlns:a16="http://schemas.microsoft.com/office/drawing/2014/main" id="{12CEB653-12FE-B936-BD74-ADCDEF5D70BF}"/>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pic>
        <p:nvPicPr>
          <p:cNvPr id="28" name="Picture 27">
            <a:extLst>
              <a:ext uri="{FF2B5EF4-FFF2-40B4-BE49-F238E27FC236}">
                <a16:creationId xmlns:a16="http://schemas.microsoft.com/office/drawing/2014/main" id="{041E496F-A3DC-1F55-A8AB-BFC57EF2B80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176758" y="2623738"/>
            <a:ext cx="3762802" cy="3222401"/>
          </a:xfrm>
          <a:prstGeom prst="rect">
            <a:avLst/>
          </a:prstGeom>
        </p:spPr>
      </p:pic>
      <p:cxnSp>
        <p:nvCxnSpPr>
          <p:cNvPr id="29" name="Straight Arrow Connector 28">
            <a:extLst>
              <a:ext uri="{FF2B5EF4-FFF2-40B4-BE49-F238E27FC236}">
                <a16:creationId xmlns:a16="http://schemas.microsoft.com/office/drawing/2014/main" id="{4AA91FC9-26E9-A112-C75C-D38CEBFA6814}"/>
              </a:ext>
            </a:extLst>
          </p:cNvPr>
          <p:cNvCxnSpPr>
            <a:cxnSpLocks/>
            <a:endCxn id="28" idx="0"/>
          </p:cNvCxnSpPr>
          <p:nvPr/>
        </p:nvCxnSpPr>
        <p:spPr>
          <a:xfrm flipH="1">
            <a:off x="10058160" y="1507812"/>
            <a:ext cx="282652" cy="11159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9F17347B-4AA5-0EC7-FCAE-5D92674F68F4}"/>
              </a:ext>
            </a:extLst>
          </p:cNvPr>
          <p:cNvSpPr txBox="1"/>
          <p:nvPr/>
        </p:nvSpPr>
        <p:spPr>
          <a:xfrm>
            <a:off x="618000" y="1466509"/>
            <a:ext cx="6756773"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mkdir</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Lab5_Ansible-gather_facts</a:t>
            </a:r>
            <a:endParaRPr lang="fr-FR" sz="1050">
              <a:solidFill>
                <a:srgbClr val="EEE8D5"/>
              </a:solidFill>
              <a:latin typeface="Consolas" panose="020B0609020204030204" pitchFamily="49" charset="0"/>
            </a:endParaRPr>
          </a:p>
        </p:txBody>
      </p:sp>
      <p:pic>
        <p:nvPicPr>
          <p:cNvPr id="5" name="Picture 4">
            <a:extLst>
              <a:ext uri="{FF2B5EF4-FFF2-40B4-BE49-F238E27FC236}">
                <a16:creationId xmlns:a16="http://schemas.microsoft.com/office/drawing/2014/main" id="{3113B6B0-9682-C6CB-E2C3-D2A2139ECC6B}"/>
              </a:ext>
            </a:extLst>
          </p:cNvPr>
          <p:cNvPicPr>
            <a:picLocks noChangeAspect="1"/>
          </p:cNvPicPr>
          <p:nvPr/>
        </p:nvPicPr>
        <p:blipFill rotWithShape="1">
          <a:blip r:embed="rId7"/>
          <a:srcRect t="21950" b="3360"/>
          <a:stretch/>
        </p:blipFill>
        <p:spPr>
          <a:xfrm>
            <a:off x="3101582" y="4366827"/>
            <a:ext cx="2457793" cy="355762"/>
          </a:xfrm>
          <a:prstGeom prst="rect">
            <a:avLst/>
          </a:prstGeom>
        </p:spPr>
      </p:pic>
    </p:spTree>
    <p:extLst>
      <p:ext uri="{BB962C8B-B14F-4D97-AF65-F5344CB8AC3E}">
        <p14:creationId xmlns:p14="http://schemas.microsoft.com/office/powerpoint/2010/main" val="57513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nsible hosts file</a:t>
            </a:r>
          </a:p>
        </p:txBody>
      </p:sp>
      <p:sp>
        <p:nvSpPr>
          <p:cNvPr id="6" name="The distance between the headline and the start of the body copy is always constant.…">
            <a:extLst>
              <a:ext uri="{FF2B5EF4-FFF2-40B4-BE49-F238E27FC236}">
                <a16:creationId xmlns:a16="http://schemas.microsoft.com/office/drawing/2014/main" id="{D33A7F7C-0CFF-12D8-D3F9-55EA11817DA1}"/>
              </a:ext>
            </a:extLst>
          </p:cNvPr>
          <p:cNvSpPr txBox="1">
            <a:spLocks noGrp="1"/>
          </p:cNvSpPr>
          <p:nvPr>
            <p:ph idx="1"/>
          </p:nvPr>
        </p:nvSpPr>
        <p:spPr>
          <a:xfrm>
            <a:off x="540000" y="972000"/>
            <a:ext cx="4575464" cy="4592038"/>
          </a:xfrm>
        </p:spPr>
        <p:txBody>
          <a:bodyPr>
            <a:normAutofit/>
          </a:bodyPr>
          <a:lstStyle/>
          <a:p>
            <a:pPr>
              <a:lnSpc>
                <a:spcPct val="110000"/>
              </a:lnSpc>
            </a:pPr>
            <a:r>
              <a:rPr lang="nb-NO" sz="1600" dirty="0" err="1"/>
              <a:t>Let’s</a:t>
            </a:r>
            <a:r>
              <a:rPr lang="nb-NO" sz="1600" dirty="0"/>
              <a:t> </a:t>
            </a:r>
            <a:r>
              <a:rPr lang="nb-NO" sz="1600" dirty="0" err="1"/>
              <a:t>create</a:t>
            </a:r>
            <a:r>
              <a:rPr lang="nb-NO" sz="1600" dirty="0"/>
              <a:t> a file </a:t>
            </a:r>
            <a:r>
              <a:rPr lang="nb-NO" sz="1600" dirty="0" err="1"/>
              <a:t>named</a:t>
            </a:r>
            <a:r>
              <a:rPr lang="nb-NO" sz="1600" dirty="0"/>
              <a:t> </a:t>
            </a:r>
            <a:r>
              <a:rPr lang="nb-NO" sz="1600" dirty="0" err="1"/>
              <a:t>hosts.yml</a:t>
            </a: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It shows up in </a:t>
            </a:r>
            <a:r>
              <a:rPr lang="nb-NO" sz="1600" dirty="0" err="1"/>
              <a:t>the</a:t>
            </a:r>
            <a:r>
              <a:rPr lang="nb-NO" sz="1600" dirty="0"/>
              <a:t> folder as </a:t>
            </a:r>
            <a:r>
              <a:rPr lang="nb-NO" sz="1600" dirty="0" err="1"/>
              <a:t>well</a:t>
            </a:r>
            <a:endParaRPr lang="nb-NO" sz="1600" dirty="0"/>
          </a:p>
        </p:txBody>
      </p:sp>
      <p:sp>
        <p:nvSpPr>
          <p:cNvPr id="4" name="Footer Placeholder 6">
            <a:extLst>
              <a:ext uri="{FF2B5EF4-FFF2-40B4-BE49-F238E27FC236}">
                <a16:creationId xmlns:a16="http://schemas.microsoft.com/office/drawing/2014/main" id="{17301EEE-DB8B-DDE6-2EC5-CA50E9CF5C8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5D1F7A92-C360-088A-2BFA-E464B512002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8" name="TextBox 7">
            <a:extLst>
              <a:ext uri="{FF2B5EF4-FFF2-40B4-BE49-F238E27FC236}">
                <a16:creationId xmlns:a16="http://schemas.microsoft.com/office/drawing/2014/main" id="{8928A11D-61E0-D194-E095-83A6945E510F}"/>
              </a:ext>
            </a:extLst>
          </p:cNvPr>
          <p:cNvSpPr txBox="1"/>
          <p:nvPr/>
        </p:nvSpPr>
        <p:spPr>
          <a:xfrm>
            <a:off x="9856718" y="296996"/>
            <a:ext cx="2234512" cy="784830"/>
          </a:xfrm>
          <a:prstGeom prst="rect">
            <a:avLst/>
          </a:prstGeom>
          <a:noFill/>
          <a:ln>
            <a:solidFill>
              <a:srgbClr val="002B36"/>
            </a:solidFill>
          </a:ln>
        </p:spPr>
        <p:txBody>
          <a:bodyPr wrap="square">
            <a:spAutoFit/>
          </a:bodyPr>
          <a:lstStyle/>
          <a:p>
            <a:r>
              <a:rPr lang="en-US" sz="500" dirty="0" err="1">
                <a:latin typeface="Consolas" panose="020B0609020204030204" pitchFamily="49" charset="0"/>
              </a:rPr>
              <a:t>wlc</a:t>
            </a:r>
            <a:r>
              <a:rPr lang="en-US" sz="500" dirty="0">
                <a:latin typeface="Consolas" panose="020B0609020204030204" pitchFamily="49" charset="0"/>
              </a:rPr>
              <a:t>:</a:t>
            </a:r>
          </a:p>
          <a:p>
            <a:r>
              <a:rPr lang="en-US" sz="500" dirty="0">
                <a:latin typeface="Consolas" panose="020B0609020204030204" pitchFamily="49" charset="0"/>
              </a:rPr>
              <a:t>  hosts:</a:t>
            </a:r>
          </a:p>
          <a:p>
            <a:r>
              <a:rPr lang="en-US" sz="500" dirty="0">
                <a:latin typeface="Consolas" panose="020B0609020204030204" pitchFamily="49" charset="0"/>
              </a:rPr>
              <a:t>    192.168.10.{WLC-IP}:</a:t>
            </a:r>
          </a:p>
          <a:p>
            <a:r>
              <a:rPr lang="en-US" sz="500" dirty="0">
                <a:latin typeface="Consolas" panose="020B0609020204030204" pitchFamily="49" charset="0"/>
              </a:rPr>
              <a:t>  vars:</a:t>
            </a:r>
          </a:p>
          <a:p>
            <a:r>
              <a:rPr lang="en-US" sz="500" dirty="0">
                <a:latin typeface="Consolas" panose="020B0609020204030204" pitchFamily="49" charset="0"/>
              </a:rPr>
              <a:t>    </a:t>
            </a:r>
            <a:r>
              <a:rPr lang="en-US" sz="500" dirty="0" err="1">
                <a:latin typeface="Consolas" panose="020B0609020204030204" pitchFamily="49" charset="0"/>
              </a:rPr>
              <a:t>ansible_connection</a:t>
            </a:r>
            <a:r>
              <a:rPr lang="en-US" sz="500" dirty="0">
                <a:latin typeface="Consolas" panose="020B0609020204030204" pitchFamily="49" charset="0"/>
              </a:rPr>
              <a:t>: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network_os</a:t>
            </a:r>
            <a:r>
              <a:rPr lang="en-US" sz="500" dirty="0">
                <a:latin typeface="Consolas" panose="020B0609020204030204" pitchFamily="49" charset="0"/>
              </a:rPr>
              <a:t>: </a:t>
            </a:r>
            <a:r>
              <a:rPr lang="en-US" sz="500" dirty="0" err="1">
                <a:latin typeface="Consolas" panose="020B0609020204030204" pitchFamily="49" charset="0"/>
              </a:rPr>
              <a:t>ios</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ssh_pass</a:t>
            </a:r>
            <a:r>
              <a:rPr lang="en-US" sz="500" dirty="0">
                <a:latin typeface="Consolas" panose="020B0609020204030204" pitchFamily="49" charset="0"/>
              </a:rPr>
              <a:t>: </a:t>
            </a:r>
            <a:r>
              <a:rPr lang="en-US" sz="500" dirty="0" err="1">
                <a:latin typeface="Consolas" panose="020B0609020204030204" pitchFamily="49" charset="0"/>
              </a:rPr>
              <a:t>ChangeMe2024</a:t>
            </a:r>
            <a:r>
              <a:rPr lang="en-US" sz="500" dirty="0">
                <a:latin typeface="Consolas" panose="020B0609020204030204" pitchFamily="49" charset="0"/>
              </a:rPr>
              <a:t>!</a:t>
            </a:r>
          </a:p>
          <a:p>
            <a:r>
              <a:rPr lang="en-US" sz="500" dirty="0">
                <a:latin typeface="Consolas" panose="020B0609020204030204" pitchFamily="49" charset="0"/>
              </a:rPr>
              <a:t>    </a:t>
            </a:r>
            <a:r>
              <a:rPr lang="en-US" sz="500" dirty="0" err="1">
                <a:latin typeface="Consolas" panose="020B0609020204030204" pitchFamily="49" charset="0"/>
              </a:rPr>
              <a:t>ansible_password</a:t>
            </a:r>
            <a:r>
              <a:rPr lang="en-US" sz="500" dirty="0">
                <a:latin typeface="Consolas" panose="020B0609020204030204" pitchFamily="49" charset="0"/>
              </a:rPr>
              <a:t>: </a:t>
            </a:r>
            <a:r>
              <a:rPr lang="en-US" sz="500" dirty="0" err="1">
                <a:latin typeface="Consolas" panose="020B0609020204030204" pitchFamily="49" charset="0"/>
              </a:rPr>
              <a:t>ChangeMe2024</a:t>
            </a:r>
            <a:r>
              <a:rPr lang="en-US" sz="500" dirty="0">
                <a:latin typeface="Consolas" panose="020B0609020204030204" pitchFamily="49" charset="0"/>
              </a:rPr>
              <a:t>!</a:t>
            </a:r>
          </a:p>
          <a:p>
            <a:r>
              <a:rPr lang="en-US" sz="500" dirty="0">
                <a:latin typeface="Consolas" panose="020B0609020204030204" pitchFamily="49" charset="0"/>
              </a:rPr>
              <a:t>    </a:t>
            </a:r>
            <a:r>
              <a:rPr lang="en-US" sz="500" dirty="0" err="1">
                <a:latin typeface="Consolas" panose="020B0609020204030204" pitchFamily="49" charset="0"/>
              </a:rPr>
              <a:t>ansible_user</a:t>
            </a:r>
            <a:r>
              <a:rPr lang="en-US" sz="500" dirty="0">
                <a:latin typeface="Consolas" panose="020B0609020204030204" pitchFamily="49" charset="0"/>
              </a:rPr>
              <a:t>: </a:t>
            </a:r>
            <a:r>
              <a:rPr lang="en-US" sz="500" dirty="0" err="1">
                <a:latin typeface="Consolas" panose="020B0609020204030204" pitchFamily="49" charset="0"/>
              </a:rPr>
              <a:t>devnet-adm</a:t>
            </a:r>
            <a:endParaRPr lang="en-US" sz="500" dirty="0">
              <a:latin typeface="Consolas" panose="020B0609020204030204" pitchFamily="49" charset="0"/>
            </a:endParaRPr>
          </a:p>
        </p:txBody>
      </p:sp>
      <p:sp>
        <p:nvSpPr>
          <p:cNvPr id="9" name="TextBox 8">
            <a:extLst>
              <a:ext uri="{FF2B5EF4-FFF2-40B4-BE49-F238E27FC236}">
                <a16:creationId xmlns:a16="http://schemas.microsoft.com/office/drawing/2014/main" id="{17DE3E7F-EEBC-12A2-C27B-3EB30C84980C}"/>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pic>
        <p:nvPicPr>
          <p:cNvPr id="11" name="Picture 10">
            <a:extLst>
              <a:ext uri="{FF2B5EF4-FFF2-40B4-BE49-F238E27FC236}">
                <a16:creationId xmlns:a16="http://schemas.microsoft.com/office/drawing/2014/main" id="{0657F2E5-C1D0-5271-98F9-0C9B91D9D3E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44381" y="1477746"/>
            <a:ext cx="2172157" cy="638264"/>
          </a:xfrm>
          <a:prstGeom prst="rect">
            <a:avLst/>
          </a:prstGeom>
        </p:spPr>
      </p:pic>
      <p:pic>
        <p:nvPicPr>
          <p:cNvPr id="14" name="Picture 13">
            <a:extLst>
              <a:ext uri="{FF2B5EF4-FFF2-40B4-BE49-F238E27FC236}">
                <a16:creationId xmlns:a16="http://schemas.microsoft.com/office/drawing/2014/main" id="{7608F687-685D-C88B-3341-A9421C76EA4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41527" y="2635000"/>
            <a:ext cx="6239746" cy="1126198"/>
          </a:xfrm>
          <a:prstGeom prst="rect">
            <a:avLst/>
          </a:prstGeom>
        </p:spPr>
      </p:pic>
      <p:pic>
        <p:nvPicPr>
          <p:cNvPr id="17" name="Picture 16">
            <a:extLst>
              <a:ext uri="{FF2B5EF4-FFF2-40B4-BE49-F238E27FC236}">
                <a16:creationId xmlns:a16="http://schemas.microsoft.com/office/drawing/2014/main" id="{A2E35820-F204-C5BA-5DAF-EE7048B44AA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385595" y="2465916"/>
            <a:ext cx="3376805" cy="1604204"/>
          </a:xfrm>
          <a:prstGeom prst="rect">
            <a:avLst/>
          </a:prstGeom>
        </p:spPr>
      </p:pic>
      <p:cxnSp>
        <p:nvCxnSpPr>
          <p:cNvPr id="18" name="Straight Arrow Connector 17">
            <a:extLst>
              <a:ext uri="{FF2B5EF4-FFF2-40B4-BE49-F238E27FC236}">
                <a16:creationId xmlns:a16="http://schemas.microsoft.com/office/drawing/2014/main" id="{F15954A3-9EAE-986F-8780-828A4F5F6201}"/>
              </a:ext>
            </a:extLst>
          </p:cNvPr>
          <p:cNvCxnSpPr>
            <a:cxnSpLocks/>
          </p:cNvCxnSpPr>
          <p:nvPr/>
        </p:nvCxnSpPr>
        <p:spPr>
          <a:xfrm flipH="1">
            <a:off x="10340812" y="1158770"/>
            <a:ext cx="282652" cy="9742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DDB4A062-D4C8-4665-8039-CC9542FF187B}"/>
              </a:ext>
            </a:extLst>
          </p:cNvPr>
          <p:cNvSpPr txBox="1"/>
          <p:nvPr/>
        </p:nvSpPr>
        <p:spPr>
          <a:xfrm>
            <a:off x="6555350" y="1037878"/>
            <a:ext cx="2226527" cy="646331"/>
          </a:xfrm>
          <a:prstGeom prst="rect">
            <a:avLst/>
          </a:prstGeom>
          <a:noFill/>
        </p:spPr>
        <p:txBody>
          <a:bodyPr wrap="square">
            <a:spAutoFit/>
          </a:bodyPr>
          <a:lstStyle/>
          <a:p>
            <a:r>
              <a:rPr lang="nb-NO" sz="1800" dirty="0" err="1"/>
              <a:t>Change</a:t>
            </a:r>
            <a:r>
              <a:rPr lang="nb-NO" sz="1800" dirty="0"/>
              <a:t> to YOUR</a:t>
            </a:r>
          </a:p>
          <a:p>
            <a:r>
              <a:rPr lang="nb-NO" dirty="0" err="1"/>
              <a:t>WLC</a:t>
            </a:r>
            <a:r>
              <a:rPr lang="nb-NO" dirty="0"/>
              <a:t> IP</a:t>
            </a:r>
          </a:p>
        </p:txBody>
      </p:sp>
      <p:cxnSp>
        <p:nvCxnSpPr>
          <p:cNvPr id="7" name="Straight Arrow Connector 6">
            <a:extLst>
              <a:ext uri="{FF2B5EF4-FFF2-40B4-BE49-F238E27FC236}">
                <a16:creationId xmlns:a16="http://schemas.microsoft.com/office/drawing/2014/main" id="{1E0C9EB3-0AB0-E738-366E-B2263BDF154E}"/>
              </a:ext>
            </a:extLst>
          </p:cNvPr>
          <p:cNvCxnSpPr>
            <a:cxnSpLocks/>
          </p:cNvCxnSpPr>
          <p:nvPr/>
        </p:nvCxnSpPr>
        <p:spPr>
          <a:xfrm>
            <a:off x="7524326" y="1477746"/>
            <a:ext cx="2400604" cy="13149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000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Fix dependencie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11226550" cy="338554"/>
          </a:xfrm>
          <a:prstGeom prst="rect">
            <a:avLst/>
          </a:prstGeom>
          <a:noFill/>
        </p:spPr>
        <p:txBody>
          <a:bodyPr wrap="square">
            <a:spAutoFit/>
          </a:bodyPr>
          <a:lstStyle/>
          <a:p>
            <a:pPr marL="285750" indent="-285750">
              <a:buFont typeface="Arial" panose="020B0604020202020204" pitchFamily="34" charset="0"/>
              <a:buChar char="•"/>
            </a:pPr>
            <a:r>
              <a:rPr lang="en-GB" sz="1600"/>
              <a:t>Try to run the playbook with the following command. Something is missing.</a:t>
            </a:r>
            <a:endParaRPr lang="nb-NO" sz="1600"/>
          </a:p>
        </p:txBody>
      </p:sp>
      <p:sp>
        <p:nvSpPr>
          <p:cNvPr id="2" name="Footer Placeholder 6">
            <a:extLst>
              <a:ext uri="{FF2B5EF4-FFF2-40B4-BE49-F238E27FC236}">
                <a16:creationId xmlns:a16="http://schemas.microsoft.com/office/drawing/2014/main" id="{17A74DFD-2B00-B391-E59A-ED4EA05816E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3BA462E2-B807-F22E-43E0-EEED9979F7C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6" name="TextBox 5">
            <a:extLst>
              <a:ext uri="{FF2B5EF4-FFF2-40B4-BE49-F238E27FC236}">
                <a16:creationId xmlns:a16="http://schemas.microsoft.com/office/drawing/2014/main" id="{D66CA787-D3BF-24C5-DD37-94892B12E37B}"/>
              </a:ext>
            </a:extLst>
          </p:cNvPr>
          <p:cNvSpPr txBox="1"/>
          <p:nvPr/>
        </p:nvSpPr>
        <p:spPr>
          <a:xfrm>
            <a:off x="565339" y="4553335"/>
            <a:ext cx="9890101" cy="150445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a:solidFill>
                  <a:srgbClr val="EEE8D5"/>
                </a:solidFill>
                <a:latin typeface="Consolas" panose="020B0609020204030204" pitchFamily="49" charset="0"/>
              </a:rPr>
              <a:t>(ansible-</a:t>
            </a:r>
            <a:r>
              <a:rPr lang="fr-FR" sz="1050" dirty="0" err="1">
                <a:solidFill>
                  <a:srgbClr val="EEE8D5"/>
                </a:solidFill>
                <a:latin typeface="Consolas" panose="020B0609020204030204" pitchFamily="49" charset="0"/>
              </a:rPr>
              <a:t>venv</a:t>
            </a:r>
            <a:r>
              <a:rPr lang="fr-FR" sz="1050" dirty="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a:t>
            </a:r>
            <a:r>
              <a:rPr lang="en-US" sz="1050" dirty="0"/>
              <a:t> pip install ansible-</a:t>
            </a:r>
            <a:r>
              <a:rPr lang="en-US" sz="1050" dirty="0" err="1"/>
              <a:t>pylibssh</a:t>
            </a:r>
            <a:endParaRPr lang="en-US" sz="1050" dirty="0"/>
          </a:p>
          <a:p>
            <a:pPr lvl="1"/>
            <a:r>
              <a:rPr lang="en-US" sz="1050" dirty="0">
                <a:solidFill>
                  <a:srgbClr val="EEE8D5"/>
                </a:solidFill>
                <a:latin typeface="Consolas" panose="020B0609020204030204" pitchFamily="49" charset="0"/>
              </a:rPr>
              <a:t>Collecting ansible-</a:t>
            </a:r>
            <a:r>
              <a:rPr lang="en-US" sz="1050" dirty="0" err="1">
                <a:solidFill>
                  <a:srgbClr val="EEE8D5"/>
                </a:solidFill>
                <a:latin typeface="Consolas" panose="020B0609020204030204" pitchFamily="49" charset="0"/>
              </a:rPr>
              <a:t>pylibssh</a:t>
            </a:r>
            <a:endParaRPr lang="en-US" sz="1050" dirty="0">
              <a:solidFill>
                <a:srgbClr val="EEE8D5"/>
              </a:solidFill>
              <a:latin typeface="Consolas" panose="020B0609020204030204" pitchFamily="49" charset="0"/>
            </a:endParaRPr>
          </a:p>
          <a:p>
            <a:pPr lvl="1"/>
            <a:r>
              <a:rPr lang="en-US" sz="1050" dirty="0">
                <a:solidFill>
                  <a:srgbClr val="EEE8D5"/>
                </a:solidFill>
                <a:latin typeface="Consolas" panose="020B0609020204030204" pitchFamily="49" charset="0"/>
              </a:rPr>
              <a:t>  Downloading ansible_pylibssh-1.2.2-cp312-cp312-manylinux_2_28_x86_64.whl.metadata (36 kB)</a:t>
            </a:r>
          </a:p>
          <a:p>
            <a:pPr lvl="1"/>
            <a:r>
              <a:rPr lang="en-US" sz="1050" dirty="0">
                <a:solidFill>
                  <a:srgbClr val="EEE8D5"/>
                </a:solidFill>
                <a:latin typeface="Consolas" panose="020B0609020204030204" pitchFamily="49" charset="0"/>
              </a:rPr>
              <a:t>Downloading ansible_pylibssh-1.2.2-cp312-cp312-manylinux_2_28_x86_64.whl (2.9 MB)</a:t>
            </a:r>
          </a:p>
          <a:p>
            <a:pPr lvl="1"/>
            <a:r>
              <a:rPr lang="en-US" sz="1050" dirty="0">
                <a:solidFill>
                  <a:srgbClr val="EEE8D5"/>
                </a:solidFill>
                <a:latin typeface="Consolas" panose="020B0609020204030204" pitchFamily="49" charset="0"/>
              </a:rPr>
              <a:t>   </a:t>
            </a:r>
            <a:r>
              <a:rPr lang="en-US" sz="1050" dirty="0">
                <a:solidFill>
                  <a:srgbClr val="00B050"/>
                </a:solidFill>
                <a:latin typeface="Consolas" panose="020B0609020204030204" pitchFamily="49" charset="0"/>
              </a:rPr>
              <a:t>━━━━━━━━━━━━━━━━━━━━━━━━━━━━━━━━━━━━━━━━ 2.9/2.9 MB </a:t>
            </a:r>
            <a:r>
              <a:rPr lang="en-US" sz="1050" dirty="0">
                <a:solidFill>
                  <a:srgbClr val="FF0000"/>
                </a:solidFill>
                <a:latin typeface="Consolas" panose="020B0609020204030204" pitchFamily="49" charset="0"/>
              </a:rPr>
              <a:t>7.1 MB/s </a:t>
            </a:r>
            <a:r>
              <a:rPr lang="en-US" sz="1050" dirty="0">
                <a:solidFill>
                  <a:srgbClr val="EEE8D5"/>
                </a:solidFill>
                <a:latin typeface="Consolas" panose="020B0609020204030204" pitchFamily="49" charset="0"/>
              </a:rPr>
              <a:t>eta </a:t>
            </a:r>
            <a:r>
              <a:rPr lang="en-US" sz="1050" dirty="0">
                <a:solidFill>
                  <a:srgbClr val="6D6D6D"/>
                </a:solidFill>
                <a:latin typeface="Consolas" panose="020B0609020204030204" pitchFamily="49" charset="0"/>
              </a:rPr>
              <a:t>0:00:00</a:t>
            </a:r>
          </a:p>
          <a:p>
            <a:pPr lvl="1"/>
            <a:r>
              <a:rPr lang="en-US" sz="1050" dirty="0">
                <a:solidFill>
                  <a:srgbClr val="EEE8D5"/>
                </a:solidFill>
                <a:latin typeface="Consolas" panose="020B0609020204030204" pitchFamily="49" charset="0"/>
              </a:rPr>
              <a:t>Installing collected packages: ansible-</a:t>
            </a:r>
            <a:r>
              <a:rPr lang="en-US" sz="1050" dirty="0" err="1">
                <a:solidFill>
                  <a:srgbClr val="EEE8D5"/>
                </a:solidFill>
                <a:latin typeface="Consolas" panose="020B0609020204030204" pitchFamily="49" charset="0"/>
              </a:rPr>
              <a:t>pylibssh</a:t>
            </a:r>
            <a:endParaRPr lang="en-US" sz="1050" dirty="0">
              <a:solidFill>
                <a:srgbClr val="EEE8D5"/>
              </a:solidFill>
              <a:latin typeface="Consolas" panose="020B0609020204030204" pitchFamily="49" charset="0"/>
            </a:endParaRPr>
          </a:p>
          <a:p>
            <a:pPr lvl="1"/>
            <a:r>
              <a:rPr lang="en-US" sz="1050" dirty="0">
                <a:solidFill>
                  <a:srgbClr val="6D6D6D"/>
                </a:solidFill>
                <a:latin typeface="Consolas" panose="020B0609020204030204" pitchFamily="49" charset="0"/>
              </a:rPr>
              <a:t>Successfully</a:t>
            </a:r>
            <a:r>
              <a:rPr lang="en-US" sz="1050" dirty="0">
                <a:solidFill>
                  <a:srgbClr val="EEE8D5"/>
                </a:solidFill>
                <a:latin typeface="Consolas" panose="020B0609020204030204" pitchFamily="49" charset="0"/>
              </a:rPr>
              <a:t> installed ansible-pylibssh-1.2.2</a:t>
            </a:r>
          </a:p>
          <a:p>
            <a:pPr lvl="1"/>
            <a:r>
              <a:rPr lang="fr-FR" sz="1050" dirty="0">
                <a:solidFill>
                  <a:srgbClr val="EEE8D5"/>
                </a:solidFill>
                <a:latin typeface="Consolas" panose="020B0609020204030204" pitchFamily="49" charset="0"/>
              </a:rPr>
              <a:t>(ansible-</a:t>
            </a:r>
            <a:r>
              <a:rPr lang="fr-FR" sz="1050" dirty="0" err="1">
                <a:solidFill>
                  <a:srgbClr val="EEE8D5"/>
                </a:solidFill>
                <a:latin typeface="Consolas" panose="020B0609020204030204" pitchFamily="49" charset="0"/>
              </a:rPr>
              <a:t>venv</a:t>
            </a:r>
            <a:r>
              <a:rPr lang="fr-FR" sz="1050" dirty="0">
                <a:solidFill>
                  <a:srgbClr val="6D6D6D"/>
                </a:solidFill>
              </a:rPr>
              <a:t>) </a:t>
            </a:r>
            <a:r>
              <a:rPr lang="fr-FR" sz="1050" dirty="0" err="1">
                <a:solidFill>
                  <a:srgbClr val="6D6D6D"/>
                </a:solidFill>
              </a:rPr>
              <a:t>devnet-adm@ubuntu-devnet</a:t>
            </a:r>
            <a:r>
              <a:rPr lang="fr-FR" sz="1050" dirty="0">
                <a:solidFill>
                  <a:srgbClr val="6D6D6D"/>
                </a:solidFill>
              </a:rPr>
              <a:t>:~</a:t>
            </a:r>
            <a:r>
              <a:rPr lang="fr-FR" sz="1050" dirty="0">
                <a:solidFill>
                  <a:srgbClr val="EEE8D5"/>
                </a:solidFill>
                <a:latin typeface="Consolas" panose="020B0609020204030204" pitchFamily="49" charset="0"/>
              </a:rPr>
              <a:t>$</a:t>
            </a:r>
            <a:endParaRPr lang="en-US" sz="1050" dirty="0">
              <a:solidFill>
                <a:srgbClr val="EEE8D5"/>
              </a:solidFill>
              <a:latin typeface="Consolas" panose="020B0609020204030204" pitchFamily="49" charset="0"/>
            </a:endParaRPr>
          </a:p>
        </p:txBody>
      </p:sp>
      <p:sp>
        <p:nvSpPr>
          <p:cNvPr id="13" name="TextBox 12">
            <a:extLst>
              <a:ext uri="{FF2B5EF4-FFF2-40B4-BE49-F238E27FC236}">
                <a16:creationId xmlns:a16="http://schemas.microsoft.com/office/drawing/2014/main" id="{C1ED8D54-28B4-8D9C-6C64-FB1501648279}"/>
              </a:ext>
            </a:extLst>
          </p:cNvPr>
          <p:cNvSpPr txBox="1"/>
          <p:nvPr/>
        </p:nvSpPr>
        <p:spPr>
          <a:xfrm>
            <a:off x="565339" y="1380095"/>
            <a:ext cx="11283761" cy="221541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 ansible-</a:t>
            </a:r>
            <a:r>
              <a:rPr lang="fr-FR" sz="1050" err="1">
                <a:solidFill>
                  <a:srgbClr val="EEE8D5"/>
                </a:solidFill>
                <a:latin typeface="Consolas" panose="020B0609020204030204" pitchFamily="49" charset="0"/>
              </a:rPr>
              <a:t>playbook</a:t>
            </a:r>
            <a:r>
              <a:rPr lang="fr-FR" sz="1050">
                <a:solidFill>
                  <a:srgbClr val="EEE8D5"/>
                </a:solidFill>
                <a:latin typeface="Consolas" panose="020B0609020204030204" pitchFamily="49" charset="0"/>
              </a:rPr>
              <a:t> -i </a:t>
            </a:r>
            <a:r>
              <a:rPr lang="fr-FR" sz="1050" err="1">
                <a:solidFill>
                  <a:srgbClr val="EEE8D5"/>
                </a:solidFill>
                <a:latin typeface="Consolas" panose="020B0609020204030204" pitchFamily="49" charset="0"/>
              </a:rPr>
              <a:t>hosts.ym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_facts-playbook.yml</a:t>
            </a:r>
            <a:endParaRPr lang="fr-FR" sz="1050">
              <a:solidFill>
                <a:srgbClr val="EEE8D5"/>
              </a:solidFill>
              <a:latin typeface="Consolas" panose="020B0609020204030204" pitchFamily="49" charset="0"/>
            </a:endParaRP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IOS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TASK</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a:t>
            </a:r>
            <a:r>
              <a:rPr lang="fr-FR" sz="1050">
                <a:solidFill>
                  <a:srgbClr val="EEE8D5"/>
                </a:solidFill>
                <a:latin typeface="Consolas" panose="020B0609020204030204" pitchFamily="49" charset="0"/>
              </a:rPr>
              <a:t> all </a:t>
            </a:r>
            <a:r>
              <a:rPr lang="fr-FR" sz="1050" err="1">
                <a:solidFill>
                  <a:srgbClr val="EEE8D5"/>
                </a:solidFill>
                <a:latin typeface="Consolas" panose="020B0609020204030204" pitchFamily="49" charset="0"/>
              </a:rPr>
              <a:t>legac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r>
              <a:rPr lang="fr-FR" sz="1050">
                <a:solidFill>
                  <a:schemeClr val="bg2">
                    <a:lumMod val="75000"/>
                  </a:schemeClr>
                </a:solidFill>
                <a:latin typeface="Consolas" panose="020B0609020204030204" pitchFamily="49" charset="0"/>
              </a:rPr>
              <a:t>[WARNING]: ansible-</a:t>
            </a:r>
            <a:r>
              <a:rPr lang="fr-FR" sz="1050" err="1">
                <a:solidFill>
                  <a:schemeClr val="bg2">
                    <a:lumMod val="75000"/>
                  </a:schemeClr>
                </a:solidFill>
                <a:latin typeface="Consolas" panose="020B0609020204030204" pitchFamily="49" charset="0"/>
              </a:rPr>
              <a:t>pylibssh</a:t>
            </a:r>
            <a:r>
              <a:rPr lang="fr-FR" sz="1050">
                <a:solidFill>
                  <a:schemeClr val="bg2">
                    <a:lumMod val="75000"/>
                  </a:schemeClr>
                </a:solidFill>
                <a:latin typeface="Consolas" panose="020B0609020204030204" pitchFamily="49" charset="0"/>
              </a:rPr>
              <a:t> not </a:t>
            </a:r>
            <a:r>
              <a:rPr lang="fr-FR" sz="1050" err="1">
                <a:solidFill>
                  <a:schemeClr val="bg2">
                    <a:lumMod val="75000"/>
                  </a:schemeClr>
                </a:solidFill>
                <a:latin typeface="Consolas" panose="020B0609020204030204" pitchFamily="49" charset="0"/>
              </a:rPr>
              <a:t>installed</a:t>
            </a:r>
            <a:r>
              <a:rPr lang="fr-FR" sz="1050">
                <a:solidFill>
                  <a:schemeClr val="bg2">
                    <a:lumMod val="75000"/>
                  </a:schemeClr>
                </a:solidFill>
                <a:latin typeface="Consolas" panose="020B0609020204030204" pitchFamily="49" charset="0"/>
              </a:rPr>
              <a:t>, </a:t>
            </a:r>
            <a:r>
              <a:rPr lang="fr-FR" sz="1050" err="1">
                <a:solidFill>
                  <a:schemeClr val="bg2">
                    <a:lumMod val="75000"/>
                  </a:schemeClr>
                </a:solidFill>
                <a:latin typeface="Consolas" panose="020B0609020204030204" pitchFamily="49" charset="0"/>
              </a:rPr>
              <a:t>falling</a:t>
            </a:r>
            <a:r>
              <a:rPr lang="fr-FR" sz="1050">
                <a:solidFill>
                  <a:schemeClr val="bg2">
                    <a:lumMod val="75000"/>
                  </a:schemeClr>
                </a:solidFill>
                <a:latin typeface="Consolas" panose="020B0609020204030204" pitchFamily="49" charset="0"/>
              </a:rPr>
              <a:t> back to </a:t>
            </a:r>
            <a:r>
              <a:rPr lang="fr-FR" sz="1050" err="1">
                <a:solidFill>
                  <a:schemeClr val="bg2">
                    <a:lumMod val="75000"/>
                  </a:schemeClr>
                </a:solidFill>
                <a:latin typeface="Consolas" panose="020B0609020204030204" pitchFamily="49" charset="0"/>
              </a:rPr>
              <a:t>paramiko</a:t>
            </a:r>
            <a:endParaRPr lang="fr-FR" sz="1050">
              <a:solidFill>
                <a:schemeClr val="bg2">
                  <a:lumMod val="75000"/>
                </a:schemeClr>
              </a:solidFill>
              <a:latin typeface="Consolas" panose="020B0609020204030204" pitchFamily="49" charset="0"/>
            </a:endParaRPr>
          </a:p>
          <a:p>
            <a:pPr lvl="1"/>
            <a:r>
              <a:rPr lang="fr-FR" sz="1050">
                <a:solidFill>
                  <a:srgbClr val="FF0000"/>
                </a:solidFill>
                <a:latin typeface="Consolas" panose="020B0609020204030204" pitchFamily="49" charset="0"/>
              </a:rPr>
              <a:t>fatal: [192.168.10.3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 =&gt; {"</a:t>
            </a:r>
            <a:r>
              <a:rPr lang="fr-FR" sz="1050" err="1">
                <a:solidFill>
                  <a:srgbClr val="FF0000"/>
                </a:solidFill>
                <a:latin typeface="Consolas" panose="020B0609020204030204" pitchFamily="49" charset="0"/>
              </a:rPr>
              <a:t>changed</a:t>
            </a:r>
            <a:r>
              <a:rPr lang="fr-FR" sz="1050">
                <a:solidFill>
                  <a:srgbClr val="FF0000"/>
                </a:solidFill>
                <a:latin typeface="Consolas" panose="020B0609020204030204" pitchFamily="49" charset="0"/>
              </a:rPr>
              <a:t>": false, "msg": "</a:t>
            </a:r>
            <a:r>
              <a:rPr lang="fr-FR" sz="1050" err="1">
                <a:solidFill>
                  <a:srgbClr val="FF0000"/>
                </a:solidFill>
                <a:latin typeface="Consolas" panose="020B0609020204030204" pitchFamily="49" charset="0"/>
              </a:rPr>
              <a:t>paramiko</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not </a:t>
            </a:r>
            <a:r>
              <a:rPr lang="fr-FR" sz="1050" err="1">
                <a:solidFill>
                  <a:srgbClr val="FF0000"/>
                </a:solidFill>
                <a:latin typeface="Consolas" panose="020B0609020204030204" pitchFamily="49" charset="0"/>
              </a:rPr>
              <a:t>installed</a:t>
            </a:r>
            <a:r>
              <a:rPr lang="fr-FR" sz="1050">
                <a:solidFill>
                  <a:srgbClr val="FF0000"/>
                </a:solidFill>
                <a:latin typeface="Consolas" panose="020B0609020204030204" pitchFamily="49" charset="0"/>
              </a:rPr>
              <a:t>: No module </a:t>
            </a:r>
            <a:r>
              <a:rPr lang="fr-FR" sz="1050" err="1">
                <a:solidFill>
                  <a:srgbClr val="FF0000"/>
                </a:solidFill>
                <a:latin typeface="Consolas" panose="020B0609020204030204" pitchFamily="49" charset="0"/>
              </a:rPr>
              <a:t>named</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paramiko</a:t>
            </a:r>
            <a:r>
              <a:rPr lang="fr-FR" sz="1050">
                <a:solidFill>
                  <a:srgbClr val="FF0000"/>
                </a:solidFill>
                <a:latin typeface="Consolas" panose="020B0609020204030204" pitchFamily="49" charset="0"/>
              </a:rPr>
              <a:t>'"}</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RECAP *********************************************************************************************************************************************</a:t>
            </a:r>
          </a:p>
          <a:p>
            <a:pPr lvl="1"/>
            <a:r>
              <a:rPr lang="fr-FR" sz="1050">
                <a:solidFill>
                  <a:srgbClr val="FF0000"/>
                </a:solidFill>
                <a:latin typeface="Consolas" panose="020B0609020204030204" pitchFamily="49" charset="0"/>
              </a:rPr>
              <a:t>192.168.10.30</a:t>
            </a:r>
            <a:r>
              <a:rPr lang="fr-FR" sz="1050">
                <a:solidFill>
                  <a:srgbClr val="EEE8D5"/>
                </a:solidFill>
                <a:latin typeface="Consolas" panose="020B0609020204030204" pitchFamily="49" charset="0"/>
              </a:rPr>
              <a:t>              : ok=0    </a:t>
            </a:r>
            <a:r>
              <a:rPr lang="fr-FR" sz="1050" err="1">
                <a:solidFill>
                  <a:srgbClr val="EEE8D5"/>
                </a:solidFill>
                <a:latin typeface="Consolas" panose="020B0609020204030204" pitchFamily="49" charset="0"/>
              </a:rPr>
              <a:t>chang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unreachable</a:t>
            </a:r>
            <a:r>
              <a:rPr lang="fr-FR" sz="1050">
                <a:solidFill>
                  <a:srgbClr val="EEE8D5"/>
                </a:solidFill>
                <a:latin typeface="Consolas" panose="020B0609020204030204" pitchFamily="49" charset="0"/>
              </a:rPr>
              <a:t>=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1</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kipp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rescu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ignored</a:t>
            </a:r>
            <a:r>
              <a:rPr lang="fr-FR" sz="1050">
                <a:solidFill>
                  <a:srgbClr val="EEE8D5"/>
                </a:solidFill>
                <a:latin typeface="Consolas" panose="020B0609020204030204" pitchFamily="49" charset="0"/>
              </a:rPr>
              <a:t>=0</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latin typeface="Consolas" panose="020B0609020204030204" pitchFamily="49" charset="0"/>
              </a:rPr>
              <a:t>devnet-adm@ubuntu-devne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a:t>
            </a:r>
            <a:endParaRPr lang="en-US" sz="1050">
              <a:solidFill>
                <a:srgbClr val="EEE8D5"/>
              </a:solidFill>
              <a:latin typeface="Consolas" panose="020B0609020204030204" pitchFamily="49" charset="0"/>
            </a:endParaRPr>
          </a:p>
        </p:txBody>
      </p:sp>
      <p:sp>
        <p:nvSpPr>
          <p:cNvPr id="4" name="Rectangle 3">
            <a:extLst>
              <a:ext uri="{FF2B5EF4-FFF2-40B4-BE49-F238E27FC236}">
                <a16:creationId xmlns:a16="http://schemas.microsoft.com/office/drawing/2014/main" id="{DC748AD9-C809-CE30-EC83-CBA72342438D}"/>
              </a:ext>
            </a:extLst>
          </p:cNvPr>
          <p:cNvSpPr/>
          <p:nvPr/>
        </p:nvSpPr>
        <p:spPr>
          <a:xfrm>
            <a:off x="622300" y="2260600"/>
            <a:ext cx="5060950" cy="254000"/>
          </a:xfrm>
          <a:prstGeom prst="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5" name="TextBox 4">
            <a:extLst>
              <a:ext uri="{FF2B5EF4-FFF2-40B4-BE49-F238E27FC236}">
                <a16:creationId xmlns:a16="http://schemas.microsoft.com/office/drawing/2014/main" id="{B259C13C-2644-4AD5-B4DF-B39BAFF24006}"/>
              </a:ext>
            </a:extLst>
          </p:cNvPr>
          <p:cNvSpPr txBox="1"/>
          <p:nvPr/>
        </p:nvSpPr>
        <p:spPr>
          <a:xfrm>
            <a:off x="565339" y="3624290"/>
            <a:ext cx="11226550" cy="892552"/>
          </a:xfrm>
          <a:prstGeom prst="rect">
            <a:avLst/>
          </a:prstGeom>
          <a:noFill/>
        </p:spPr>
        <p:txBody>
          <a:bodyPr wrap="square">
            <a:spAutoFit/>
          </a:bodyPr>
          <a:lstStyle/>
          <a:p>
            <a:pPr marL="285750" indent="-285750">
              <a:buFont typeface="Arial" panose="020B0604020202020204" pitchFamily="34" charset="0"/>
              <a:buChar char="•"/>
            </a:pPr>
            <a:r>
              <a:rPr lang="en-GB" sz="1600"/>
              <a:t>Let's install "ansible-</a:t>
            </a:r>
            <a:r>
              <a:rPr lang="en-GB" sz="1600" err="1"/>
              <a:t>pylibssh</a:t>
            </a:r>
            <a:r>
              <a:rPr lang="en-GB" sz="1600"/>
              <a:t>"</a:t>
            </a:r>
          </a:p>
          <a:p>
            <a:pPr marL="742950" lvl="1" indent="-285750">
              <a:buFont typeface="Arial" panose="020B0604020202020204" pitchFamily="34" charset="0"/>
              <a:buChar char="•"/>
            </a:pPr>
            <a:r>
              <a:rPr lang="en-GB" sz="1200"/>
              <a:t>First, make sure you are in your ansible-</a:t>
            </a:r>
            <a:r>
              <a:rPr lang="en-GB" sz="1200" err="1"/>
              <a:t>venv</a:t>
            </a:r>
            <a:endParaRPr lang="en-GB" sz="1200"/>
          </a:p>
          <a:p>
            <a:pPr marL="742950" lvl="1" indent="-285750">
              <a:buFont typeface="Arial" panose="020B0604020202020204" pitchFamily="34" charset="0"/>
              <a:buChar char="•"/>
            </a:pPr>
            <a:r>
              <a:rPr lang="en-GB" sz="1200"/>
              <a:t>If it is not showing (ansible-</a:t>
            </a:r>
            <a:r>
              <a:rPr lang="en-GB" sz="1200" err="1"/>
              <a:t>venv</a:t>
            </a:r>
            <a:r>
              <a:rPr lang="en-GB" sz="1200"/>
              <a:t>) at the start of the line, enter "source ~/ansible-</a:t>
            </a:r>
            <a:r>
              <a:rPr lang="en-GB" sz="1200" err="1"/>
              <a:t>venv</a:t>
            </a:r>
            <a:r>
              <a:rPr lang="en-GB" sz="1200"/>
              <a:t>/bin/activate"</a:t>
            </a:r>
          </a:p>
          <a:p>
            <a:pPr marL="742950" lvl="1" indent="-285750">
              <a:buFont typeface="Arial" panose="020B0604020202020204" pitchFamily="34" charset="0"/>
              <a:buChar char="•"/>
            </a:pPr>
            <a:r>
              <a:rPr lang="en-GB" sz="1200"/>
              <a:t>Then install the package in your </a:t>
            </a:r>
            <a:r>
              <a:rPr lang="en-GB" sz="1200" err="1"/>
              <a:t>venv</a:t>
            </a:r>
            <a:r>
              <a:rPr lang="en-GB" sz="1200"/>
              <a:t> by using "pip install {package name}</a:t>
            </a:r>
            <a:endParaRPr lang="nb-NO" sz="1200"/>
          </a:p>
        </p:txBody>
      </p:sp>
    </p:spTree>
    <p:extLst>
      <p:ext uri="{BB962C8B-B14F-4D97-AF65-F5344CB8AC3E}">
        <p14:creationId xmlns:p14="http://schemas.microsoft.com/office/powerpoint/2010/main" val="302799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4EE0355-061B-BB54-BFA3-9A50A1C368F5}"/>
              </a:ext>
            </a:extLst>
          </p:cNvPr>
          <p:cNvPicPr>
            <a:picLocks noChangeAspect="1"/>
          </p:cNvPicPr>
          <p:nvPr/>
        </p:nvPicPr>
        <p:blipFill>
          <a:blip r:embed="rId3"/>
          <a:stretch>
            <a:fillRect/>
          </a:stretch>
        </p:blipFill>
        <p:spPr>
          <a:xfrm>
            <a:off x="483043" y="3539586"/>
            <a:ext cx="4391456" cy="2468021"/>
          </a:xfrm>
          <a:prstGeom prst="rect">
            <a:avLst/>
          </a:prstGeom>
        </p:spPr>
      </p:pic>
      <p:sp>
        <p:nvSpPr>
          <p:cNvPr id="14" name="TextBox 13">
            <a:extLst>
              <a:ext uri="{FF2B5EF4-FFF2-40B4-BE49-F238E27FC236}">
                <a16:creationId xmlns:a16="http://schemas.microsoft.com/office/drawing/2014/main" id="{C85A9E99-AA4E-C194-FF2A-6C5AC5C1CF94}"/>
              </a:ext>
            </a:extLst>
          </p:cNvPr>
          <p:cNvSpPr txBox="1"/>
          <p:nvPr/>
        </p:nvSpPr>
        <p:spPr>
          <a:xfrm>
            <a:off x="540000" y="1058179"/>
            <a:ext cx="11355826" cy="2554545"/>
          </a:xfrm>
          <a:prstGeom prst="rect">
            <a:avLst/>
          </a:prstGeom>
          <a:noFill/>
        </p:spPr>
        <p:txBody>
          <a:bodyPr wrap="square">
            <a:spAutoFit/>
          </a:bodyPr>
          <a:lstStyle/>
          <a:p>
            <a:pPr marL="285750" indent="-285750">
              <a:buFont typeface="Arial" panose="020B0604020202020204" pitchFamily="34" charset="0"/>
              <a:buChar char="•"/>
            </a:pPr>
            <a:r>
              <a:rPr lang="en-GB" sz="1600"/>
              <a:t>Try running again. The SSH connection is failing</a:t>
            </a:r>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r>
              <a:rPr lang="en-GB" sz="1600"/>
              <a:t>Update the </a:t>
            </a:r>
            <a:r>
              <a:rPr lang="en-GB" sz="1600" err="1"/>
              <a:t>hosts.yml</a:t>
            </a:r>
            <a:r>
              <a:rPr lang="en-GB" sz="1600"/>
              <a:t> file</a:t>
            </a:r>
            <a:endParaRPr lang="nb-NO" sz="1600"/>
          </a:p>
        </p:txBody>
      </p:sp>
      <p:sp>
        <p:nvSpPr>
          <p:cNvPr id="6" name="TextBox 5">
            <a:extLst>
              <a:ext uri="{FF2B5EF4-FFF2-40B4-BE49-F238E27FC236}">
                <a16:creationId xmlns:a16="http://schemas.microsoft.com/office/drawing/2014/main" id="{6ECA06EF-A331-F8AB-180C-1DC6A9AE7E43}"/>
              </a:ext>
            </a:extLst>
          </p:cNvPr>
          <p:cNvSpPr txBox="1"/>
          <p:nvPr/>
        </p:nvSpPr>
        <p:spPr>
          <a:xfrm>
            <a:off x="565339" y="1380095"/>
            <a:ext cx="11283761" cy="1859933"/>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 ansible-</a:t>
            </a:r>
            <a:r>
              <a:rPr lang="fr-FR" sz="1050" err="1">
                <a:solidFill>
                  <a:srgbClr val="EEE8D5"/>
                </a:solidFill>
                <a:latin typeface="Consolas" panose="020B0609020204030204" pitchFamily="49" charset="0"/>
              </a:rPr>
              <a:t>playbook</a:t>
            </a:r>
            <a:r>
              <a:rPr lang="fr-FR" sz="1050">
                <a:solidFill>
                  <a:srgbClr val="EEE8D5"/>
                </a:solidFill>
                <a:latin typeface="Consolas" panose="020B0609020204030204" pitchFamily="49" charset="0"/>
              </a:rPr>
              <a:t> -i </a:t>
            </a:r>
            <a:r>
              <a:rPr lang="fr-FR" sz="1050" err="1">
                <a:solidFill>
                  <a:srgbClr val="EEE8D5"/>
                </a:solidFill>
                <a:latin typeface="Consolas" panose="020B0609020204030204" pitchFamily="49" charset="0"/>
              </a:rPr>
              <a:t>hosts.ym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_facts-playbook.yml</a:t>
            </a:r>
            <a:endParaRPr lang="fr-FR" sz="1050">
              <a:solidFill>
                <a:srgbClr val="EEE8D5"/>
              </a:solidFill>
              <a:latin typeface="Consolas" panose="020B0609020204030204" pitchFamily="49" charset="0"/>
            </a:endParaRP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IOS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TASK</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Gather</a:t>
            </a:r>
            <a:r>
              <a:rPr lang="fr-FR" sz="1050">
                <a:solidFill>
                  <a:srgbClr val="EEE8D5"/>
                </a:solidFill>
                <a:latin typeface="Consolas" panose="020B0609020204030204" pitchFamily="49" charset="0"/>
              </a:rPr>
              <a:t> all </a:t>
            </a:r>
            <a:r>
              <a:rPr lang="fr-FR" sz="1050" err="1">
                <a:solidFill>
                  <a:srgbClr val="EEE8D5"/>
                </a:solidFill>
                <a:latin typeface="Consolas" panose="020B0609020204030204" pitchFamily="49" charset="0"/>
              </a:rPr>
              <a:t>legac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facts</a:t>
            </a:r>
            <a:r>
              <a:rPr lang="fr-FR" sz="1050">
                <a:solidFill>
                  <a:srgbClr val="EEE8D5"/>
                </a:solidFill>
                <a:latin typeface="Consolas" panose="020B0609020204030204" pitchFamily="49" charset="0"/>
              </a:rPr>
              <a:t>] *************************************************************************************************************************</a:t>
            </a:r>
          </a:p>
          <a:p>
            <a:pPr lvl="1"/>
            <a:r>
              <a:rPr lang="fr-FR" sz="1050">
                <a:solidFill>
                  <a:srgbClr val="FF0000"/>
                </a:solidFill>
                <a:latin typeface="Consolas" panose="020B0609020204030204" pitchFamily="49" charset="0"/>
              </a:rPr>
              <a:t>fatal: [192.168.10.3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 =&gt; {"</a:t>
            </a:r>
            <a:r>
              <a:rPr lang="fr-FR" sz="1050" err="1">
                <a:solidFill>
                  <a:srgbClr val="FF0000"/>
                </a:solidFill>
                <a:latin typeface="Consolas" panose="020B0609020204030204" pitchFamily="49" charset="0"/>
              </a:rPr>
              <a:t>changed</a:t>
            </a:r>
            <a:r>
              <a:rPr lang="fr-FR" sz="1050">
                <a:solidFill>
                  <a:srgbClr val="FF0000"/>
                </a:solidFill>
                <a:latin typeface="Consolas" panose="020B0609020204030204" pitchFamily="49" charset="0"/>
              </a:rPr>
              <a:t>": false, "msg": "\</a:t>
            </a:r>
            <a:r>
              <a:rPr lang="fr-FR" sz="1050" err="1">
                <a:solidFill>
                  <a:srgbClr val="FF0000"/>
                </a:solidFill>
                <a:latin typeface="Consolas" panose="020B0609020204030204" pitchFamily="49" charset="0"/>
              </a:rPr>
              <a:t>nlibssh</a:t>
            </a:r>
            <a:r>
              <a:rPr lang="fr-FR" sz="1050">
                <a:solidFill>
                  <a:srgbClr val="FF0000"/>
                </a:solidFill>
                <a:latin typeface="Consolas" panose="020B0609020204030204" pitchFamily="49" charset="0"/>
              </a:rPr>
              <a:t>: The </a:t>
            </a:r>
            <a:r>
              <a:rPr lang="fr-FR" sz="1050" err="1">
                <a:solidFill>
                  <a:srgbClr val="FF0000"/>
                </a:solidFill>
                <a:latin typeface="Consolas" panose="020B0609020204030204" pitchFamily="49" charset="0"/>
              </a:rPr>
              <a:t>authenticity</a:t>
            </a:r>
            <a:r>
              <a:rPr lang="fr-FR" sz="1050">
                <a:solidFill>
                  <a:srgbClr val="FF0000"/>
                </a:solidFill>
                <a:latin typeface="Consolas" panose="020B0609020204030204" pitchFamily="49" charset="0"/>
              </a:rPr>
              <a:t> of host '192.168.10.30' </a:t>
            </a:r>
            <a:r>
              <a:rPr lang="fr-FR" sz="1050" err="1">
                <a:solidFill>
                  <a:srgbClr val="FF0000"/>
                </a:solidFill>
                <a:latin typeface="Consolas" panose="020B0609020204030204" pitchFamily="49" charset="0"/>
              </a:rPr>
              <a:t>can't</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be</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established</a:t>
            </a:r>
            <a:r>
              <a:rPr lang="fr-FR" sz="1050">
                <a:solidFill>
                  <a:srgbClr val="FF0000"/>
                </a:solidFill>
                <a:latin typeface="Consolas" panose="020B0609020204030204" pitchFamily="49" charset="0"/>
              </a:rPr>
              <a:t> due to 'Hos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unknown</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41:86:3e:e4:fb:9f:de:06:5b:72:f3:ce:75:f1:da:ad:e7:a5:13:c0</a:t>
            </a:r>
            <a:r>
              <a:rPr lang="fr-FR" sz="1050">
                <a:solidFill>
                  <a:srgbClr val="FF0000"/>
                </a:solidFill>
                <a:latin typeface="Consolas" panose="020B0609020204030204" pitchFamily="49" charset="0"/>
              </a:rPr>
              <a:t>'.\</a:t>
            </a:r>
            <a:r>
              <a:rPr lang="fr-FR" sz="1050" err="1">
                <a:solidFill>
                  <a:srgbClr val="FF0000"/>
                </a:solidFill>
                <a:latin typeface="Consolas" panose="020B0609020204030204" pitchFamily="49" charset="0"/>
              </a:rPr>
              <a:t>nThe</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ssh-rsa</a:t>
            </a:r>
            <a:r>
              <a:rPr lang="fr-FR" sz="1050">
                <a:solidFill>
                  <a:srgbClr val="FF0000"/>
                </a:solidFill>
                <a:latin typeface="Consolas" panose="020B0609020204030204" pitchFamily="49" charset="0"/>
              </a:rPr>
              <a:t> key </a:t>
            </a:r>
            <a:r>
              <a:rPr lang="fr-FR" sz="1050" err="1">
                <a:solidFill>
                  <a:srgbClr val="FF0000"/>
                </a:solidFill>
                <a:latin typeface="Consolas" panose="020B0609020204030204" pitchFamily="49" charset="0"/>
              </a:rPr>
              <a:t>fingerprint</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is</a:t>
            </a:r>
            <a:r>
              <a:rPr lang="fr-FR" sz="1050">
                <a:solidFill>
                  <a:srgbClr val="FF0000"/>
                </a:solidFill>
                <a:latin typeface="Consolas" panose="020B0609020204030204" pitchFamily="49" charset="0"/>
              </a:rPr>
              <a:t> </a:t>
            </a:r>
            <a:r>
              <a:rPr lang="fr-FR" sz="1050" err="1">
                <a:solidFill>
                  <a:srgbClr val="FF0000"/>
                </a:solidFill>
                <a:latin typeface="Consolas" panose="020B0609020204030204" pitchFamily="49" charset="0"/>
              </a:rPr>
              <a:t>SHA1:QYY+5Puf3gZbcvPOdfHareelE8A</a:t>
            </a:r>
            <a:r>
              <a:rPr lang="fr-FR" sz="1050">
                <a:solidFill>
                  <a:srgbClr val="FF0000"/>
                </a:solidFill>
                <a:latin typeface="Consolas" panose="020B0609020204030204" pitchFamily="49" charset="0"/>
              </a:rPr>
              <a:t>."}</a:t>
            </a:r>
          </a:p>
          <a:p>
            <a:pPr lvl="1"/>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LAY RECAP *********************************************************************************************************************************************</a:t>
            </a:r>
          </a:p>
          <a:p>
            <a:pPr lvl="1"/>
            <a:r>
              <a:rPr lang="fr-FR" sz="1050">
                <a:solidFill>
                  <a:srgbClr val="FF0000"/>
                </a:solidFill>
                <a:latin typeface="Consolas" panose="020B0609020204030204" pitchFamily="49" charset="0"/>
              </a:rPr>
              <a:t>192.168.10.30</a:t>
            </a:r>
            <a:r>
              <a:rPr lang="fr-FR" sz="1050">
                <a:solidFill>
                  <a:srgbClr val="EEE8D5"/>
                </a:solidFill>
                <a:latin typeface="Consolas" panose="020B0609020204030204" pitchFamily="49" charset="0"/>
              </a:rPr>
              <a:t>              : ok=0    </a:t>
            </a:r>
            <a:r>
              <a:rPr lang="fr-FR" sz="1050" err="1">
                <a:solidFill>
                  <a:srgbClr val="EEE8D5"/>
                </a:solidFill>
                <a:latin typeface="Consolas" panose="020B0609020204030204" pitchFamily="49" charset="0"/>
              </a:rPr>
              <a:t>chang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unreachable</a:t>
            </a:r>
            <a:r>
              <a:rPr lang="fr-FR" sz="1050">
                <a:solidFill>
                  <a:srgbClr val="EEE8D5"/>
                </a:solidFill>
                <a:latin typeface="Consolas" panose="020B0609020204030204" pitchFamily="49" charset="0"/>
              </a:rPr>
              <a:t>=0    </a:t>
            </a:r>
            <a:r>
              <a:rPr lang="fr-FR" sz="1050" err="1">
                <a:solidFill>
                  <a:srgbClr val="FF0000"/>
                </a:solidFill>
                <a:latin typeface="Consolas" panose="020B0609020204030204" pitchFamily="49" charset="0"/>
              </a:rPr>
              <a:t>failed</a:t>
            </a:r>
            <a:r>
              <a:rPr lang="fr-FR" sz="1050">
                <a:solidFill>
                  <a:srgbClr val="FF0000"/>
                </a:solidFill>
                <a:latin typeface="Consolas" panose="020B0609020204030204" pitchFamily="49" charset="0"/>
              </a:rPr>
              <a:t>=1</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skipp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rescued</a:t>
            </a:r>
            <a:r>
              <a:rPr lang="fr-FR" sz="1050">
                <a:solidFill>
                  <a:srgbClr val="EEE8D5"/>
                </a:solidFill>
                <a:latin typeface="Consolas" panose="020B0609020204030204" pitchFamily="49" charset="0"/>
              </a:rPr>
              <a:t>=0    </a:t>
            </a:r>
            <a:r>
              <a:rPr lang="fr-FR" sz="1050" err="1">
                <a:solidFill>
                  <a:srgbClr val="EEE8D5"/>
                </a:solidFill>
                <a:latin typeface="Consolas" panose="020B0609020204030204" pitchFamily="49" charset="0"/>
              </a:rPr>
              <a:t>ignored</a:t>
            </a:r>
            <a:r>
              <a:rPr lang="fr-FR" sz="1050">
                <a:solidFill>
                  <a:srgbClr val="EEE8D5"/>
                </a:solidFill>
                <a:latin typeface="Consolas" panose="020B0609020204030204" pitchFamily="49" charset="0"/>
              </a:rPr>
              <a:t>=0</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SH host key checking</a:t>
            </a:r>
          </a:p>
        </p:txBody>
      </p:sp>
      <p:sp>
        <p:nvSpPr>
          <p:cNvPr id="2" name="Footer Placeholder 6">
            <a:extLst>
              <a:ext uri="{FF2B5EF4-FFF2-40B4-BE49-F238E27FC236}">
                <a16:creationId xmlns:a16="http://schemas.microsoft.com/office/drawing/2014/main" id="{5A56B88F-F533-AA01-EE24-F49D6CE124E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3A51921F-6FDD-0861-65C2-D29FFCE1CD9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8" name="TextBox 7">
            <a:extLst>
              <a:ext uri="{FF2B5EF4-FFF2-40B4-BE49-F238E27FC236}">
                <a16:creationId xmlns:a16="http://schemas.microsoft.com/office/drawing/2014/main" id="{D895C0DE-5A5E-BAD0-09E1-C0CCA6D2E272}"/>
              </a:ext>
            </a:extLst>
          </p:cNvPr>
          <p:cNvSpPr txBox="1"/>
          <p:nvPr/>
        </p:nvSpPr>
        <p:spPr>
          <a:xfrm>
            <a:off x="9901192" y="3705575"/>
            <a:ext cx="2289221" cy="246221"/>
          </a:xfrm>
          <a:prstGeom prst="rect">
            <a:avLst/>
          </a:prstGeom>
          <a:noFill/>
        </p:spPr>
        <p:txBody>
          <a:bodyPr wrap="square">
            <a:spAutoFit/>
          </a:bodyPr>
          <a:lstStyle/>
          <a:p>
            <a:r>
              <a:rPr lang="en-GB" sz="1000" err="1">
                <a:latin typeface="Consolas" panose="020B0609020204030204" pitchFamily="49" charset="0"/>
              </a:rPr>
              <a:t>hosts.yml</a:t>
            </a:r>
            <a:endParaRPr lang="nb-NO" sz="1000">
              <a:latin typeface="Consolas" panose="020B0609020204030204" pitchFamily="49" charset="0"/>
            </a:endParaRPr>
          </a:p>
        </p:txBody>
      </p:sp>
      <p:sp>
        <p:nvSpPr>
          <p:cNvPr id="9" name="TextBox 8">
            <a:extLst>
              <a:ext uri="{FF2B5EF4-FFF2-40B4-BE49-F238E27FC236}">
                <a16:creationId xmlns:a16="http://schemas.microsoft.com/office/drawing/2014/main" id="{C5D0C8DA-7085-00DB-1E89-BC180452B60B}"/>
              </a:ext>
            </a:extLst>
          </p:cNvPr>
          <p:cNvSpPr txBox="1"/>
          <p:nvPr/>
        </p:nvSpPr>
        <p:spPr>
          <a:xfrm>
            <a:off x="9935699" y="3911099"/>
            <a:ext cx="2234512" cy="861774"/>
          </a:xfrm>
          <a:prstGeom prst="rect">
            <a:avLst/>
          </a:prstGeom>
          <a:noFill/>
          <a:ln>
            <a:solidFill>
              <a:srgbClr val="002B36"/>
            </a:solidFill>
          </a:ln>
        </p:spPr>
        <p:txBody>
          <a:bodyPr wrap="square">
            <a:spAutoFit/>
          </a:bodyPr>
          <a:lstStyle/>
          <a:p>
            <a:r>
              <a:rPr lang="en-US" sz="500" dirty="0" err="1">
                <a:latin typeface="Consolas" panose="020B0609020204030204" pitchFamily="49" charset="0"/>
              </a:rPr>
              <a:t>wlc</a:t>
            </a:r>
            <a:r>
              <a:rPr lang="en-US" sz="500" dirty="0">
                <a:latin typeface="Consolas" panose="020B0609020204030204" pitchFamily="49" charset="0"/>
              </a:rPr>
              <a:t>:</a:t>
            </a:r>
          </a:p>
          <a:p>
            <a:r>
              <a:rPr lang="en-US" sz="500" dirty="0">
                <a:latin typeface="Consolas" panose="020B0609020204030204" pitchFamily="49" charset="0"/>
              </a:rPr>
              <a:t>  hosts:</a:t>
            </a:r>
          </a:p>
          <a:p>
            <a:r>
              <a:rPr lang="en-US" sz="500" dirty="0">
                <a:latin typeface="Consolas" panose="020B0609020204030204" pitchFamily="49" charset="0"/>
              </a:rPr>
              <a:t>    192.168.10.{WLC-IP}:</a:t>
            </a:r>
          </a:p>
          <a:p>
            <a:r>
              <a:rPr lang="en-US" sz="500" dirty="0">
                <a:latin typeface="Consolas" panose="020B0609020204030204" pitchFamily="49" charset="0"/>
              </a:rPr>
              <a:t>  vars:</a:t>
            </a:r>
          </a:p>
          <a:p>
            <a:r>
              <a:rPr lang="en-US" sz="500" dirty="0">
                <a:latin typeface="Consolas" panose="020B0609020204030204" pitchFamily="49" charset="0"/>
              </a:rPr>
              <a:t>    </a:t>
            </a:r>
            <a:r>
              <a:rPr lang="en-US" sz="500" dirty="0" err="1">
                <a:latin typeface="Consolas" panose="020B0609020204030204" pitchFamily="49" charset="0"/>
              </a:rPr>
              <a:t>ansible_connection</a:t>
            </a:r>
            <a:r>
              <a:rPr lang="en-US" sz="500" dirty="0">
                <a:latin typeface="Consolas" panose="020B0609020204030204" pitchFamily="49" charset="0"/>
              </a:rPr>
              <a:t>: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network_os</a:t>
            </a:r>
            <a:r>
              <a:rPr lang="en-US" sz="500" dirty="0">
                <a:latin typeface="Consolas" panose="020B0609020204030204" pitchFamily="49" charset="0"/>
              </a:rPr>
              <a:t>: </a:t>
            </a:r>
            <a:r>
              <a:rPr lang="en-US" sz="500" dirty="0" err="1">
                <a:latin typeface="Consolas" panose="020B0609020204030204" pitchFamily="49" charset="0"/>
              </a:rPr>
              <a:t>ios</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ssh_pass</a:t>
            </a:r>
            <a:r>
              <a:rPr lang="en-US" sz="500" dirty="0">
                <a:latin typeface="Consolas" panose="020B0609020204030204" pitchFamily="49" charset="0"/>
              </a:rPr>
              <a:t>: </a:t>
            </a:r>
            <a:r>
              <a:rPr lang="en-US" sz="500" dirty="0" err="1">
                <a:latin typeface="Consolas" panose="020B0609020204030204" pitchFamily="49" charset="0"/>
              </a:rPr>
              <a:t>ChangeMe2024</a:t>
            </a:r>
            <a:r>
              <a:rPr lang="en-US" sz="500" dirty="0">
                <a:latin typeface="Consolas" panose="020B0609020204030204" pitchFamily="49" charset="0"/>
              </a:rPr>
              <a:t>!</a:t>
            </a:r>
          </a:p>
          <a:p>
            <a:r>
              <a:rPr lang="en-US" sz="500" dirty="0">
                <a:latin typeface="Consolas" panose="020B0609020204030204" pitchFamily="49" charset="0"/>
              </a:rPr>
              <a:t>    </a:t>
            </a:r>
            <a:r>
              <a:rPr lang="en-US" sz="500" dirty="0" err="1">
                <a:latin typeface="Consolas" panose="020B0609020204030204" pitchFamily="49" charset="0"/>
              </a:rPr>
              <a:t>ansible_password</a:t>
            </a:r>
            <a:r>
              <a:rPr lang="en-US" sz="500" dirty="0">
                <a:latin typeface="Consolas" panose="020B0609020204030204" pitchFamily="49" charset="0"/>
              </a:rPr>
              <a:t>: </a:t>
            </a:r>
            <a:r>
              <a:rPr lang="en-US" sz="500" dirty="0" err="1">
                <a:latin typeface="Consolas" panose="020B0609020204030204" pitchFamily="49" charset="0"/>
              </a:rPr>
              <a:t>ChangeMe2024</a:t>
            </a:r>
            <a:r>
              <a:rPr lang="en-US" sz="500" dirty="0">
                <a:latin typeface="Consolas" panose="020B0609020204030204" pitchFamily="49" charset="0"/>
              </a:rPr>
              <a:t>!</a:t>
            </a:r>
          </a:p>
          <a:p>
            <a:r>
              <a:rPr lang="en-US" sz="500" dirty="0">
                <a:latin typeface="Consolas" panose="020B0609020204030204" pitchFamily="49" charset="0"/>
              </a:rPr>
              <a:t>    </a:t>
            </a:r>
            <a:r>
              <a:rPr lang="en-US" sz="500" dirty="0" err="1">
                <a:latin typeface="Consolas" panose="020B0609020204030204" pitchFamily="49" charset="0"/>
              </a:rPr>
              <a:t>ansible_user</a:t>
            </a:r>
            <a:r>
              <a:rPr lang="en-US" sz="500" dirty="0">
                <a:latin typeface="Consolas" panose="020B0609020204030204" pitchFamily="49" charset="0"/>
              </a:rPr>
              <a:t>: </a:t>
            </a:r>
            <a:r>
              <a:rPr lang="en-US" sz="500" dirty="0" err="1">
                <a:latin typeface="Consolas" panose="020B0609020204030204" pitchFamily="49" charset="0"/>
              </a:rPr>
              <a:t>devnet-adm</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ansible_host_key_checking</a:t>
            </a:r>
            <a:r>
              <a:rPr lang="en-US" sz="500" dirty="0">
                <a:latin typeface="Consolas" panose="020B0609020204030204" pitchFamily="49" charset="0"/>
              </a:rPr>
              <a:t>: False</a:t>
            </a:r>
          </a:p>
        </p:txBody>
      </p:sp>
      <p:cxnSp>
        <p:nvCxnSpPr>
          <p:cNvPr id="15" name="Straight Arrow Connector 14">
            <a:extLst>
              <a:ext uri="{FF2B5EF4-FFF2-40B4-BE49-F238E27FC236}">
                <a16:creationId xmlns:a16="http://schemas.microsoft.com/office/drawing/2014/main" id="{19DA8578-13B5-7BEC-8B5B-8636BC334503}"/>
              </a:ext>
            </a:extLst>
          </p:cNvPr>
          <p:cNvCxnSpPr>
            <a:cxnSpLocks/>
            <a:stCxn id="9" idx="1"/>
            <a:endCxn id="19" idx="3"/>
          </p:cNvCxnSpPr>
          <p:nvPr/>
        </p:nvCxnSpPr>
        <p:spPr>
          <a:xfrm flipH="1">
            <a:off x="4722718" y="4341986"/>
            <a:ext cx="5212981" cy="13321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Rectangle: Rounded Corners 18">
            <a:extLst>
              <a:ext uri="{FF2B5EF4-FFF2-40B4-BE49-F238E27FC236}">
                <a16:creationId xmlns:a16="http://schemas.microsoft.com/office/drawing/2014/main" id="{FF82F14C-31B3-80C9-C4DB-E8559F942254}"/>
              </a:ext>
            </a:extLst>
          </p:cNvPr>
          <p:cNvSpPr/>
          <p:nvPr/>
        </p:nvSpPr>
        <p:spPr>
          <a:xfrm>
            <a:off x="1325880" y="5568695"/>
            <a:ext cx="3396838" cy="21082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4" name="Rectangle: Rounded Corners 3">
            <a:extLst>
              <a:ext uri="{FF2B5EF4-FFF2-40B4-BE49-F238E27FC236}">
                <a16:creationId xmlns:a16="http://schemas.microsoft.com/office/drawing/2014/main" id="{E3546BE2-B8A5-E0B8-BE46-976B701B35A5}"/>
              </a:ext>
            </a:extLst>
          </p:cNvPr>
          <p:cNvSpPr/>
          <p:nvPr/>
        </p:nvSpPr>
        <p:spPr>
          <a:xfrm>
            <a:off x="5815601" y="2290723"/>
            <a:ext cx="4589639" cy="21336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TextBox 9">
            <a:extLst>
              <a:ext uri="{FF2B5EF4-FFF2-40B4-BE49-F238E27FC236}">
                <a16:creationId xmlns:a16="http://schemas.microsoft.com/office/drawing/2014/main" id="{0D004971-B09B-5198-A7B4-EA0E3483F153}"/>
              </a:ext>
            </a:extLst>
          </p:cNvPr>
          <p:cNvSpPr txBox="1"/>
          <p:nvPr/>
        </p:nvSpPr>
        <p:spPr>
          <a:xfrm>
            <a:off x="6095206" y="3729672"/>
            <a:ext cx="2226527" cy="646331"/>
          </a:xfrm>
          <a:prstGeom prst="rect">
            <a:avLst/>
          </a:prstGeom>
          <a:noFill/>
        </p:spPr>
        <p:txBody>
          <a:bodyPr wrap="square">
            <a:spAutoFit/>
          </a:bodyPr>
          <a:lstStyle/>
          <a:p>
            <a:r>
              <a:rPr lang="nb-NO" sz="1800" dirty="0" err="1"/>
              <a:t>Change</a:t>
            </a:r>
            <a:r>
              <a:rPr lang="nb-NO" sz="1800" dirty="0"/>
              <a:t> to YOUR</a:t>
            </a:r>
          </a:p>
          <a:p>
            <a:r>
              <a:rPr lang="nb-NO" dirty="0" err="1"/>
              <a:t>WLC</a:t>
            </a:r>
            <a:r>
              <a:rPr lang="nb-NO" dirty="0"/>
              <a:t> IP</a:t>
            </a:r>
          </a:p>
        </p:txBody>
      </p:sp>
      <p:cxnSp>
        <p:nvCxnSpPr>
          <p:cNvPr id="11" name="Straight Arrow Connector 10">
            <a:extLst>
              <a:ext uri="{FF2B5EF4-FFF2-40B4-BE49-F238E27FC236}">
                <a16:creationId xmlns:a16="http://schemas.microsoft.com/office/drawing/2014/main" id="{5A9D9A91-476A-89AD-353F-CAFCC9F6DD66}"/>
              </a:ext>
            </a:extLst>
          </p:cNvPr>
          <p:cNvCxnSpPr>
            <a:cxnSpLocks/>
          </p:cNvCxnSpPr>
          <p:nvPr/>
        </p:nvCxnSpPr>
        <p:spPr>
          <a:xfrm flipH="1">
            <a:off x="3505163" y="4052837"/>
            <a:ext cx="2623744" cy="978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7023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ather fact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6094562" cy="369332"/>
          </a:xfrm>
          <a:prstGeom prst="rect">
            <a:avLst/>
          </a:prstGeom>
          <a:noFill/>
        </p:spPr>
        <p:txBody>
          <a:bodyPr wrap="square">
            <a:spAutoFit/>
          </a:bodyPr>
          <a:lstStyle/>
          <a:p>
            <a:pPr marL="285750" indent="-285750">
              <a:buFont typeface="Arial" panose="020B0604020202020204" pitchFamily="34" charset="0"/>
              <a:buChar char="•"/>
            </a:pPr>
            <a:r>
              <a:rPr lang="en-GB"/>
              <a:t>Successful play</a:t>
            </a:r>
            <a:endParaRPr lang="nb-NO"/>
          </a:p>
        </p:txBody>
      </p:sp>
      <p:sp>
        <p:nvSpPr>
          <p:cNvPr id="2" name="Footer Placeholder 6">
            <a:extLst>
              <a:ext uri="{FF2B5EF4-FFF2-40B4-BE49-F238E27FC236}">
                <a16:creationId xmlns:a16="http://schemas.microsoft.com/office/drawing/2014/main" id="{905DF99C-FD39-BD07-8B7D-CD8CEB3BA98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440CA42-C58B-F058-4FA1-B62FA163264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5" name="Picture 4">
            <a:extLst>
              <a:ext uri="{FF2B5EF4-FFF2-40B4-BE49-F238E27FC236}">
                <a16:creationId xmlns:a16="http://schemas.microsoft.com/office/drawing/2014/main" id="{AF31B7FE-DED4-437A-E5AB-AC072D0C8D5B}"/>
              </a:ext>
            </a:extLst>
          </p:cNvPr>
          <p:cNvPicPr>
            <a:picLocks noChangeAspect="1"/>
          </p:cNvPicPr>
          <p:nvPr/>
        </p:nvPicPr>
        <p:blipFill>
          <a:blip r:embed="rId3"/>
          <a:stretch>
            <a:fillRect/>
          </a:stretch>
        </p:blipFill>
        <p:spPr>
          <a:xfrm>
            <a:off x="539763" y="1489584"/>
            <a:ext cx="11109600" cy="3683515"/>
          </a:xfrm>
          <a:prstGeom prst="rect">
            <a:avLst/>
          </a:prstGeom>
        </p:spPr>
      </p:pic>
    </p:spTree>
    <p:extLst>
      <p:ext uri="{BB962C8B-B14F-4D97-AF65-F5344CB8AC3E}">
        <p14:creationId xmlns:p14="http://schemas.microsoft.com/office/powerpoint/2010/main" val="144517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parts of return values</a:t>
            </a:r>
          </a:p>
        </p:txBody>
      </p:sp>
      <p:sp>
        <p:nvSpPr>
          <p:cNvPr id="14" name="TextBox 13">
            <a:extLst>
              <a:ext uri="{FF2B5EF4-FFF2-40B4-BE49-F238E27FC236}">
                <a16:creationId xmlns:a16="http://schemas.microsoft.com/office/drawing/2014/main" id="{C85A9E99-AA4E-C194-FF2A-6C5AC5C1CF94}"/>
              </a:ext>
            </a:extLst>
          </p:cNvPr>
          <p:cNvSpPr txBox="1"/>
          <p:nvPr/>
        </p:nvSpPr>
        <p:spPr>
          <a:xfrm>
            <a:off x="540000" y="1046126"/>
            <a:ext cx="7012944" cy="769441"/>
          </a:xfrm>
          <a:prstGeom prst="rect">
            <a:avLst/>
          </a:prstGeom>
          <a:noFill/>
        </p:spPr>
        <p:txBody>
          <a:bodyPr wrap="square">
            <a:spAutoFit/>
          </a:bodyPr>
          <a:lstStyle/>
          <a:p>
            <a:pPr marL="285750" indent="-285750">
              <a:buFont typeface="Arial" panose="020B0604020202020204" pitchFamily="34" charset="0"/>
              <a:buChar char="•"/>
            </a:pPr>
            <a:r>
              <a:rPr lang="en-GB" sz="1600" dirty="0"/>
              <a:t>The returned </a:t>
            </a:r>
            <a:r>
              <a:rPr lang="en-GB" sz="1600" dirty="0" err="1"/>
              <a:t>facts1</a:t>
            </a:r>
            <a:r>
              <a:rPr lang="en-GB" sz="1600" dirty="0"/>
              <a:t> is a dictionary</a:t>
            </a:r>
          </a:p>
          <a:p>
            <a:pPr marL="742950" lvl="1" indent="-285750">
              <a:buFont typeface="Arial" panose="020B0604020202020204" pitchFamily="34" charset="0"/>
              <a:buChar char="•"/>
            </a:pPr>
            <a:r>
              <a:rPr lang="en-GB" sz="1400" dirty="0"/>
              <a:t>You can use dot notation</a:t>
            </a:r>
          </a:p>
          <a:p>
            <a:pPr marL="742950" lvl="1" indent="-285750">
              <a:buFont typeface="Arial" panose="020B0604020202020204" pitchFamily="34" charset="0"/>
              <a:buChar char="•"/>
            </a:pPr>
            <a:r>
              <a:rPr lang="en-GB" sz="1400" dirty="0"/>
              <a:t>Edit the "Show facts" task, to show only some subset of the info</a:t>
            </a:r>
            <a:endParaRPr lang="nb-NO" sz="1400" dirty="0"/>
          </a:p>
        </p:txBody>
      </p:sp>
      <p:pic>
        <p:nvPicPr>
          <p:cNvPr id="4" name="Picture 3">
            <a:extLst>
              <a:ext uri="{FF2B5EF4-FFF2-40B4-BE49-F238E27FC236}">
                <a16:creationId xmlns:a16="http://schemas.microsoft.com/office/drawing/2014/main" id="{8E3B416C-1AC1-0470-482B-62B74E32F3A7}"/>
              </a:ext>
            </a:extLst>
          </p:cNvPr>
          <p:cNvPicPr>
            <a:picLocks noChangeAspect="1"/>
          </p:cNvPicPr>
          <p:nvPr/>
        </p:nvPicPr>
        <p:blipFill>
          <a:blip r:embed="rId3"/>
          <a:stretch>
            <a:fillRect/>
          </a:stretch>
        </p:blipFill>
        <p:spPr>
          <a:xfrm>
            <a:off x="540000" y="1813396"/>
            <a:ext cx="4753638" cy="704948"/>
          </a:xfrm>
          <a:prstGeom prst="rect">
            <a:avLst/>
          </a:prstGeom>
        </p:spPr>
      </p:pic>
      <p:sp>
        <p:nvSpPr>
          <p:cNvPr id="2" name="Footer Placeholder 6">
            <a:extLst>
              <a:ext uri="{FF2B5EF4-FFF2-40B4-BE49-F238E27FC236}">
                <a16:creationId xmlns:a16="http://schemas.microsoft.com/office/drawing/2014/main" id="{D32DEF22-23EF-3705-A8AC-D7D9A74FC18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021D0895-1BD4-E42E-90B2-511DFB6CF3C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cxnSp>
        <p:nvCxnSpPr>
          <p:cNvPr id="13" name="Straight Arrow Connector 12">
            <a:extLst>
              <a:ext uri="{FF2B5EF4-FFF2-40B4-BE49-F238E27FC236}">
                <a16:creationId xmlns:a16="http://schemas.microsoft.com/office/drawing/2014/main" id="{D61812EA-9C4C-C401-D73C-5C2AED17E68E}"/>
              </a:ext>
            </a:extLst>
          </p:cNvPr>
          <p:cNvCxnSpPr>
            <a:cxnSpLocks/>
            <a:stCxn id="7" idx="1"/>
          </p:cNvCxnSpPr>
          <p:nvPr/>
        </p:nvCxnSpPr>
        <p:spPr>
          <a:xfrm flipH="1">
            <a:off x="4796758" y="1509469"/>
            <a:ext cx="3570002" cy="6386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88628DF3-EB19-D398-31DF-C57D1A7E5384}"/>
              </a:ext>
            </a:extLst>
          </p:cNvPr>
          <p:cNvPicPr>
            <a:picLocks noChangeAspect="1"/>
          </p:cNvPicPr>
          <p:nvPr/>
        </p:nvPicPr>
        <p:blipFill>
          <a:blip r:embed="rId4"/>
          <a:stretch>
            <a:fillRect/>
          </a:stretch>
        </p:blipFill>
        <p:spPr>
          <a:xfrm>
            <a:off x="540000" y="2639282"/>
            <a:ext cx="8953402" cy="3348768"/>
          </a:xfrm>
          <a:prstGeom prst="rect">
            <a:avLst/>
          </a:prstGeom>
        </p:spPr>
      </p:pic>
      <p:sp>
        <p:nvSpPr>
          <p:cNvPr id="7" name="TextBox 6">
            <a:extLst>
              <a:ext uri="{FF2B5EF4-FFF2-40B4-BE49-F238E27FC236}">
                <a16:creationId xmlns:a16="http://schemas.microsoft.com/office/drawing/2014/main" id="{BDE6D847-0168-34D0-0332-3AF6D1E7A57F}"/>
              </a:ext>
            </a:extLst>
          </p:cNvPr>
          <p:cNvSpPr txBox="1"/>
          <p:nvPr/>
        </p:nvSpPr>
        <p:spPr>
          <a:xfrm>
            <a:off x="8366760" y="1301720"/>
            <a:ext cx="3593050" cy="415498"/>
          </a:xfrm>
          <a:prstGeom prst="rect">
            <a:avLst/>
          </a:prstGeom>
          <a:noFill/>
          <a:ln>
            <a:solidFill>
              <a:srgbClr val="002B36"/>
            </a:solidFill>
          </a:ln>
        </p:spPr>
        <p:txBody>
          <a:bodyPr wrap="square">
            <a:spAutoFit/>
          </a:bodyPr>
          <a:lstStyle/>
          <a:p>
            <a:r>
              <a:rPr lang="en-US" sz="700" dirty="0">
                <a:latin typeface="Consolas" panose="020B0609020204030204" pitchFamily="49" charset="0"/>
              </a:rPr>
              <a:t> - name: Show facts</a:t>
            </a:r>
          </a:p>
          <a:p>
            <a:r>
              <a:rPr lang="en-US" sz="700" dirty="0">
                <a:latin typeface="Consolas" panose="020B0609020204030204" pitchFamily="49" charset="0"/>
              </a:rPr>
              <a:t>      debug:</a:t>
            </a:r>
          </a:p>
          <a:p>
            <a:r>
              <a:rPr lang="en-US" sz="700" dirty="0">
                <a:latin typeface="Consolas" panose="020B0609020204030204" pitchFamily="49" charset="0"/>
              </a:rPr>
              <a:t>        msg: "{{ </a:t>
            </a:r>
            <a:r>
              <a:rPr lang="en-US" sz="700" dirty="0" err="1">
                <a:latin typeface="Consolas" panose="020B0609020204030204" pitchFamily="49" charset="0"/>
              </a:rPr>
              <a:t>facts1.ansible_facts.ansible_net_interfaces</a:t>
            </a:r>
            <a:r>
              <a:rPr lang="en-US" sz="700" dirty="0">
                <a:latin typeface="Consolas" panose="020B0609020204030204" pitchFamily="49" charset="0"/>
              </a:rPr>
              <a:t> }}"</a:t>
            </a:r>
          </a:p>
        </p:txBody>
      </p:sp>
    </p:spTree>
    <p:extLst>
      <p:ext uri="{BB962C8B-B14F-4D97-AF65-F5344CB8AC3E}">
        <p14:creationId xmlns:p14="http://schemas.microsoft.com/office/powerpoint/2010/main" val="3994882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e return values</a:t>
            </a:r>
          </a:p>
        </p:txBody>
      </p:sp>
      <p:sp>
        <p:nvSpPr>
          <p:cNvPr id="2" name="TextBox 1">
            <a:extLst>
              <a:ext uri="{FF2B5EF4-FFF2-40B4-BE49-F238E27FC236}">
                <a16:creationId xmlns:a16="http://schemas.microsoft.com/office/drawing/2014/main" id="{0C578A6C-5215-9DFE-51D6-8AA7A3E4A34A}"/>
              </a:ext>
            </a:extLst>
          </p:cNvPr>
          <p:cNvSpPr txBox="1"/>
          <p:nvPr/>
        </p:nvSpPr>
        <p:spPr>
          <a:xfrm>
            <a:off x="496256" y="901998"/>
            <a:ext cx="7856863" cy="646331"/>
          </a:xfrm>
          <a:prstGeom prst="rect">
            <a:avLst/>
          </a:prstGeom>
          <a:noFill/>
        </p:spPr>
        <p:txBody>
          <a:bodyPr wrap="square">
            <a:spAutoFit/>
          </a:bodyPr>
          <a:lstStyle/>
          <a:p>
            <a:pPr marL="285750" indent="-285750">
              <a:buFont typeface="Arial" panose="020B0604020202020204" pitchFamily="34" charset="0"/>
              <a:buChar char="•"/>
            </a:pPr>
            <a:r>
              <a:rPr lang="en-GB" dirty="0"/>
              <a:t>We will use the returned facts, to write the run-config to a file</a:t>
            </a:r>
          </a:p>
          <a:p>
            <a:pPr marL="285750" indent="-285750">
              <a:buFont typeface="Arial" panose="020B0604020202020204" pitchFamily="34" charset="0"/>
              <a:buChar char="•"/>
            </a:pPr>
            <a:r>
              <a:rPr lang="en-GB" dirty="0"/>
              <a:t>Remove the "Show facts" task, and replace it with a new task</a:t>
            </a:r>
          </a:p>
        </p:txBody>
      </p:sp>
      <p:pic>
        <p:nvPicPr>
          <p:cNvPr id="6" name="Picture 5">
            <a:extLst>
              <a:ext uri="{FF2B5EF4-FFF2-40B4-BE49-F238E27FC236}">
                <a16:creationId xmlns:a16="http://schemas.microsoft.com/office/drawing/2014/main" id="{60B7BE4B-C380-F509-39B9-63F66FEDB884}"/>
              </a:ext>
            </a:extLst>
          </p:cNvPr>
          <p:cNvPicPr>
            <a:picLocks noChangeAspect="1"/>
          </p:cNvPicPr>
          <p:nvPr/>
        </p:nvPicPr>
        <p:blipFill>
          <a:blip r:embed="rId3"/>
          <a:stretch>
            <a:fillRect/>
          </a:stretch>
        </p:blipFill>
        <p:spPr>
          <a:xfrm>
            <a:off x="562836" y="1928941"/>
            <a:ext cx="6516009" cy="724001"/>
          </a:xfrm>
          <a:prstGeom prst="rect">
            <a:avLst/>
          </a:prstGeom>
        </p:spPr>
      </p:pic>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9" name="TextBox 8">
            <a:extLst>
              <a:ext uri="{FF2B5EF4-FFF2-40B4-BE49-F238E27FC236}">
                <a16:creationId xmlns:a16="http://schemas.microsoft.com/office/drawing/2014/main" id="{F7E8DAB2-B61C-1E44-456F-446588A235A8}"/>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sp>
        <p:nvSpPr>
          <p:cNvPr id="12" name="TextBox 11">
            <a:extLst>
              <a:ext uri="{FF2B5EF4-FFF2-40B4-BE49-F238E27FC236}">
                <a16:creationId xmlns:a16="http://schemas.microsoft.com/office/drawing/2014/main" id="{D483F744-8316-839B-7992-7B1DD50E29E1}"/>
              </a:ext>
            </a:extLst>
          </p:cNvPr>
          <p:cNvSpPr txBox="1"/>
          <p:nvPr/>
        </p:nvSpPr>
        <p:spPr>
          <a:xfrm>
            <a:off x="8794750" y="296996"/>
            <a:ext cx="3296480" cy="1169551"/>
          </a:xfrm>
          <a:prstGeom prst="rect">
            <a:avLst/>
          </a:prstGeom>
          <a:noFill/>
          <a:ln>
            <a:solidFill>
              <a:srgbClr val="002B36"/>
            </a:solidFill>
          </a:ln>
        </p:spPr>
        <p:txBody>
          <a:bodyPr wrap="square">
            <a:spAutoFit/>
          </a:bodyPr>
          <a:lstStyle/>
          <a:p>
            <a:r>
              <a:rPr lang="en-US" sz="500" dirty="0">
                <a:latin typeface="Consolas" panose="020B0609020204030204" pitchFamily="49" charset="0"/>
              </a:rPr>
              <a:t>---</a:t>
            </a:r>
          </a:p>
          <a:p>
            <a:r>
              <a:rPr lang="en-US" sz="500" dirty="0">
                <a:latin typeface="Consolas" panose="020B0609020204030204" pitchFamily="49" charset="0"/>
              </a:rPr>
              <a:t>- name: IOS Facts</a:t>
            </a:r>
          </a:p>
          <a:p>
            <a:r>
              <a:rPr lang="en-US" sz="500" dirty="0">
                <a:latin typeface="Consolas" panose="020B0609020204030204" pitchFamily="49" charset="0"/>
              </a:rPr>
              <a:t>  hosts: </a:t>
            </a:r>
            <a:r>
              <a:rPr lang="en-US" sz="500" dirty="0" err="1">
                <a:latin typeface="Consolas" panose="020B0609020204030204" pitchFamily="49" charset="0"/>
              </a:rPr>
              <a:t>wlc</a:t>
            </a:r>
            <a:endParaRPr lang="en-US" sz="500" dirty="0">
              <a:latin typeface="Consolas" panose="020B0609020204030204" pitchFamily="49" charset="0"/>
            </a:endParaRPr>
          </a:p>
          <a:p>
            <a:r>
              <a:rPr lang="en-US" sz="500" dirty="0">
                <a:latin typeface="Consolas" panose="020B0609020204030204" pitchFamily="49" charset="0"/>
              </a:rPr>
              <a:t>  connection: </a:t>
            </a:r>
            <a:r>
              <a:rPr lang="en-US" sz="500" dirty="0" err="1">
                <a:latin typeface="Consolas" panose="020B0609020204030204" pitchFamily="49" charset="0"/>
              </a:rPr>
              <a:t>network_cli</a:t>
            </a:r>
            <a:endParaRPr lang="en-US" sz="500" dirty="0">
              <a:latin typeface="Consolas" panose="020B0609020204030204" pitchFamily="49" charset="0"/>
            </a:endParaRPr>
          </a:p>
          <a:p>
            <a:r>
              <a:rPr lang="en-US" sz="500" dirty="0">
                <a:latin typeface="Consolas" panose="020B0609020204030204" pitchFamily="49" charset="0"/>
              </a:rPr>
              <a:t>  </a:t>
            </a:r>
            <a:r>
              <a:rPr lang="en-US" sz="500" dirty="0" err="1">
                <a:latin typeface="Consolas" panose="020B0609020204030204" pitchFamily="49" charset="0"/>
              </a:rPr>
              <a:t>gather_facts</a:t>
            </a:r>
            <a:r>
              <a:rPr lang="en-US" sz="500" dirty="0">
                <a:latin typeface="Consolas" panose="020B0609020204030204" pitchFamily="49" charset="0"/>
              </a:rPr>
              <a:t>: no</a:t>
            </a:r>
          </a:p>
          <a:p>
            <a:r>
              <a:rPr lang="en-US" sz="500" dirty="0">
                <a:latin typeface="Consolas" panose="020B0609020204030204" pitchFamily="49" charset="0"/>
              </a:rPr>
              <a:t>  tasks:</a:t>
            </a:r>
          </a:p>
          <a:p>
            <a:r>
              <a:rPr lang="en-US" sz="500" dirty="0">
                <a:latin typeface="Consolas" panose="020B0609020204030204" pitchFamily="49" charset="0"/>
              </a:rPr>
              <a:t>    - name: Gather all legacy facts</a:t>
            </a:r>
          </a:p>
          <a:p>
            <a:r>
              <a:rPr lang="en-US" sz="500" dirty="0">
                <a:latin typeface="Consolas" panose="020B0609020204030204" pitchFamily="49" charset="0"/>
              </a:rPr>
              <a:t>      </a:t>
            </a:r>
            <a:r>
              <a:rPr lang="en-US" sz="500" dirty="0" err="1">
                <a:latin typeface="Consolas" panose="020B0609020204030204" pitchFamily="49" charset="0"/>
              </a:rPr>
              <a:t>cisco.ios.ios_facts</a:t>
            </a:r>
            <a:r>
              <a:rPr lang="en-US" sz="500" dirty="0">
                <a:latin typeface="Consolas" panose="020B0609020204030204" pitchFamily="49" charset="0"/>
              </a:rPr>
              <a:t>:</a:t>
            </a:r>
          </a:p>
          <a:p>
            <a:r>
              <a:rPr lang="en-US" sz="500" dirty="0">
                <a:latin typeface="Consolas" panose="020B0609020204030204" pitchFamily="49" charset="0"/>
              </a:rPr>
              <a:t>        </a:t>
            </a:r>
            <a:r>
              <a:rPr lang="en-US" sz="500" dirty="0" err="1">
                <a:latin typeface="Consolas" panose="020B0609020204030204" pitchFamily="49" charset="0"/>
              </a:rPr>
              <a:t>gather_subset</a:t>
            </a:r>
            <a:r>
              <a:rPr lang="en-US" sz="500" dirty="0">
                <a:latin typeface="Consolas" panose="020B0609020204030204" pitchFamily="49" charset="0"/>
              </a:rPr>
              <a:t>: all</a:t>
            </a:r>
          </a:p>
          <a:p>
            <a:r>
              <a:rPr lang="en-US" sz="500" dirty="0">
                <a:latin typeface="Consolas" panose="020B0609020204030204" pitchFamily="49" charset="0"/>
              </a:rPr>
              <a:t>      register: </a:t>
            </a:r>
            <a:r>
              <a:rPr lang="en-US" sz="500" dirty="0" err="1">
                <a:latin typeface="Consolas" panose="020B0609020204030204" pitchFamily="49" charset="0"/>
              </a:rPr>
              <a:t>facts1</a:t>
            </a:r>
            <a:endParaRPr lang="en-US" sz="500" dirty="0">
              <a:latin typeface="Consolas" panose="020B0609020204030204" pitchFamily="49" charset="0"/>
            </a:endParaRPr>
          </a:p>
          <a:p>
            <a:r>
              <a:rPr lang="en-US" sz="500" dirty="0">
                <a:latin typeface="Consolas" panose="020B0609020204030204" pitchFamily="49" charset="0"/>
              </a:rPr>
              <a:t>    - name: Write run-config to file</a:t>
            </a:r>
          </a:p>
          <a:p>
            <a:r>
              <a:rPr lang="en-US" sz="500" dirty="0">
                <a:latin typeface="Consolas" panose="020B0609020204030204" pitchFamily="49" charset="0"/>
              </a:rPr>
              <a:t>      </a:t>
            </a:r>
            <a:r>
              <a:rPr lang="en-US" sz="500" dirty="0" err="1">
                <a:latin typeface="Consolas" panose="020B0609020204030204" pitchFamily="49" charset="0"/>
              </a:rPr>
              <a:t>ansible.builtin.copy</a:t>
            </a:r>
            <a:r>
              <a:rPr lang="en-US" sz="500" dirty="0">
                <a:latin typeface="Consolas" panose="020B0609020204030204" pitchFamily="49" charset="0"/>
              </a:rPr>
              <a:t>:</a:t>
            </a:r>
          </a:p>
          <a:p>
            <a:r>
              <a:rPr lang="en-US" sz="500" dirty="0">
                <a:latin typeface="Consolas" panose="020B0609020204030204" pitchFamily="49" charset="0"/>
              </a:rPr>
              <a:t>        content: "{{ </a:t>
            </a:r>
            <a:r>
              <a:rPr lang="en-US" sz="500" dirty="0" err="1">
                <a:latin typeface="Consolas" panose="020B0609020204030204" pitchFamily="49" charset="0"/>
              </a:rPr>
              <a:t>facts1.ansible_facts.ansible_net_config</a:t>
            </a:r>
            <a:r>
              <a:rPr lang="en-US" sz="500" dirty="0">
                <a:latin typeface="Consolas" panose="020B0609020204030204" pitchFamily="49" charset="0"/>
              </a:rPr>
              <a:t> }}"</a:t>
            </a:r>
          </a:p>
          <a:p>
            <a:r>
              <a:rPr lang="en-US" sz="500" dirty="0">
                <a:latin typeface="Consolas" panose="020B0609020204030204" pitchFamily="49" charset="0"/>
              </a:rPr>
              <a:t>        </a:t>
            </a:r>
            <a:r>
              <a:rPr lang="en-US" sz="500" dirty="0" err="1">
                <a:latin typeface="Consolas" panose="020B0609020204030204" pitchFamily="49" charset="0"/>
              </a:rPr>
              <a:t>dest</a:t>
            </a:r>
            <a:r>
              <a:rPr lang="en-US" sz="500" dirty="0">
                <a:latin typeface="Consolas" panose="020B0609020204030204" pitchFamily="49" charset="0"/>
              </a:rPr>
              <a:t>: "{{ './' + </a:t>
            </a:r>
            <a:r>
              <a:rPr lang="en-US" sz="500" dirty="0" err="1">
                <a:latin typeface="Consolas" panose="020B0609020204030204" pitchFamily="49" charset="0"/>
              </a:rPr>
              <a:t>facts1.ansible_facts.ansible_net_hostname</a:t>
            </a:r>
            <a:r>
              <a:rPr lang="en-US" sz="500" dirty="0">
                <a:latin typeface="Consolas" panose="020B0609020204030204" pitchFamily="49" charset="0"/>
              </a:rPr>
              <a:t> + '-run-</a:t>
            </a:r>
            <a:r>
              <a:rPr lang="en-US" sz="500" dirty="0" err="1">
                <a:latin typeface="Consolas" panose="020B0609020204030204" pitchFamily="49" charset="0"/>
              </a:rPr>
              <a:t>conf.txt</a:t>
            </a:r>
            <a:r>
              <a:rPr lang="en-US" sz="500" dirty="0">
                <a:latin typeface="Consolas" panose="020B0609020204030204" pitchFamily="49" charset="0"/>
              </a:rPr>
              <a:t>' }}"</a:t>
            </a:r>
          </a:p>
        </p:txBody>
      </p:sp>
      <p:cxnSp>
        <p:nvCxnSpPr>
          <p:cNvPr id="3" name="Straight Arrow Connector 2">
            <a:extLst>
              <a:ext uri="{FF2B5EF4-FFF2-40B4-BE49-F238E27FC236}">
                <a16:creationId xmlns:a16="http://schemas.microsoft.com/office/drawing/2014/main" id="{79B15E13-5064-5BA4-CDA3-29C9B37AEB62}"/>
              </a:ext>
            </a:extLst>
          </p:cNvPr>
          <p:cNvCxnSpPr>
            <a:cxnSpLocks/>
          </p:cNvCxnSpPr>
          <p:nvPr/>
        </p:nvCxnSpPr>
        <p:spPr>
          <a:xfrm flipV="1">
            <a:off x="496257" y="2231602"/>
            <a:ext cx="621343" cy="13601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EEE8D708-7E98-C7AD-73CF-9576FD140224}"/>
              </a:ext>
            </a:extLst>
          </p:cNvPr>
          <p:cNvSpPr txBox="1"/>
          <p:nvPr/>
        </p:nvSpPr>
        <p:spPr>
          <a:xfrm>
            <a:off x="356557" y="3407098"/>
            <a:ext cx="10997243" cy="2308324"/>
          </a:xfrm>
          <a:prstGeom prst="rect">
            <a:avLst/>
          </a:prstGeom>
          <a:noFill/>
        </p:spPr>
        <p:txBody>
          <a:bodyPr wrap="square">
            <a:spAutoFit/>
          </a:bodyPr>
          <a:lstStyle/>
          <a:p>
            <a:pPr marL="285750" indent="-285750">
              <a:buFont typeface="Arial" panose="020B0604020202020204" pitchFamily="34" charset="0"/>
              <a:buChar char="•"/>
            </a:pPr>
            <a:r>
              <a:rPr lang="en-GB" sz="1600" dirty="0"/>
              <a:t>Using the "copy" module</a:t>
            </a:r>
          </a:p>
          <a:p>
            <a:pPr marL="285750" indent="-285750">
              <a:buFont typeface="Arial" panose="020B0604020202020204" pitchFamily="34" charset="0"/>
              <a:buChar char="•"/>
            </a:pPr>
            <a:r>
              <a:rPr lang="en-GB" sz="1600" dirty="0"/>
              <a:t>Content is using parts of the return values, this time we use "</a:t>
            </a:r>
            <a:r>
              <a:rPr lang="en-GB" sz="1600" dirty="0" err="1"/>
              <a:t>ansible_net_config</a:t>
            </a:r>
            <a:r>
              <a:rPr lang="en-GB" sz="1600" dirty="0"/>
              <a:t>"</a:t>
            </a:r>
          </a:p>
          <a:p>
            <a:pPr marL="285750" indent="-285750">
              <a:buFont typeface="Arial" panose="020B0604020202020204" pitchFamily="34" charset="0"/>
              <a:buChar char="•"/>
            </a:pPr>
            <a:r>
              <a:rPr lang="en-GB" sz="1600" dirty="0" err="1"/>
              <a:t>Dest</a:t>
            </a:r>
            <a:r>
              <a:rPr lang="en-GB" sz="1600" dirty="0"/>
              <a:t> is where to write the content. Here are some simple examples on Jinja syntax</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optional info)</a:t>
            </a:r>
          </a:p>
          <a:p>
            <a:pPr marL="285750" indent="-285750">
              <a:buFont typeface="Arial" panose="020B0604020202020204" pitchFamily="34" charset="0"/>
              <a:buChar char="•"/>
            </a:pPr>
            <a:r>
              <a:rPr lang="en-GB" sz="1600" dirty="0" err="1"/>
              <a:t>Jinja2</a:t>
            </a:r>
            <a:r>
              <a:rPr lang="en-GB" sz="1600" dirty="0"/>
              <a:t> is integrated in Ansible and widely used</a:t>
            </a:r>
          </a:p>
          <a:p>
            <a:pPr marL="285750" indent="-285750">
              <a:buFont typeface="Arial" panose="020B0604020202020204" pitchFamily="34" charset="0"/>
              <a:buChar char="•"/>
            </a:pPr>
            <a:r>
              <a:rPr lang="en-GB" sz="1600" dirty="0"/>
              <a:t>"Everything inside double curly brackets" = </a:t>
            </a:r>
            <a:r>
              <a:rPr lang="en-GB" sz="1600" dirty="0" err="1"/>
              <a:t>Jinja2</a:t>
            </a:r>
            <a:endParaRPr lang="en-GB" sz="1600" dirty="0"/>
          </a:p>
          <a:p>
            <a:pPr marL="285750" indent="-285750">
              <a:buFont typeface="Arial" panose="020B0604020202020204" pitchFamily="34" charset="0"/>
              <a:buChar char="•"/>
            </a:pPr>
            <a:endParaRPr lang="en-GB" sz="1600" dirty="0"/>
          </a:p>
        </p:txBody>
      </p:sp>
    </p:spTree>
    <p:extLst>
      <p:ext uri="{BB962C8B-B14F-4D97-AF65-F5344CB8AC3E}">
        <p14:creationId xmlns:p14="http://schemas.microsoft.com/office/powerpoint/2010/main" val="223158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inting errors, and fixing them</a:t>
            </a:r>
          </a:p>
        </p:txBody>
      </p:sp>
      <p:sp>
        <p:nvSpPr>
          <p:cNvPr id="2" name="TextBox 1">
            <a:extLst>
              <a:ext uri="{FF2B5EF4-FFF2-40B4-BE49-F238E27FC236}">
                <a16:creationId xmlns:a16="http://schemas.microsoft.com/office/drawing/2014/main" id="{0C578A6C-5215-9DFE-51D6-8AA7A3E4A34A}"/>
              </a:ext>
            </a:extLst>
          </p:cNvPr>
          <p:cNvSpPr txBox="1"/>
          <p:nvPr/>
        </p:nvSpPr>
        <p:spPr>
          <a:xfrm>
            <a:off x="496256" y="905329"/>
            <a:ext cx="6827735" cy="369332"/>
          </a:xfrm>
          <a:prstGeom prst="rect">
            <a:avLst/>
          </a:prstGeom>
          <a:noFill/>
        </p:spPr>
        <p:txBody>
          <a:bodyPr wrap="square">
            <a:spAutoFit/>
          </a:bodyPr>
          <a:lstStyle/>
          <a:p>
            <a:pPr marL="285750" indent="-285750">
              <a:buFont typeface="Arial" panose="020B0604020202020204" pitchFamily="34" charset="0"/>
              <a:buChar char="•"/>
            </a:pPr>
            <a:r>
              <a:rPr lang="en-GB"/>
              <a:t>When saving this file you should get two linting errors</a:t>
            </a:r>
          </a:p>
        </p:txBody>
      </p:sp>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sp>
        <p:nvSpPr>
          <p:cNvPr id="9" name="TextBox 8">
            <a:extLst>
              <a:ext uri="{FF2B5EF4-FFF2-40B4-BE49-F238E27FC236}">
                <a16:creationId xmlns:a16="http://schemas.microsoft.com/office/drawing/2014/main" id="{F7E8DAB2-B61C-1E44-456F-446588A235A8}"/>
              </a:ext>
            </a:extLst>
          </p:cNvPr>
          <p:cNvSpPr txBox="1"/>
          <p:nvPr/>
        </p:nvSpPr>
        <p:spPr>
          <a:xfrm>
            <a:off x="9822211" y="91472"/>
            <a:ext cx="2289221" cy="246221"/>
          </a:xfrm>
          <a:prstGeom prst="rect">
            <a:avLst/>
          </a:prstGeom>
          <a:noFill/>
        </p:spPr>
        <p:txBody>
          <a:bodyPr wrap="square">
            <a:spAutoFit/>
          </a:bodyPr>
          <a:lstStyle/>
          <a:p>
            <a:r>
              <a:rPr lang="en-GB" sz="1000" err="1">
                <a:latin typeface="Consolas" panose="020B0609020204030204" pitchFamily="49" charset="0"/>
              </a:rPr>
              <a:t>gather_facts-playbook.yml</a:t>
            </a:r>
            <a:endParaRPr lang="nb-NO" sz="1000">
              <a:latin typeface="Consolas" panose="020B0609020204030204" pitchFamily="49" charset="0"/>
            </a:endParaRPr>
          </a:p>
        </p:txBody>
      </p:sp>
      <p:sp>
        <p:nvSpPr>
          <p:cNvPr id="12" name="TextBox 11">
            <a:extLst>
              <a:ext uri="{FF2B5EF4-FFF2-40B4-BE49-F238E27FC236}">
                <a16:creationId xmlns:a16="http://schemas.microsoft.com/office/drawing/2014/main" id="{D483F744-8316-839B-7992-7B1DD50E29E1}"/>
              </a:ext>
            </a:extLst>
          </p:cNvPr>
          <p:cNvSpPr txBox="1"/>
          <p:nvPr/>
        </p:nvSpPr>
        <p:spPr>
          <a:xfrm>
            <a:off x="8794750" y="296996"/>
            <a:ext cx="3296480" cy="1323439"/>
          </a:xfrm>
          <a:prstGeom prst="rect">
            <a:avLst/>
          </a:prstGeom>
          <a:noFill/>
          <a:ln>
            <a:solidFill>
              <a:srgbClr val="002B36"/>
            </a:solidFill>
          </a:ln>
        </p:spPr>
        <p:txBody>
          <a:bodyPr wrap="square">
            <a:spAutoFit/>
          </a:bodyPr>
          <a:lstStyle/>
          <a:p>
            <a:r>
              <a:rPr lang="en-US" sz="500">
                <a:latin typeface="Consolas" panose="020B0609020204030204" pitchFamily="49" charset="0"/>
              </a:rPr>
              <a:t>---</a:t>
            </a:r>
          </a:p>
          <a:p>
            <a:r>
              <a:rPr lang="en-US" sz="500">
                <a:latin typeface="Consolas" panose="020B0609020204030204" pitchFamily="49" charset="0"/>
              </a:rPr>
              <a:t>- name: IOS Facts</a:t>
            </a:r>
          </a:p>
          <a:p>
            <a:r>
              <a:rPr lang="en-US" sz="500">
                <a:latin typeface="Consolas" panose="020B0609020204030204" pitchFamily="49" charset="0"/>
              </a:rPr>
              <a:t>  hosts: </a:t>
            </a:r>
            <a:r>
              <a:rPr lang="en-US" sz="500" err="1">
                <a:latin typeface="Consolas" panose="020B0609020204030204" pitchFamily="49" charset="0"/>
              </a:rPr>
              <a:t>wlc</a:t>
            </a:r>
            <a:endParaRPr lang="en-US" sz="500">
              <a:latin typeface="Consolas" panose="020B0609020204030204" pitchFamily="49" charset="0"/>
            </a:endParaRPr>
          </a:p>
          <a:p>
            <a:r>
              <a:rPr lang="en-US" sz="500">
                <a:latin typeface="Consolas" panose="020B0609020204030204" pitchFamily="49" charset="0"/>
              </a:rPr>
              <a:t>  connection: </a:t>
            </a:r>
            <a:r>
              <a:rPr lang="en-US" sz="500" err="1">
                <a:latin typeface="Consolas" panose="020B0609020204030204" pitchFamily="49" charset="0"/>
              </a:rPr>
              <a:t>network_cli</a:t>
            </a:r>
            <a:endParaRPr lang="en-US" sz="500">
              <a:latin typeface="Consolas" panose="020B0609020204030204" pitchFamily="49" charset="0"/>
            </a:endParaRPr>
          </a:p>
          <a:p>
            <a:r>
              <a:rPr lang="en-US" sz="500">
                <a:latin typeface="Consolas" panose="020B0609020204030204" pitchFamily="49" charset="0"/>
              </a:rPr>
              <a:t>  </a:t>
            </a:r>
            <a:r>
              <a:rPr lang="en-US" sz="500" err="1">
                <a:latin typeface="Consolas" panose="020B0609020204030204" pitchFamily="49" charset="0"/>
              </a:rPr>
              <a:t>gather_facts</a:t>
            </a:r>
            <a:r>
              <a:rPr lang="en-US" sz="500">
                <a:latin typeface="Consolas" panose="020B0609020204030204" pitchFamily="49" charset="0"/>
              </a:rPr>
              <a:t>: false</a:t>
            </a:r>
          </a:p>
          <a:p>
            <a:r>
              <a:rPr lang="en-US" sz="500">
                <a:latin typeface="Consolas" panose="020B0609020204030204" pitchFamily="49" charset="0"/>
              </a:rPr>
              <a:t>  tasks:</a:t>
            </a:r>
          </a:p>
          <a:p>
            <a:r>
              <a:rPr lang="en-US" sz="500">
                <a:latin typeface="Consolas" panose="020B0609020204030204" pitchFamily="49" charset="0"/>
              </a:rPr>
              <a:t>    - name: Gather all legacy facts</a:t>
            </a:r>
          </a:p>
          <a:p>
            <a:r>
              <a:rPr lang="en-US" sz="500">
                <a:latin typeface="Consolas" panose="020B0609020204030204" pitchFamily="49" charset="0"/>
              </a:rPr>
              <a:t>      </a:t>
            </a:r>
            <a:r>
              <a:rPr lang="en-US" sz="500" err="1">
                <a:latin typeface="Consolas" panose="020B0609020204030204" pitchFamily="49" charset="0"/>
              </a:rPr>
              <a:t>cisco.ios.ios_facts</a:t>
            </a:r>
            <a:r>
              <a:rPr lang="en-US" sz="500">
                <a:latin typeface="Consolas" panose="020B0609020204030204" pitchFamily="49" charset="0"/>
              </a:rPr>
              <a:t>:</a:t>
            </a:r>
          </a:p>
          <a:p>
            <a:r>
              <a:rPr lang="en-US" sz="500">
                <a:latin typeface="Consolas" panose="020B0609020204030204" pitchFamily="49" charset="0"/>
              </a:rPr>
              <a:t>        </a:t>
            </a:r>
            <a:r>
              <a:rPr lang="en-US" sz="500" err="1">
                <a:latin typeface="Consolas" panose="020B0609020204030204" pitchFamily="49" charset="0"/>
              </a:rPr>
              <a:t>gather_subset</a:t>
            </a:r>
            <a:r>
              <a:rPr lang="en-US" sz="500">
                <a:latin typeface="Consolas" panose="020B0609020204030204" pitchFamily="49" charset="0"/>
              </a:rPr>
              <a:t>: all</a:t>
            </a:r>
          </a:p>
          <a:p>
            <a:r>
              <a:rPr lang="en-US" sz="500">
                <a:latin typeface="Consolas" panose="020B0609020204030204" pitchFamily="49" charset="0"/>
              </a:rPr>
              <a:t>      register: </a:t>
            </a:r>
            <a:r>
              <a:rPr lang="en-US" sz="500" err="1">
                <a:latin typeface="Consolas" panose="020B0609020204030204" pitchFamily="49" charset="0"/>
              </a:rPr>
              <a:t>facts1</a:t>
            </a:r>
            <a:endParaRPr lang="en-US" sz="500">
              <a:latin typeface="Consolas" panose="020B0609020204030204" pitchFamily="49" charset="0"/>
            </a:endParaRPr>
          </a:p>
          <a:p>
            <a:r>
              <a:rPr lang="en-US" sz="500">
                <a:latin typeface="Consolas" panose="020B0609020204030204" pitchFamily="49" charset="0"/>
              </a:rPr>
              <a:t>    - name: Write run-config to file</a:t>
            </a:r>
          </a:p>
          <a:p>
            <a:r>
              <a:rPr lang="en-US" sz="500">
                <a:latin typeface="Consolas" panose="020B0609020204030204" pitchFamily="49" charset="0"/>
              </a:rPr>
              <a:t>      </a:t>
            </a:r>
            <a:r>
              <a:rPr lang="en-US" sz="500" err="1">
                <a:latin typeface="Consolas" panose="020B0609020204030204" pitchFamily="49" charset="0"/>
              </a:rPr>
              <a:t>ansible.builtin.copy</a:t>
            </a:r>
            <a:r>
              <a:rPr lang="en-US" sz="500">
                <a:latin typeface="Consolas" panose="020B0609020204030204" pitchFamily="49" charset="0"/>
              </a:rPr>
              <a:t>:</a:t>
            </a:r>
          </a:p>
          <a:p>
            <a:r>
              <a:rPr lang="en-US" sz="500">
                <a:latin typeface="Consolas" panose="020B0609020204030204" pitchFamily="49" charset="0"/>
              </a:rPr>
              <a:t>        content: "{{ </a:t>
            </a:r>
            <a:r>
              <a:rPr lang="en-US" sz="500" err="1">
                <a:latin typeface="Consolas" panose="020B0609020204030204" pitchFamily="49" charset="0"/>
              </a:rPr>
              <a:t>facts1.ansible_facts.ansible_net_config</a:t>
            </a:r>
            <a:r>
              <a:rPr lang="en-US" sz="500">
                <a:latin typeface="Consolas" panose="020B0609020204030204" pitchFamily="49" charset="0"/>
              </a:rPr>
              <a:t> }}"</a:t>
            </a:r>
          </a:p>
          <a:p>
            <a:r>
              <a:rPr lang="en-US" sz="500">
                <a:latin typeface="Consolas" panose="020B0609020204030204" pitchFamily="49" charset="0"/>
              </a:rPr>
              <a:t>        </a:t>
            </a:r>
            <a:r>
              <a:rPr lang="en-US" sz="500" err="1">
                <a:latin typeface="Consolas" panose="020B0609020204030204" pitchFamily="49" charset="0"/>
              </a:rPr>
              <a:t>dest</a:t>
            </a:r>
            <a:r>
              <a:rPr lang="en-US" sz="500">
                <a:latin typeface="Consolas" panose="020B0609020204030204" pitchFamily="49" charset="0"/>
              </a:rPr>
              <a:t>: "{{ './' + </a:t>
            </a:r>
            <a:r>
              <a:rPr lang="en-US" sz="500" err="1">
                <a:latin typeface="Consolas" panose="020B0609020204030204" pitchFamily="49" charset="0"/>
              </a:rPr>
              <a:t>facts1.ansible_facts.ansible_net_hostname</a:t>
            </a:r>
            <a:r>
              <a:rPr lang="en-US" sz="500">
                <a:latin typeface="Consolas" panose="020B0609020204030204" pitchFamily="49" charset="0"/>
              </a:rPr>
              <a:t> + '-run-</a:t>
            </a:r>
            <a:r>
              <a:rPr lang="en-US" sz="500" err="1">
                <a:latin typeface="Consolas" panose="020B0609020204030204" pitchFamily="49" charset="0"/>
              </a:rPr>
              <a:t>conf.txt</a:t>
            </a:r>
            <a:r>
              <a:rPr lang="en-US" sz="500">
                <a:latin typeface="Consolas" panose="020B0609020204030204" pitchFamily="49" charset="0"/>
              </a:rPr>
              <a:t>' }}"</a:t>
            </a:r>
          </a:p>
          <a:p>
            <a:r>
              <a:rPr lang="en-US" sz="500">
                <a:latin typeface="Consolas" panose="020B0609020204030204" pitchFamily="49" charset="0"/>
              </a:rPr>
              <a:t>        mode: "0600"</a:t>
            </a:r>
          </a:p>
          <a:p>
            <a:endParaRPr lang="en-US" sz="500">
              <a:latin typeface="Consolas" panose="020B0609020204030204" pitchFamily="49" charset="0"/>
            </a:endParaRPr>
          </a:p>
        </p:txBody>
      </p:sp>
      <p:sp>
        <p:nvSpPr>
          <p:cNvPr id="19" name="TextBox 18">
            <a:extLst>
              <a:ext uri="{FF2B5EF4-FFF2-40B4-BE49-F238E27FC236}">
                <a16:creationId xmlns:a16="http://schemas.microsoft.com/office/drawing/2014/main" id="{EEE8D708-7E98-C7AD-73CF-9576FD140224}"/>
              </a:ext>
            </a:extLst>
          </p:cNvPr>
          <p:cNvSpPr txBox="1"/>
          <p:nvPr/>
        </p:nvSpPr>
        <p:spPr>
          <a:xfrm>
            <a:off x="540000" y="3468843"/>
            <a:ext cx="4775104" cy="1077218"/>
          </a:xfrm>
          <a:prstGeom prst="rect">
            <a:avLst/>
          </a:prstGeom>
          <a:noFill/>
        </p:spPr>
        <p:txBody>
          <a:bodyPr wrap="square">
            <a:spAutoFit/>
          </a:bodyPr>
          <a:lstStyle/>
          <a:p>
            <a:pPr marL="285750" indent="-285750">
              <a:buFont typeface="Arial" panose="020B0604020202020204" pitchFamily="34" charset="0"/>
              <a:buChar char="•"/>
            </a:pPr>
            <a:r>
              <a:rPr lang="en-GB" sz="1600"/>
              <a:t>When writing files (like using the "copy" module), you should always explicitly specify the file permissions</a:t>
            </a:r>
          </a:p>
          <a:p>
            <a:pPr marL="285750" indent="-285750">
              <a:buFont typeface="Arial" panose="020B0604020202020204" pitchFamily="34" charset="0"/>
              <a:buChar char="•"/>
            </a:pPr>
            <a:r>
              <a:rPr lang="en-GB" sz="1600"/>
              <a:t>We add the line: mode: "0600"</a:t>
            </a:r>
          </a:p>
        </p:txBody>
      </p:sp>
      <p:pic>
        <p:nvPicPr>
          <p:cNvPr id="7" name="Picture 6">
            <a:extLst>
              <a:ext uri="{FF2B5EF4-FFF2-40B4-BE49-F238E27FC236}">
                <a16:creationId xmlns:a16="http://schemas.microsoft.com/office/drawing/2014/main" id="{839FD400-5F8D-ECE1-7808-FB20B5E036DE}"/>
              </a:ext>
            </a:extLst>
          </p:cNvPr>
          <p:cNvPicPr>
            <a:picLocks noChangeAspect="1"/>
          </p:cNvPicPr>
          <p:nvPr/>
        </p:nvPicPr>
        <p:blipFill>
          <a:blip r:embed="rId3"/>
          <a:stretch>
            <a:fillRect/>
          </a:stretch>
        </p:blipFill>
        <p:spPr>
          <a:xfrm>
            <a:off x="948587" y="1274661"/>
            <a:ext cx="3524742" cy="1409897"/>
          </a:xfrm>
          <a:prstGeom prst="rect">
            <a:avLst/>
          </a:prstGeom>
        </p:spPr>
      </p:pic>
      <p:cxnSp>
        <p:nvCxnSpPr>
          <p:cNvPr id="10" name="Straight Arrow Connector 9">
            <a:extLst>
              <a:ext uri="{FF2B5EF4-FFF2-40B4-BE49-F238E27FC236}">
                <a16:creationId xmlns:a16="http://schemas.microsoft.com/office/drawing/2014/main" id="{567EFB32-2430-2DAA-FE9C-89EAA68C3BC3}"/>
              </a:ext>
            </a:extLst>
          </p:cNvPr>
          <p:cNvCxnSpPr>
            <a:cxnSpLocks/>
          </p:cNvCxnSpPr>
          <p:nvPr/>
        </p:nvCxnSpPr>
        <p:spPr>
          <a:xfrm flipH="1">
            <a:off x="2347546" y="2626998"/>
            <a:ext cx="1203870" cy="531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7B8BEB5C-0990-3A50-F47B-8EA0B404FB16}"/>
              </a:ext>
            </a:extLst>
          </p:cNvPr>
          <p:cNvCxnSpPr>
            <a:cxnSpLocks/>
          </p:cNvCxnSpPr>
          <p:nvPr/>
        </p:nvCxnSpPr>
        <p:spPr>
          <a:xfrm>
            <a:off x="2910254" y="1462635"/>
            <a:ext cx="2015406" cy="3693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56220A7B-F81E-032C-080D-A045B1F74D79}"/>
              </a:ext>
            </a:extLst>
          </p:cNvPr>
          <p:cNvPicPr>
            <a:picLocks noChangeAspect="1"/>
          </p:cNvPicPr>
          <p:nvPr/>
        </p:nvPicPr>
        <p:blipFill>
          <a:blip r:embed="rId4"/>
          <a:stretch>
            <a:fillRect/>
          </a:stretch>
        </p:blipFill>
        <p:spPr>
          <a:xfrm>
            <a:off x="4925660" y="1651289"/>
            <a:ext cx="5992061" cy="762106"/>
          </a:xfrm>
          <a:prstGeom prst="rect">
            <a:avLst/>
          </a:prstGeom>
        </p:spPr>
      </p:pic>
      <p:sp>
        <p:nvSpPr>
          <p:cNvPr id="20" name="TextBox 19">
            <a:extLst>
              <a:ext uri="{FF2B5EF4-FFF2-40B4-BE49-F238E27FC236}">
                <a16:creationId xmlns:a16="http://schemas.microsoft.com/office/drawing/2014/main" id="{42C93B38-42EE-9A6B-976C-5A9D0D4E4CE0}"/>
              </a:ext>
            </a:extLst>
          </p:cNvPr>
          <p:cNvSpPr txBox="1"/>
          <p:nvPr/>
        </p:nvSpPr>
        <p:spPr>
          <a:xfrm>
            <a:off x="4925660" y="2417307"/>
            <a:ext cx="5633902" cy="830997"/>
          </a:xfrm>
          <a:prstGeom prst="rect">
            <a:avLst/>
          </a:prstGeom>
          <a:noFill/>
        </p:spPr>
        <p:txBody>
          <a:bodyPr wrap="square">
            <a:spAutoFit/>
          </a:bodyPr>
          <a:lstStyle/>
          <a:p>
            <a:pPr marL="285750" indent="-285750">
              <a:buFont typeface="Arial" panose="020B0604020202020204" pitchFamily="34" charset="0"/>
              <a:buChar char="•"/>
            </a:pPr>
            <a:r>
              <a:rPr lang="en-GB" sz="1600"/>
              <a:t>We fix this with using "false" instead of "no"</a:t>
            </a:r>
          </a:p>
          <a:p>
            <a:pPr marL="285750" indent="-285750">
              <a:buFont typeface="Arial" panose="020B0604020202020204" pitchFamily="34" charset="0"/>
              <a:buChar char="•"/>
            </a:pPr>
            <a:r>
              <a:rPr lang="en-GB" sz="1600"/>
              <a:t>Both will work, but correct YAML syntax is "false"</a:t>
            </a:r>
          </a:p>
          <a:p>
            <a:pPr marL="285750" indent="-285750">
              <a:buFont typeface="Arial" panose="020B0604020202020204" pitchFamily="34" charset="0"/>
              <a:buChar char="•"/>
            </a:pPr>
            <a:endParaRPr lang="en-GB" sz="1600"/>
          </a:p>
        </p:txBody>
      </p:sp>
      <p:pic>
        <p:nvPicPr>
          <p:cNvPr id="22" name="Picture 21">
            <a:extLst>
              <a:ext uri="{FF2B5EF4-FFF2-40B4-BE49-F238E27FC236}">
                <a16:creationId xmlns:a16="http://schemas.microsoft.com/office/drawing/2014/main" id="{9C22695E-E0FE-6D2C-F848-8B5AABC54C92}"/>
              </a:ext>
            </a:extLst>
          </p:cNvPr>
          <p:cNvPicPr>
            <a:picLocks noChangeAspect="1"/>
          </p:cNvPicPr>
          <p:nvPr/>
        </p:nvPicPr>
        <p:blipFill>
          <a:blip r:embed="rId5"/>
          <a:stretch>
            <a:fillRect/>
          </a:stretch>
        </p:blipFill>
        <p:spPr>
          <a:xfrm>
            <a:off x="990000" y="3158354"/>
            <a:ext cx="6068272" cy="257211"/>
          </a:xfrm>
          <a:prstGeom prst="rect">
            <a:avLst/>
          </a:prstGeom>
        </p:spPr>
      </p:pic>
      <p:pic>
        <p:nvPicPr>
          <p:cNvPr id="26" name="Picture 25">
            <a:extLst>
              <a:ext uri="{FF2B5EF4-FFF2-40B4-BE49-F238E27FC236}">
                <a16:creationId xmlns:a16="http://schemas.microsoft.com/office/drawing/2014/main" id="{456259E3-89B2-DCCD-7381-0B6EC14EBBAF}"/>
              </a:ext>
            </a:extLst>
          </p:cNvPr>
          <p:cNvPicPr>
            <a:picLocks noChangeAspect="1"/>
          </p:cNvPicPr>
          <p:nvPr/>
        </p:nvPicPr>
        <p:blipFill>
          <a:blip r:embed="rId6"/>
          <a:stretch>
            <a:fillRect/>
          </a:stretch>
        </p:blipFill>
        <p:spPr>
          <a:xfrm>
            <a:off x="5315104" y="3511742"/>
            <a:ext cx="6796328" cy="2583450"/>
          </a:xfrm>
          <a:prstGeom prst="rect">
            <a:avLst/>
          </a:prstGeom>
        </p:spPr>
      </p:pic>
    </p:spTree>
    <p:extLst>
      <p:ext uri="{BB962C8B-B14F-4D97-AF65-F5344CB8AC3E}">
        <p14:creationId xmlns:p14="http://schemas.microsoft.com/office/powerpoint/2010/main" val="324866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49BBEABD-6007-6337-349B-687EA547B9D2}"/>
              </a:ext>
            </a:extLst>
          </p:cNvPr>
          <p:cNvSpPr txBox="1"/>
          <p:nvPr/>
        </p:nvSpPr>
        <p:spPr>
          <a:xfrm>
            <a:off x="416891" y="3516348"/>
            <a:ext cx="7206039" cy="2308324"/>
          </a:xfrm>
          <a:prstGeom prst="rect">
            <a:avLst/>
          </a:prstGeom>
          <a:noFill/>
        </p:spPr>
        <p:txBody>
          <a:bodyPr wrap="square">
            <a:spAutoFit/>
          </a:bodyPr>
          <a:lstStyle/>
          <a:p>
            <a:pPr marL="285750" indent="-285750">
              <a:buFont typeface="Arial" panose="020B0604020202020204" pitchFamily="34" charset="0"/>
              <a:buChar char="•"/>
            </a:pPr>
            <a:r>
              <a:rPr lang="en-GB" sz="1600"/>
              <a:t>List the files, and you can see the file that was created</a:t>
            </a:r>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r>
              <a:rPr lang="en-GB" sz="1600"/>
              <a:t>You can view the file contents in the Linux terminal by running "cat", "more", "nano" or similar</a:t>
            </a:r>
          </a:p>
          <a:p>
            <a:pPr marL="285750" indent="-285750">
              <a:buFont typeface="Arial" panose="020B0604020202020204" pitchFamily="34" charset="0"/>
              <a:buChar char="•"/>
            </a:pPr>
            <a:r>
              <a:rPr lang="en-GB" sz="1600"/>
              <a:t>You will also see the file in VS Code explorer and can open it from ther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the playbook</a:t>
            </a:r>
          </a:p>
        </p:txBody>
      </p:sp>
      <p:sp>
        <p:nvSpPr>
          <p:cNvPr id="4" name="Footer Placeholder 6">
            <a:extLst>
              <a:ext uri="{FF2B5EF4-FFF2-40B4-BE49-F238E27FC236}">
                <a16:creationId xmlns:a16="http://schemas.microsoft.com/office/drawing/2014/main" id="{4A4FE96D-551B-763D-866F-E4D821F14B8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2DEEE9B2-D543-DD70-2451-4C6596D07989}"/>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5: Explore Ansible</a:t>
            </a:r>
          </a:p>
        </p:txBody>
      </p:sp>
      <p:pic>
        <p:nvPicPr>
          <p:cNvPr id="9" name="Picture 8">
            <a:extLst>
              <a:ext uri="{FF2B5EF4-FFF2-40B4-BE49-F238E27FC236}">
                <a16:creationId xmlns:a16="http://schemas.microsoft.com/office/drawing/2014/main" id="{A36BF1F5-5BC1-F392-B9C0-E6AC63EDA24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95647" y="3806604"/>
            <a:ext cx="6565821" cy="968341"/>
          </a:xfrm>
          <a:prstGeom prst="rect">
            <a:avLst/>
          </a:prstGeom>
        </p:spPr>
      </p:pic>
      <p:cxnSp>
        <p:nvCxnSpPr>
          <p:cNvPr id="11" name="Straight Arrow Connector 10">
            <a:extLst>
              <a:ext uri="{FF2B5EF4-FFF2-40B4-BE49-F238E27FC236}">
                <a16:creationId xmlns:a16="http://schemas.microsoft.com/office/drawing/2014/main" id="{1289D01B-409D-60E0-C319-E29D9069E7DD}"/>
              </a:ext>
            </a:extLst>
          </p:cNvPr>
          <p:cNvCxnSpPr>
            <a:cxnSpLocks/>
          </p:cNvCxnSpPr>
          <p:nvPr/>
        </p:nvCxnSpPr>
        <p:spPr>
          <a:xfrm flipH="1">
            <a:off x="6016076" y="3719473"/>
            <a:ext cx="416255" cy="8964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118F8703-15C6-5A09-47A4-92F549F11E3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677754" y="5117861"/>
            <a:ext cx="1848107" cy="847843"/>
          </a:xfrm>
          <a:prstGeom prst="rect">
            <a:avLst/>
          </a:prstGeom>
        </p:spPr>
      </p:pic>
      <p:pic>
        <p:nvPicPr>
          <p:cNvPr id="18" name="Picture 17">
            <a:extLst>
              <a:ext uri="{FF2B5EF4-FFF2-40B4-BE49-F238E27FC236}">
                <a16:creationId xmlns:a16="http://schemas.microsoft.com/office/drawing/2014/main" id="{7717E78E-E1F1-44F7-AE1D-910419366FE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192420" y="3943253"/>
            <a:ext cx="1789373" cy="1924616"/>
          </a:xfrm>
          <a:prstGeom prst="rect">
            <a:avLst/>
          </a:prstGeom>
        </p:spPr>
      </p:pic>
      <p:cxnSp>
        <p:nvCxnSpPr>
          <p:cNvPr id="19" name="Straight Arrow Connector 18">
            <a:extLst>
              <a:ext uri="{FF2B5EF4-FFF2-40B4-BE49-F238E27FC236}">
                <a16:creationId xmlns:a16="http://schemas.microsoft.com/office/drawing/2014/main" id="{BFB988E0-687E-C3F7-C5B8-584BD52E68B2}"/>
              </a:ext>
            </a:extLst>
          </p:cNvPr>
          <p:cNvCxnSpPr>
            <a:cxnSpLocks/>
          </p:cNvCxnSpPr>
          <p:nvPr/>
        </p:nvCxnSpPr>
        <p:spPr>
          <a:xfrm>
            <a:off x="7025114" y="5423338"/>
            <a:ext cx="597816" cy="1184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338970D1-D9D2-8D24-E247-7CAB26058329}"/>
              </a:ext>
            </a:extLst>
          </p:cNvPr>
          <p:cNvCxnSpPr>
            <a:cxnSpLocks/>
            <a:endCxn id="18" idx="1"/>
          </p:cNvCxnSpPr>
          <p:nvPr/>
        </p:nvCxnSpPr>
        <p:spPr>
          <a:xfrm flipV="1">
            <a:off x="9098820" y="4905561"/>
            <a:ext cx="1093600" cy="9035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8031A070-EE54-6C8F-16C3-A5B6A00BDF53}"/>
              </a:ext>
            </a:extLst>
          </p:cNvPr>
          <p:cNvPicPr>
            <a:picLocks noChangeAspect="1"/>
          </p:cNvPicPr>
          <p:nvPr/>
        </p:nvPicPr>
        <p:blipFill>
          <a:blip r:embed="rId6"/>
          <a:stretch>
            <a:fillRect/>
          </a:stretch>
        </p:blipFill>
        <p:spPr>
          <a:xfrm>
            <a:off x="795648" y="862054"/>
            <a:ext cx="10151927" cy="2638711"/>
          </a:xfrm>
          <a:prstGeom prst="rect">
            <a:avLst/>
          </a:prstGeom>
        </p:spPr>
      </p:pic>
    </p:spTree>
    <p:extLst>
      <p:ext uri="{BB962C8B-B14F-4D97-AF65-F5344CB8AC3E}">
        <p14:creationId xmlns:p14="http://schemas.microsoft.com/office/powerpoint/2010/main" val="38257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033800"/>
          </a:xfrm>
        </p:spPr>
        <p:txBody>
          <a:bodyPr/>
          <a:lstStyle/>
          <a:p>
            <a:r>
              <a:rPr lang="nb-NO"/>
              <a:t>Cisco.com </a:t>
            </a:r>
            <a:r>
              <a:rPr lang="nb-NO" err="1"/>
              <a:t>account</a:t>
            </a:r>
            <a:r>
              <a:rPr lang="nb-NO"/>
              <a:t> </a:t>
            </a:r>
            <a:r>
              <a:rPr lang="nb-NO" err="1"/>
              <a:t>with</a:t>
            </a:r>
            <a:r>
              <a:rPr lang="nb-NO"/>
              <a:t> </a:t>
            </a:r>
            <a:r>
              <a:rPr lang="nb-NO" err="1"/>
              <a:t>access</a:t>
            </a:r>
            <a:r>
              <a:rPr lang="nb-NO"/>
              <a:t> to </a:t>
            </a:r>
            <a:r>
              <a:rPr lang="nb-NO" err="1"/>
              <a:t>downloading</a:t>
            </a:r>
            <a:r>
              <a:rPr lang="nb-NO"/>
              <a:t> </a:t>
            </a:r>
            <a:r>
              <a:rPr lang="nb-NO" err="1"/>
              <a:t>WLC</a:t>
            </a:r>
            <a:r>
              <a:rPr lang="nb-NO"/>
              <a:t> (9800-CL at </a:t>
            </a:r>
            <a:r>
              <a:rPr lang="nb-NO" err="1">
                <a:hlinkClick r:id="rId3"/>
              </a:rPr>
              <a:t>https</a:t>
            </a:r>
            <a:r>
              <a:rPr lang="nb-NO">
                <a:hlinkClick r:id="rId3"/>
              </a:rPr>
              <a:t>://</a:t>
            </a:r>
            <a:r>
              <a:rPr lang="nb-NO" err="1">
                <a:hlinkClick r:id="rId3"/>
              </a:rPr>
              <a:t>software.cisco.com</a:t>
            </a:r>
            <a:r>
              <a:rPr lang="nb-NO"/>
              <a:t>)</a:t>
            </a:r>
          </a:p>
          <a:p>
            <a:r>
              <a:rPr lang="nb-NO"/>
              <a:t>Postman </a:t>
            </a:r>
            <a:r>
              <a:rPr lang="nb-NO" err="1"/>
              <a:t>account</a:t>
            </a:r>
            <a:r>
              <a:rPr lang="nb-NO"/>
              <a:t> (</a:t>
            </a:r>
            <a:r>
              <a:rPr lang="nb-NO" err="1">
                <a:hlinkClick r:id="rId4"/>
              </a:rPr>
              <a:t>https</a:t>
            </a:r>
            <a:r>
              <a:rPr lang="nb-NO">
                <a:hlinkClick r:id="rId4"/>
              </a:rPr>
              <a:t>://</a:t>
            </a:r>
            <a:r>
              <a:rPr lang="nb-NO" err="1">
                <a:hlinkClick r:id="rId4"/>
              </a:rPr>
              <a:t>postman.com</a:t>
            </a:r>
            <a:r>
              <a:rPr lang="nb-NO"/>
              <a:t>)</a:t>
            </a:r>
          </a:p>
          <a:p>
            <a:r>
              <a:rPr lang="nb-NO"/>
              <a:t>Windows laptop </a:t>
            </a:r>
            <a:r>
              <a:rPr lang="nb-NO" err="1"/>
              <a:t>with</a:t>
            </a:r>
            <a:r>
              <a:rPr lang="nb-NO"/>
              <a:t> administrative </a:t>
            </a:r>
            <a:r>
              <a:rPr lang="nb-NO" err="1"/>
              <a:t>privileges</a:t>
            </a:r>
            <a:endParaRPr lang="nb-NO"/>
          </a:p>
          <a:p>
            <a:r>
              <a:rPr lang="nb-NO"/>
              <a:t>Complete </a:t>
            </a:r>
            <a:r>
              <a:rPr lang="nb-NO" err="1"/>
              <a:t>the</a:t>
            </a:r>
            <a:r>
              <a:rPr lang="nb-NO"/>
              <a:t> pre-lab </a:t>
            </a:r>
            <a:r>
              <a:rPr lang="nb-NO" err="1"/>
              <a:t>exercises</a:t>
            </a:r>
            <a:r>
              <a:rPr lang="nb-NO"/>
              <a:t> </a:t>
            </a:r>
            <a:r>
              <a:rPr lang="nb-NO" err="1"/>
              <a:t>before</a:t>
            </a:r>
            <a:r>
              <a:rPr lang="nb-NO"/>
              <a:t> </a:t>
            </a:r>
            <a:r>
              <a:rPr lang="nb-NO" err="1"/>
              <a:t>the</a:t>
            </a:r>
            <a:r>
              <a:rPr lang="nb-NO"/>
              <a:t> </a:t>
            </a:r>
            <a:r>
              <a:rPr lang="nb-NO" err="1"/>
              <a:t>deep</a:t>
            </a:r>
            <a:r>
              <a:rPr lang="nb-NO"/>
              <a:t> </a:t>
            </a:r>
            <a:r>
              <a:rPr lang="nb-NO" err="1"/>
              <a:t>dive</a:t>
            </a:r>
            <a:r>
              <a:rPr lang="nb-NO"/>
              <a:t> labs</a:t>
            </a:r>
          </a:p>
          <a:p>
            <a:pPr lvl="1"/>
            <a:r>
              <a:rPr lang="nb-NO"/>
              <a:t>Pre-lab </a:t>
            </a:r>
            <a:r>
              <a:rPr lang="nb-NO" err="1"/>
              <a:t>exercises</a:t>
            </a:r>
            <a:r>
              <a:rPr lang="nb-NO"/>
              <a:t> </a:t>
            </a:r>
            <a:r>
              <a:rPr lang="nb-NO" err="1"/>
              <a:t>are</a:t>
            </a:r>
            <a:r>
              <a:rPr lang="nb-NO"/>
              <a:t> </a:t>
            </a:r>
            <a:r>
              <a:rPr lang="nb-NO" err="1"/>
              <a:t>distributed</a:t>
            </a:r>
            <a:r>
              <a:rPr lang="nb-NO"/>
              <a:t> in a separate PowerPoint </a:t>
            </a:r>
            <a:r>
              <a:rPr lang="nb-NO" err="1"/>
              <a:t>document</a:t>
            </a:r>
            <a:br>
              <a:rPr lang="nb-NO"/>
            </a:br>
            <a:r>
              <a:rPr lang="nb-NO" err="1">
                <a:latin typeface="Consolas" panose="020B0609020204030204" pitchFamily="49" charset="0"/>
              </a:rPr>
              <a:t>Build</a:t>
            </a:r>
            <a:r>
              <a:rPr lang="nb-NO">
                <a:latin typeface="Consolas" panose="020B0609020204030204" pitchFamily="49" charset="0"/>
              </a:rPr>
              <a:t> </a:t>
            </a:r>
            <a:r>
              <a:rPr lang="nb-NO" err="1">
                <a:latin typeface="Consolas" panose="020B0609020204030204" pitchFamily="49" charset="0"/>
              </a:rPr>
              <a:t>your</a:t>
            </a:r>
            <a:r>
              <a:rPr lang="nb-NO">
                <a:latin typeface="Consolas" panose="020B0609020204030204" pitchFamily="49" charset="0"/>
              </a:rPr>
              <a:t> </a:t>
            </a:r>
            <a:r>
              <a:rPr lang="nb-NO" err="1">
                <a:latin typeface="Consolas" panose="020B0609020204030204" pitchFamily="49" charset="0"/>
              </a:rPr>
              <a:t>own</a:t>
            </a:r>
            <a:r>
              <a:rPr lang="nb-NO">
                <a:latin typeface="Consolas" panose="020B0609020204030204" pitchFamily="49" charset="0"/>
              </a:rPr>
              <a:t> </a:t>
            </a:r>
            <a:r>
              <a:rPr lang="nb-NO" err="1">
                <a:latin typeface="Consolas" panose="020B0609020204030204" pitchFamily="49" charset="0"/>
              </a:rPr>
              <a:t>Wi-Fi</a:t>
            </a:r>
            <a:r>
              <a:rPr lang="nb-NO">
                <a:latin typeface="Consolas" panose="020B0609020204030204" pitchFamily="49" charset="0"/>
              </a:rPr>
              <a:t> </a:t>
            </a:r>
            <a:r>
              <a:rPr lang="nb-NO" err="1">
                <a:latin typeface="Consolas" panose="020B0609020204030204" pitchFamily="49" charset="0"/>
              </a:rPr>
              <a:t>automation</a:t>
            </a:r>
            <a:r>
              <a:rPr lang="nb-NO">
                <a:latin typeface="Consolas" panose="020B0609020204030204" pitchFamily="49" charset="0"/>
              </a:rPr>
              <a:t> lab - Pre-lab </a:t>
            </a:r>
            <a:r>
              <a:rPr lang="nb-NO" err="1">
                <a:latin typeface="Consolas" panose="020B0609020204030204" pitchFamily="49" charset="0"/>
              </a:rPr>
              <a:t>tasks</a:t>
            </a:r>
            <a:r>
              <a:rPr lang="nb-NO">
                <a:latin typeface="Consolas" panose="020B0609020204030204" pitchFamily="49" charset="0"/>
              </a:rPr>
              <a:t> (2024-xx-xx).</a:t>
            </a:r>
            <a:r>
              <a:rPr lang="nb-NO" err="1">
                <a:latin typeface="Consolas" panose="020B0609020204030204" pitchFamily="49" charset="0"/>
              </a:rPr>
              <a:t>pptx</a:t>
            </a:r>
            <a:endParaRPr lang="nb-NO">
              <a:latin typeface="Consolas" panose="020B0609020204030204" pitchFamily="49" charset="0"/>
            </a:endParaRPr>
          </a:p>
          <a:p>
            <a:endParaRPr lang="nb-NO"/>
          </a:p>
          <a:p>
            <a:r>
              <a:rPr lang="nb-NO" err="1"/>
              <a:t>Without</a:t>
            </a:r>
            <a:r>
              <a:rPr lang="nb-NO"/>
              <a:t> </a:t>
            </a:r>
            <a:r>
              <a:rPr lang="nb-NO" err="1"/>
              <a:t>these</a:t>
            </a:r>
            <a:r>
              <a:rPr lang="nb-NO"/>
              <a:t>, parts </a:t>
            </a:r>
            <a:r>
              <a:rPr lang="nb-NO" err="1"/>
              <a:t>of</a:t>
            </a:r>
            <a:r>
              <a:rPr lang="nb-NO"/>
              <a:t> </a:t>
            </a:r>
            <a:r>
              <a:rPr lang="nb-NO" err="1"/>
              <a:t>the</a:t>
            </a:r>
            <a:r>
              <a:rPr lang="nb-NO"/>
              <a:t> Deep </a:t>
            </a:r>
            <a:r>
              <a:rPr lang="nb-NO" err="1"/>
              <a:t>Dive</a:t>
            </a:r>
            <a:r>
              <a:rPr lang="nb-NO"/>
              <a:t> </a:t>
            </a:r>
            <a:r>
              <a:rPr lang="nb-NO" err="1"/>
              <a:t>might</a:t>
            </a:r>
            <a:r>
              <a:rPr lang="nb-NO"/>
              <a:t> be </a:t>
            </a:r>
            <a:r>
              <a:rPr lang="nb-NO" err="1"/>
              <a:t>difficult</a:t>
            </a:r>
            <a:r>
              <a:rPr lang="nb-NO"/>
              <a:t> to </a:t>
            </a:r>
            <a:r>
              <a:rPr lang="nb-NO" err="1"/>
              <a:t>complete</a:t>
            </a:r>
            <a:r>
              <a:rPr lang="nb-NO"/>
              <a:t>, or </a:t>
            </a:r>
            <a:r>
              <a:rPr lang="nb-NO" err="1"/>
              <a:t>steps</a:t>
            </a:r>
            <a:r>
              <a:rPr lang="nb-NO"/>
              <a:t> </a:t>
            </a:r>
            <a:r>
              <a:rPr lang="nb-NO" err="1"/>
              <a:t>might</a:t>
            </a:r>
            <a:r>
              <a:rPr lang="nb-NO"/>
              <a:t> </a:t>
            </a:r>
            <a:r>
              <a:rPr lang="nb-NO" err="1"/>
              <a:t>differ</a:t>
            </a:r>
            <a:r>
              <a:rPr lang="nb-NO"/>
              <a:t> </a:t>
            </a:r>
            <a:r>
              <a:rPr lang="nb-NO" err="1"/>
              <a:t>severely</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solidFill>
                  <a:srgbClr val="0C1026"/>
                </a:solidFill>
              </a:rPr>
              <a:t>!!! NOTE !!!</a:t>
            </a:r>
          </a:p>
          <a:p>
            <a:pPr lvl="1">
              <a:lnSpc>
                <a:spcPct val="110000"/>
              </a:lnSpc>
            </a:pPr>
            <a:r>
              <a:rPr lang="nb-NO" sz="1400" dirty="0">
                <a:solidFill>
                  <a:srgbClr val="0C1026"/>
                </a:solidFill>
              </a:rPr>
              <a:t>If </a:t>
            </a:r>
            <a:r>
              <a:rPr lang="nb-NO" sz="1400" dirty="0" err="1">
                <a:solidFill>
                  <a:srgbClr val="0C1026"/>
                </a:solidFill>
              </a:rPr>
              <a:t>you</a:t>
            </a:r>
            <a:r>
              <a:rPr lang="nb-NO" sz="1400" dirty="0">
                <a:solidFill>
                  <a:srgbClr val="0C1026"/>
                </a:solidFill>
              </a:rPr>
              <a:t> do not </a:t>
            </a:r>
            <a:r>
              <a:rPr lang="nb-NO" sz="1400" dirty="0" err="1">
                <a:solidFill>
                  <a:srgbClr val="0C1026"/>
                </a:solidFill>
              </a:rPr>
              <a:t>want</a:t>
            </a:r>
            <a:r>
              <a:rPr lang="nb-NO" sz="1400" dirty="0">
                <a:solidFill>
                  <a:srgbClr val="0C1026"/>
                </a:solidFill>
              </a:rPr>
              <a:t> to </a:t>
            </a:r>
            <a:r>
              <a:rPr lang="nb-NO" sz="1400" dirty="0" err="1">
                <a:solidFill>
                  <a:srgbClr val="0C1026"/>
                </a:solidFill>
              </a:rPr>
              <a:t>use</a:t>
            </a:r>
            <a:r>
              <a:rPr lang="nb-NO" sz="1400" dirty="0">
                <a:solidFill>
                  <a:srgbClr val="0C1026"/>
                </a:solidFill>
              </a:rPr>
              <a:t> time </a:t>
            </a:r>
            <a:r>
              <a:rPr lang="nb-NO" sz="1400" dirty="0" err="1">
                <a:solidFill>
                  <a:srgbClr val="0C1026"/>
                </a:solidFill>
              </a:rPr>
              <a:t>on</a:t>
            </a:r>
            <a:r>
              <a:rPr lang="nb-NO" sz="1400" dirty="0">
                <a:solidFill>
                  <a:srgbClr val="0C1026"/>
                </a:solidFill>
              </a:rPr>
              <a:t> </a:t>
            </a:r>
            <a:r>
              <a:rPr lang="nb-NO" sz="1400" dirty="0" err="1">
                <a:solidFill>
                  <a:srgbClr val="0C1026"/>
                </a:solidFill>
              </a:rPr>
              <a:t>installing</a:t>
            </a:r>
            <a:r>
              <a:rPr lang="nb-NO" sz="1400" dirty="0">
                <a:solidFill>
                  <a:srgbClr val="0C1026"/>
                </a:solidFill>
              </a:rPr>
              <a:t> </a:t>
            </a:r>
            <a:r>
              <a:rPr lang="nb-NO" sz="1400" dirty="0" err="1">
                <a:solidFill>
                  <a:srgbClr val="0C1026"/>
                </a:solidFill>
              </a:rPr>
              <a:t>YANG</a:t>
            </a:r>
            <a:r>
              <a:rPr lang="nb-NO" sz="1400" dirty="0">
                <a:solidFill>
                  <a:srgbClr val="0C1026"/>
                </a:solidFill>
              </a:rPr>
              <a:t> Suite at </a:t>
            </a:r>
            <a:r>
              <a:rPr lang="nb-NO" sz="1400" dirty="0" err="1">
                <a:solidFill>
                  <a:srgbClr val="0C1026"/>
                </a:solidFill>
              </a:rPr>
              <a:t>this</a:t>
            </a:r>
            <a:r>
              <a:rPr lang="nb-NO" sz="1400" dirty="0">
                <a:solidFill>
                  <a:srgbClr val="0C1026"/>
                </a:solidFill>
              </a:rPr>
              <a:t> </a:t>
            </a:r>
            <a:r>
              <a:rPr lang="nb-NO" sz="1400" dirty="0" err="1">
                <a:solidFill>
                  <a:srgbClr val="0C1026"/>
                </a:solidFill>
              </a:rPr>
              <a:t>point</a:t>
            </a:r>
            <a:r>
              <a:rPr lang="nb-NO" sz="1400" dirty="0">
                <a:solidFill>
                  <a:srgbClr val="0C1026"/>
                </a:solidFill>
              </a:rPr>
              <a:t>, </a:t>
            </a:r>
            <a:r>
              <a:rPr lang="nb-NO" sz="1400" dirty="0" err="1">
                <a:solidFill>
                  <a:srgbClr val="0C1026"/>
                </a:solidFill>
              </a:rPr>
              <a:t>you</a:t>
            </a:r>
            <a:r>
              <a:rPr lang="nb-NO" sz="1400" dirty="0">
                <a:solidFill>
                  <a:srgbClr val="0C1026"/>
                </a:solidFill>
              </a:rPr>
              <a:t> </a:t>
            </a:r>
            <a:r>
              <a:rPr lang="nb-NO" sz="1400" dirty="0" err="1">
                <a:solidFill>
                  <a:srgbClr val="0C1026"/>
                </a:solidFill>
              </a:rPr>
              <a:t>can</a:t>
            </a:r>
            <a:r>
              <a:rPr lang="nb-NO" sz="1400" dirty="0">
                <a:solidFill>
                  <a:srgbClr val="0C1026"/>
                </a:solidFill>
              </a:rPr>
              <a:t> </a:t>
            </a:r>
            <a:r>
              <a:rPr lang="nb-NO" sz="1400" dirty="0" err="1">
                <a:solidFill>
                  <a:srgbClr val="0C1026"/>
                </a:solidFill>
              </a:rPr>
              <a:t>use</a:t>
            </a:r>
            <a:r>
              <a:rPr lang="nb-NO" sz="1400" dirty="0">
                <a:solidFill>
                  <a:srgbClr val="0C1026"/>
                </a:solidFill>
              </a:rPr>
              <a:t> </a:t>
            </a:r>
            <a:r>
              <a:rPr lang="nb-NO" sz="1400" dirty="0" err="1">
                <a:solidFill>
                  <a:srgbClr val="0C1026"/>
                </a:solidFill>
              </a:rPr>
              <a:t>the</a:t>
            </a:r>
            <a:r>
              <a:rPr lang="nb-NO" sz="1400" dirty="0">
                <a:solidFill>
                  <a:srgbClr val="0C1026"/>
                </a:solidFill>
              </a:rPr>
              <a:t> </a:t>
            </a:r>
            <a:r>
              <a:rPr lang="nb-NO" sz="1400" dirty="0" err="1">
                <a:solidFill>
                  <a:srgbClr val="0C1026"/>
                </a:solidFill>
              </a:rPr>
              <a:t>already</a:t>
            </a:r>
            <a:r>
              <a:rPr lang="nb-NO" sz="1400" dirty="0">
                <a:solidFill>
                  <a:srgbClr val="0C1026"/>
                </a:solidFill>
              </a:rPr>
              <a:t> </a:t>
            </a:r>
            <a:r>
              <a:rPr lang="nb-NO" sz="1400" dirty="0" err="1">
                <a:solidFill>
                  <a:srgbClr val="0C1026"/>
                </a:solidFill>
              </a:rPr>
              <a:t>prepared</a:t>
            </a:r>
            <a:r>
              <a:rPr lang="nb-NO" sz="1400" dirty="0">
                <a:solidFill>
                  <a:srgbClr val="0C1026"/>
                </a:solidFill>
              </a:rPr>
              <a:t> </a:t>
            </a:r>
            <a:r>
              <a:rPr lang="nb-NO" sz="1400" dirty="0" err="1">
                <a:solidFill>
                  <a:srgbClr val="0C1026"/>
                </a:solidFill>
              </a:rPr>
              <a:t>YANG</a:t>
            </a:r>
            <a:r>
              <a:rPr lang="nb-NO" sz="1400" dirty="0">
                <a:solidFill>
                  <a:srgbClr val="0C1026"/>
                </a:solidFill>
              </a:rPr>
              <a:t> Suite </a:t>
            </a:r>
            <a:r>
              <a:rPr lang="nb-NO" sz="1400" dirty="0" err="1">
                <a:solidFill>
                  <a:srgbClr val="0C1026"/>
                </a:solidFill>
              </a:rPr>
              <a:t>installation</a:t>
            </a:r>
            <a:r>
              <a:rPr lang="nb-NO" sz="1400" dirty="0">
                <a:solidFill>
                  <a:srgbClr val="0C1026"/>
                </a:solidFill>
              </a:rPr>
              <a:t> </a:t>
            </a:r>
            <a:r>
              <a:rPr lang="nb-NO" sz="1400" dirty="0" err="1">
                <a:solidFill>
                  <a:srgbClr val="0C1026"/>
                </a:solidFill>
              </a:rPr>
              <a:t>on</a:t>
            </a:r>
            <a:r>
              <a:rPr lang="nb-NO" sz="1400" dirty="0">
                <a:solidFill>
                  <a:srgbClr val="0C1026"/>
                </a:solidFill>
              </a:rPr>
              <a:t> </a:t>
            </a:r>
            <a:r>
              <a:rPr lang="nb-NO" sz="1400" dirty="0" err="1">
                <a:solidFill>
                  <a:srgbClr val="0C1026"/>
                </a:solidFill>
              </a:rPr>
              <a:t>one</a:t>
            </a:r>
            <a:r>
              <a:rPr lang="nb-NO" sz="1400" dirty="0">
                <a:solidFill>
                  <a:srgbClr val="0C1026"/>
                </a:solidFill>
              </a:rPr>
              <a:t> </a:t>
            </a:r>
            <a:r>
              <a:rPr lang="nb-NO" sz="1400" dirty="0" err="1">
                <a:solidFill>
                  <a:srgbClr val="0C1026"/>
                </a:solidFill>
              </a:rPr>
              <a:t>of</a:t>
            </a:r>
            <a:r>
              <a:rPr lang="nb-NO" sz="1400" dirty="0">
                <a:solidFill>
                  <a:srgbClr val="0C1026"/>
                </a:solidFill>
              </a:rPr>
              <a:t> </a:t>
            </a:r>
            <a:r>
              <a:rPr lang="nb-NO" sz="1400" dirty="0" err="1">
                <a:solidFill>
                  <a:srgbClr val="0C1026"/>
                </a:solidFill>
              </a:rPr>
              <a:t>the</a:t>
            </a:r>
            <a:r>
              <a:rPr lang="nb-NO" sz="1400" dirty="0">
                <a:solidFill>
                  <a:srgbClr val="0C1026"/>
                </a:solidFill>
              </a:rPr>
              <a:t> </a:t>
            </a:r>
            <a:r>
              <a:rPr lang="nb-NO" sz="1400" dirty="0" err="1">
                <a:solidFill>
                  <a:srgbClr val="0C1026"/>
                </a:solidFill>
              </a:rPr>
              <a:t>shared</a:t>
            </a:r>
            <a:r>
              <a:rPr lang="nb-NO" sz="1400" dirty="0">
                <a:solidFill>
                  <a:srgbClr val="0C1026"/>
                </a:solidFill>
              </a:rPr>
              <a:t> servers:</a:t>
            </a:r>
          </a:p>
          <a:p>
            <a:pPr lvl="2">
              <a:lnSpc>
                <a:spcPct val="110000"/>
              </a:lnSpc>
            </a:pPr>
            <a:r>
              <a:rPr lang="nb-NO" sz="1200" dirty="0" err="1">
                <a:solidFill>
                  <a:srgbClr val="0C1026"/>
                </a:solidFill>
                <a:hlinkClick r:id="rId3"/>
              </a:rPr>
              <a:t>https</a:t>
            </a:r>
            <a:r>
              <a:rPr lang="nb-NO" sz="1200" dirty="0">
                <a:solidFill>
                  <a:srgbClr val="0C1026"/>
                </a:solidFill>
                <a:hlinkClick r:id="rId3"/>
              </a:rPr>
              <a:t>://192.168.10.7:8443</a:t>
            </a:r>
            <a:endParaRPr lang="nb-NO" sz="1200" dirty="0">
              <a:solidFill>
                <a:srgbClr val="0C1026"/>
              </a:solidFill>
            </a:endParaRPr>
          </a:p>
          <a:p>
            <a:pPr lvl="2">
              <a:lnSpc>
                <a:spcPct val="110000"/>
              </a:lnSpc>
            </a:pPr>
            <a:r>
              <a:rPr lang="nb-NO" sz="1200" dirty="0" err="1">
                <a:solidFill>
                  <a:srgbClr val="0C1026"/>
                </a:solidFill>
                <a:hlinkClick r:id="rId4"/>
              </a:rPr>
              <a:t>https</a:t>
            </a:r>
            <a:r>
              <a:rPr lang="nb-NO" sz="1200" dirty="0">
                <a:solidFill>
                  <a:srgbClr val="0C1026"/>
                </a:solidFill>
                <a:hlinkClick r:id="rId4"/>
              </a:rPr>
              <a:t>://192.168.10.8:8443</a:t>
            </a:r>
            <a:endParaRPr lang="nb-NO" sz="1200" dirty="0">
              <a:solidFill>
                <a:srgbClr val="0C1026"/>
              </a:solidFill>
            </a:endParaRPr>
          </a:p>
          <a:p>
            <a:pPr lvl="1">
              <a:lnSpc>
                <a:spcPct val="110000"/>
              </a:lnSpc>
            </a:pPr>
            <a:r>
              <a:rPr lang="nb-NO" sz="1400" dirty="0" err="1">
                <a:solidFill>
                  <a:srgbClr val="0C1026"/>
                </a:solidFill>
              </a:rPr>
              <a:t>You</a:t>
            </a:r>
            <a:r>
              <a:rPr lang="nb-NO" sz="1400" dirty="0">
                <a:solidFill>
                  <a:srgbClr val="0C1026"/>
                </a:solidFill>
              </a:rPr>
              <a:t> </a:t>
            </a:r>
            <a:r>
              <a:rPr lang="nb-NO" sz="1400" dirty="0" err="1">
                <a:solidFill>
                  <a:srgbClr val="0C1026"/>
                </a:solidFill>
              </a:rPr>
              <a:t>can</a:t>
            </a:r>
            <a:r>
              <a:rPr lang="nb-NO" sz="1400" dirty="0">
                <a:solidFill>
                  <a:srgbClr val="0C1026"/>
                </a:solidFill>
              </a:rPr>
              <a:t> </a:t>
            </a:r>
            <a:r>
              <a:rPr lang="nb-NO" sz="1400" dirty="0" err="1">
                <a:solidFill>
                  <a:srgbClr val="0C1026"/>
                </a:solidFill>
              </a:rPr>
              <a:t>skim</a:t>
            </a:r>
            <a:r>
              <a:rPr lang="nb-NO" sz="1400" dirty="0">
                <a:solidFill>
                  <a:srgbClr val="0C1026"/>
                </a:solidFill>
              </a:rPr>
              <a:t> </a:t>
            </a:r>
            <a:r>
              <a:rPr lang="nb-NO" sz="1400" dirty="0" err="1">
                <a:solidFill>
                  <a:srgbClr val="0C1026"/>
                </a:solidFill>
              </a:rPr>
              <a:t>through</a:t>
            </a:r>
            <a:r>
              <a:rPr lang="nb-NO" sz="1400" dirty="0">
                <a:solidFill>
                  <a:srgbClr val="0C1026"/>
                </a:solidFill>
              </a:rPr>
              <a:t> </a:t>
            </a:r>
            <a:r>
              <a:rPr lang="nb-NO" sz="1400" dirty="0" err="1">
                <a:solidFill>
                  <a:srgbClr val="0C1026"/>
                </a:solidFill>
              </a:rPr>
              <a:t>the</a:t>
            </a:r>
            <a:r>
              <a:rPr lang="nb-NO" sz="1400" dirty="0">
                <a:solidFill>
                  <a:srgbClr val="0C1026"/>
                </a:solidFill>
              </a:rPr>
              <a:t> </a:t>
            </a:r>
            <a:r>
              <a:rPr lang="nb-NO" sz="1400" dirty="0" err="1">
                <a:solidFill>
                  <a:srgbClr val="0C1026"/>
                </a:solidFill>
              </a:rPr>
              <a:t>following</a:t>
            </a:r>
            <a:r>
              <a:rPr lang="nb-NO" sz="1400" dirty="0">
                <a:solidFill>
                  <a:srgbClr val="0C1026"/>
                </a:solidFill>
              </a:rPr>
              <a:t> slides and </a:t>
            </a:r>
            <a:r>
              <a:rPr lang="nb-NO" sz="1400" dirty="0" err="1">
                <a:solidFill>
                  <a:srgbClr val="0C1026"/>
                </a:solidFill>
              </a:rPr>
              <a:t>continue</a:t>
            </a:r>
            <a:r>
              <a:rPr lang="nb-NO" sz="1400" dirty="0">
                <a:solidFill>
                  <a:srgbClr val="0C1026"/>
                </a:solidFill>
              </a:rPr>
              <a:t> from Lab </a:t>
            </a:r>
            <a:r>
              <a:rPr lang="nb-NO" sz="1400" dirty="0" err="1">
                <a:solidFill>
                  <a:srgbClr val="0C1026"/>
                </a:solidFill>
              </a:rPr>
              <a:t>Exercise</a:t>
            </a:r>
            <a:r>
              <a:rPr lang="nb-NO" sz="1400" dirty="0">
                <a:solidFill>
                  <a:srgbClr val="0C1026"/>
                </a:solidFill>
              </a:rPr>
              <a:t> 8</a:t>
            </a:r>
          </a:p>
          <a:p>
            <a:pPr>
              <a:lnSpc>
                <a:spcPct val="110000"/>
              </a:lnSpc>
            </a:pPr>
            <a:endParaRPr lang="nb-NO" sz="1600" dirty="0"/>
          </a:p>
          <a:p>
            <a:pPr>
              <a:lnSpc>
                <a:spcPct val="110000"/>
              </a:lnSpc>
            </a:pPr>
            <a:r>
              <a:rPr lang="nb-NO" sz="1600" dirty="0"/>
              <a:t>The first </a:t>
            </a:r>
            <a:r>
              <a:rPr lang="nb-NO" sz="1600" dirty="0" err="1"/>
              <a:t>couple</a:t>
            </a:r>
            <a:r>
              <a:rPr lang="nb-NO" sz="1600" dirty="0"/>
              <a:t> </a:t>
            </a:r>
            <a:r>
              <a:rPr lang="nb-NO" sz="1600" dirty="0" err="1"/>
              <a:t>of</a:t>
            </a:r>
            <a:r>
              <a:rPr lang="nb-NO" sz="1600" dirty="0"/>
              <a:t> slides </a:t>
            </a:r>
            <a:r>
              <a:rPr lang="nb-NO" sz="1600" dirty="0" err="1"/>
              <a:t>will</a:t>
            </a:r>
            <a:r>
              <a:rPr lang="nb-NO" sz="1600" dirty="0"/>
              <a:t> </a:t>
            </a:r>
            <a:r>
              <a:rPr lang="nb-NO" sz="1600" dirty="0" err="1"/>
              <a:t>explain</a:t>
            </a:r>
            <a:r>
              <a:rPr lang="nb-NO" sz="1600" dirty="0"/>
              <a:t> a </a:t>
            </a:r>
            <a:r>
              <a:rPr lang="nb-NO" sz="1600" dirty="0" err="1"/>
              <a:t>little</a:t>
            </a:r>
            <a:r>
              <a:rPr lang="nb-NO" sz="1600" dirty="0"/>
              <a:t> </a:t>
            </a:r>
            <a:r>
              <a:rPr lang="nb-NO" sz="1600" dirty="0" err="1"/>
              <a:t>about</a:t>
            </a:r>
            <a:r>
              <a:rPr lang="nb-NO" sz="1600" dirty="0"/>
              <a:t> </a:t>
            </a:r>
            <a:r>
              <a:rPr lang="nb-NO" sz="1600" dirty="0" err="1"/>
              <a:t>YANG</a:t>
            </a:r>
            <a:r>
              <a:rPr lang="nb-NO" sz="1600" dirty="0"/>
              <a:t> </a:t>
            </a:r>
            <a:r>
              <a:rPr lang="nb-NO" sz="1600" dirty="0" err="1"/>
              <a:t>models</a:t>
            </a:r>
            <a:r>
              <a:rPr lang="nb-NO" sz="1600" dirty="0"/>
              <a:t> and </a:t>
            </a:r>
            <a:r>
              <a:rPr lang="nb-NO" sz="1600" dirty="0" err="1"/>
              <a:t>YANG</a:t>
            </a:r>
            <a:r>
              <a:rPr lang="nb-NO" sz="1600" dirty="0"/>
              <a:t> Suite</a:t>
            </a:r>
          </a:p>
          <a:p>
            <a:pPr>
              <a:lnSpc>
                <a:spcPct val="110000"/>
              </a:lnSpc>
            </a:pPr>
            <a:r>
              <a:rPr lang="nb-NO" sz="1600" dirty="0" err="1"/>
              <a:t>Then</a:t>
            </a:r>
            <a:r>
              <a:rPr lang="nb-NO" sz="1600" dirty="0"/>
              <a:t>, </a:t>
            </a:r>
            <a:r>
              <a:rPr lang="nb-NO" sz="1600" dirty="0" err="1"/>
              <a:t>installation</a:t>
            </a:r>
            <a:r>
              <a:rPr lang="nb-NO" sz="1600" dirty="0"/>
              <a:t> </a:t>
            </a:r>
            <a:r>
              <a:rPr lang="nb-NO" sz="1600" dirty="0" err="1"/>
              <a:t>of</a:t>
            </a:r>
            <a:r>
              <a:rPr lang="nb-NO" sz="1600" dirty="0"/>
              <a:t> </a:t>
            </a:r>
            <a:r>
              <a:rPr lang="nb-NO" sz="1600" dirty="0" err="1"/>
              <a:t>YANG</a:t>
            </a:r>
            <a:r>
              <a:rPr lang="nb-NO" sz="1600" dirty="0"/>
              <a:t> Suite as a </a:t>
            </a:r>
            <a:r>
              <a:rPr lang="nb-NO" sz="1600" dirty="0" err="1"/>
              <a:t>docker</a:t>
            </a:r>
            <a:r>
              <a:rPr lang="nb-NO" sz="1600" dirty="0"/>
              <a:t> container is </a:t>
            </a:r>
            <a:r>
              <a:rPr lang="nb-NO" sz="1600" dirty="0" err="1"/>
              <a:t>explained</a:t>
            </a:r>
            <a:endParaRPr lang="nb-NO" sz="1600" dirty="0"/>
          </a:p>
          <a:p>
            <a:pPr>
              <a:lnSpc>
                <a:spcPct val="110000"/>
              </a:lnSpc>
            </a:pPr>
            <a:r>
              <a:rPr lang="nb-NO" sz="1600" dirty="0" err="1"/>
              <a:t>After</a:t>
            </a:r>
            <a:r>
              <a:rPr lang="nb-NO" sz="1600" dirty="0"/>
              <a:t> </a:t>
            </a:r>
            <a:r>
              <a:rPr lang="nb-NO" sz="1600" dirty="0" err="1"/>
              <a:t>successful</a:t>
            </a:r>
            <a:r>
              <a:rPr lang="nb-NO" sz="1600" dirty="0"/>
              <a:t> </a:t>
            </a:r>
            <a:r>
              <a:rPr lang="nb-NO" sz="1600" dirty="0" err="1"/>
              <a:t>installation</a:t>
            </a:r>
            <a:r>
              <a:rPr lang="nb-NO" sz="1600" dirty="0"/>
              <a:t>, </a:t>
            </a:r>
            <a:r>
              <a:rPr lang="nb-NO" sz="1600" dirty="0" err="1"/>
              <a:t>you</a:t>
            </a:r>
            <a:r>
              <a:rPr lang="nb-NO" sz="1600" dirty="0"/>
              <a:t> </a:t>
            </a:r>
            <a:r>
              <a:rPr lang="nb-NO" sz="1600" dirty="0" err="1"/>
              <a:t>can</a:t>
            </a:r>
            <a:r>
              <a:rPr lang="nb-NO" sz="1600" dirty="0"/>
              <a:t> </a:t>
            </a:r>
            <a:r>
              <a:rPr lang="nb-NO" sz="1600" dirty="0" err="1"/>
              <a:t>connect</a:t>
            </a:r>
            <a:r>
              <a:rPr lang="nb-NO" sz="1600" dirty="0"/>
              <a:t> to </a:t>
            </a:r>
            <a:r>
              <a:rPr lang="nb-NO" sz="1600" dirty="0" err="1"/>
              <a:t>YANG</a:t>
            </a:r>
            <a:r>
              <a:rPr lang="nb-NO" sz="1600" dirty="0"/>
              <a:t> Suite </a:t>
            </a:r>
            <a:r>
              <a:rPr lang="nb-NO" sz="1600" dirty="0" err="1"/>
              <a:t>on</a:t>
            </a:r>
            <a:r>
              <a:rPr lang="nb-NO" sz="1600" dirty="0"/>
              <a:t> </a:t>
            </a:r>
          </a:p>
          <a:p>
            <a:pPr lvl="1">
              <a:lnSpc>
                <a:spcPct val="110000"/>
              </a:lnSpc>
            </a:pPr>
            <a:r>
              <a:rPr lang="nb-NO" sz="1400" dirty="0" err="1"/>
              <a:t>https</a:t>
            </a:r>
            <a:r>
              <a:rPr lang="nb-NO" sz="1400" dirty="0"/>
              <a:t>://{</a:t>
            </a:r>
            <a:r>
              <a:rPr lang="nb-NO" sz="1400" dirty="0" err="1"/>
              <a:t>your</a:t>
            </a:r>
            <a:r>
              <a:rPr lang="nb-NO" sz="1400" dirty="0"/>
              <a:t> </a:t>
            </a:r>
            <a:r>
              <a:rPr lang="nb-NO" sz="1400" dirty="0" err="1"/>
              <a:t>Ubuntu</a:t>
            </a:r>
            <a:r>
              <a:rPr lang="nb-NO" sz="1400" dirty="0"/>
              <a:t> IP}:8443</a:t>
            </a:r>
          </a:p>
          <a:p>
            <a:pPr>
              <a:lnSpc>
                <a:spcPct val="110000"/>
              </a:lnSpc>
            </a:pPr>
            <a:r>
              <a:rPr lang="nb-NO" sz="1600" dirty="0" err="1">
                <a:solidFill>
                  <a:srgbClr val="0C1026"/>
                </a:solidFill>
              </a:rPr>
              <a:t>Then</a:t>
            </a:r>
            <a:r>
              <a:rPr lang="nb-NO" sz="1600" dirty="0">
                <a:solidFill>
                  <a:srgbClr val="0C1026"/>
                </a:solidFill>
              </a:rPr>
              <a:t> </a:t>
            </a:r>
            <a:r>
              <a:rPr lang="nb-NO" sz="1600" dirty="0" err="1">
                <a:solidFill>
                  <a:srgbClr val="0C1026"/>
                </a:solidFill>
              </a:rPr>
              <a:t>you</a:t>
            </a:r>
            <a:r>
              <a:rPr lang="nb-NO" sz="1600" dirty="0">
                <a:solidFill>
                  <a:srgbClr val="0C1026"/>
                </a:solidFill>
              </a:rPr>
              <a:t> </a:t>
            </a:r>
            <a:r>
              <a:rPr lang="nb-NO" sz="1600" dirty="0" err="1">
                <a:solidFill>
                  <a:srgbClr val="0C1026"/>
                </a:solidFill>
              </a:rPr>
              <a:t>will</a:t>
            </a:r>
            <a:r>
              <a:rPr lang="nb-NO" sz="1600" dirty="0">
                <a:solidFill>
                  <a:srgbClr val="0C1026"/>
                </a:solidFill>
              </a:rPr>
              <a:t> </a:t>
            </a:r>
            <a:r>
              <a:rPr lang="nb-NO" sz="1600" dirty="0" err="1">
                <a:solidFill>
                  <a:srgbClr val="0C1026"/>
                </a:solidFill>
              </a:rPr>
              <a:t>use</a:t>
            </a:r>
            <a:r>
              <a:rPr lang="nb-NO" sz="1600" dirty="0">
                <a:solidFill>
                  <a:srgbClr val="0C1026"/>
                </a:solidFill>
              </a:rPr>
              <a:t> </a:t>
            </a:r>
            <a:r>
              <a:rPr lang="nb-NO" sz="1600" dirty="0" err="1">
                <a:solidFill>
                  <a:srgbClr val="0C1026"/>
                </a:solidFill>
              </a:rPr>
              <a:t>YANG</a:t>
            </a:r>
            <a:r>
              <a:rPr lang="nb-NO" sz="1600" dirty="0">
                <a:solidFill>
                  <a:srgbClr val="0C1026"/>
                </a:solidFill>
              </a:rPr>
              <a:t> Suite to pull </a:t>
            </a:r>
            <a:r>
              <a:rPr lang="nb-NO" sz="1600" dirty="0" err="1">
                <a:solidFill>
                  <a:srgbClr val="0C1026"/>
                </a:solidFill>
              </a:rPr>
              <a:t>the</a:t>
            </a:r>
            <a:r>
              <a:rPr lang="nb-NO" sz="1600" dirty="0">
                <a:solidFill>
                  <a:srgbClr val="0C1026"/>
                </a:solidFill>
              </a:rPr>
              <a:t> </a:t>
            </a:r>
            <a:r>
              <a:rPr lang="nb-NO" sz="1600" dirty="0" err="1">
                <a:solidFill>
                  <a:srgbClr val="0C1026"/>
                </a:solidFill>
              </a:rPr>
              <a:t>YANG</a:t>
            </a:r>
            <a:r>
              <a:rPr lang="nb-NO" sz="1600" dirty="0">
                <a:solidFill>
                  <a:srgbClr val="0C1026"/>
                </a:solidFill>
              </a:rPr>
              <a:t> </a:t>
            </a:r>
            <a:r>
              <a:rPr lang="nb-NO" sz="1600" dirty="0" err="1">
                <a:solidFill>
                  <a:srgbClr val="0C1026"/>
                </a:solidFill>
              </a:rPr>
              <a:t>models</a:t>
            </a:r>
            <a:r>
              <a:rPr lang="nb-NO" sz="1600" dirty="0">
                <a:solidFill>
                  <a:srgbClr val="0C1026"/>
                </a:solidFill>
              </a:rPr>
              <a:t> from </a:t>
            </a:r>
            <a:r>
              <a:rPr lang="nb-NO" sz="1600" dirty="0" err="1">
                <a:solidFill>
                  <a:srgbClr val="0C1026"/>
                </a:solidFill>
              </a:rPr>
              <a:t>your</a:t>
            </a:r>
            <a:r>
              <a:rPr lang="nb-NO" sz="1600" dirty="0">
                <a:solidFill>
                  <a:srgbClr val="0C1026"/>
                </a:solidFill>
              </a:rPr>
              <a:t> </a:t>
            </a:r>
            <a:r>
              <a:rPr lang="nb-NO" sz="1600" dirty="0" err="1">
                <a:solidFill>
                  <a:srgbClr val="0C1026"/>
                </a:solidFill>
              </a:rPr>
              <a:t>own</a:t>
            </a:r>
            <a:r>
              <a:rPr lang="nb-NO" sz="1600" dirty="0">
                <a:solidFill>
                  <a:srgbClr val="0C1026"/>
                </a:solidFill>
              </a:rPr>
              <a:t> </a:t>
            </a:r>
            <a:r>
              <a:rPr lang="nb-NO" sz="1600" dirty="0" err="1">
                <a:solidFill>
                  <a:srgbClr val="0C1026"/>
                </a:solidFill>
              </a:rPr>
              <a:t>WLC</a:t>
            </a:r>
            <a:endParaRPr lang="nb-NO" sz="1600" dirty="0">
              <a:solidFill>
                <a:srgbClr val="0C1026"/>
              </a:solidFill>
            </a:endParaRPr>
          </a:p>
          <a:p>
            <a:pPr marL="0" indent="0">
              <a:lnSpc>
                <a:spcPct val="110000"/>
              </a:lnSpc>
              <a:buNone/>
            </a:pPr>
            <a:endParaRPr lang="nb-NO" sz="1600" dirty="0">
              <a:solidFill>
                <a:srgbClr val="0C1026"/>
              </a:solidFill>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dirty="0" err="1"/>
              <a:t>Lab</a:t>
            </a:r>
            <a:r>
              <a:rPr lang="fr-FR" dirty="0"/>
              <a:t> </a:t>
            </a:r>
            <a:r>
              <a:rPr lang="fr-FR" dirty="0" err="1"/>
              <a:t>exercise</a:t>
            </a:r>
            <a:r>
              <a:rPr lang="fr-FR" dirty="0"/>
              <a:t> #6: Install YANG Suite</a:t>
            </a:r>
            <a:r>
              <a:rPr lang="en-GB" dirty="0"/>
              <a:t> (optional)</a:t>
            </a:r>
          </a:p>
        </p:txBody>
      </p:sp>
      <p:sp>
        <p:nvSpPr>
          <p:cNvPr id="3" name="Footer Placeholder 6">
            <a:extLst>
              <a:ext uri="{FF2B5EF4-FFF2-40B4-BE49-F238E27FC236}">
                <a16:creationId xmlns:a16="http://schemas.microsoft.com/office/drawing/2014/main" id="{A5C4ADF1-3D1F-20DA-C1A9-2BBF14F5D43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4E1C2F61-69D1-C4C7-A93C-FAB0264657C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Tree>
    <p:extLst>
      <p:ext uri="{BB962C8B-B14F-4D97-AF65-F5344CB8AC3E}">
        <p14:creationId xmlns:p14="http://schemas.microsoft.com/office/powerpoint/2010/main" val="293350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E9D72E-B39E-7F54-2610-1F656CC40998}"/>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C749179-8C27-6EC8-88C1-9671E3C05BCE}"/>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a:extLst>
              <a:ext uri="{FF2B5EF4-FFF2-40B4-BE49-F238E27FC236}">
                <a16:creationId xmlns:a16="http://schemas.microsoft.com/office/drawing/2014/main" id="{11405684-5900-5AB4-405B-25BB0F7CBAD5}"/>
              </a:ext>
            </a:extLst>
          </p:cNvPr>
          <p:cNvSpPr txBox="1">
            <a:spLocks noGrp="1"/>
          </p:cNvSpPr>
          <p:nvPr>
            <p:ph type="title"/>
          </p:nvPr>
        </p:nvSpPr>
        <p:spPr>
          <a:xfrm>
            <a:off x="540000" y="432000"/>
            <a:ext cx="11109600" cy="540000"/>
          </a:xfrm>
        </p:spPr>
        <p:txBody>
          <a:bodyPr anchor="ctr">
            <a:normAutofit/>
          </a:bodyPr>
          <a:lstStyle/>
          <a:p>
            <a:r>
              <a:rPr lang="en-GB"/>
              <a:t>What is a YANG-model?</a:t>
            </a:r>
          </a:p>
        </p:txBody>
      </p:sp>
      <p:sp>
        <p:nvSpPr>
          <p:cNvPr id="4" name="TextBox 3">
            <a:extLst>
              <a:ext uri="{FF2B5EF4-FFF2-40B4-BE49-F238E27FC236}">
                <a16:creationId xmlns:a16="http://schemas.microsoft.com/office/drawing/2014/main" id="{42F1134E-0AF3-BB43-946F-E13A2D832C8F}"/>
              </a:ext>
            </a:extLst>
          </p:cNvPr>
          <p:cNvSpPr txBox="1"/>
          <p:nvPr/>
        </p:nvSpPr>
        <p:spPr>
          <a:xfrm>
            <a:off x="6172201" y="1257235"/>
            <a:ext cx="5649685" cy="879728"/>
          </a:xfrm>
          <a:prstGeom prst="rect">
            <a:avLst/>
          </a:prstGeom>
          <a:noFill/>
        </p:spPr>
        <p:txBody>
          <a:bodyPr wrap="square">
            <a:spAutoFit/>
          </a:bodyPr>
          <a:lstStyle/>
          <a:p>
            <a:pPr marL="285750" indent="-285750">
              <a:lnSpc>
                <a:spcPct val="110000"/>
              </a:lnSpc>
              <a:buFont typeface="Arial" panose="020B0604020202020204" pitchFamily="34" charset="0"/>
              <a:buChar char="•"/>
            </a:pPr>
            <a:r>
              <a:rPr lang="nb-NO" sz="1600" err="1">
                <a:latin typeface="Verdana" panose="020B0604030504040204" pitchFamily="34" charset="0"/>
                <a:ea typeface="Verdana" panose="020B0604030504040204" pitchFamily="34" charset="0"/>
                <a:sym typeface="Verdana" panose="020B0604030504040204" pitchFamily="34" charset="0"/>
              </a:rPr>
              <a:t>Structured</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representation</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of</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cfg</a:t>
            </a:r>
            <a:r>
              <a:rPr lang="nb-NO" sz="1600">
                <a:latin typeface="Verdana" panose="020B0604030504040204" pitchFamily="34" charset="0"/>
                <a:ea typeface="Verdana" panose="020B0604030504040204" pitchFamily="34" charset="0"/>
                <a:sym typeface="Verdana" panose="020B0604030504040204" pitchFamily="34" charset="0"/>
              </a:rPr>
              <a:t> og </a:t>
            </a:r>
            <a:r>
              <a:rPr lang="nb-NO" sz="1600" err="1">
                <a:latin typeface="Verdana" panose="020B0604030504040204" pitchFamily="34" charset="0"/>
                <a:ea typeface="Verdana" panose="020B0604030504040204" pitchFamily="34" charset="0"/>
                <a:sym typeface="Verdana" panose="020B0604030504040204" pitchFamily="34" charset="0"/>
              </a:rPr>
              <a:t>oper</a:t>
            </a:r>
            <a:r>
              <a:rPr lang="nb-NO" sz="1600">
                <a:latin typeface="Verdana" panose="020B0604030504040204" pitchFamily="34" charset="0"/>
                <a:ea typeface="Verdana" panose="020B0604030504040204" pitchFamily="34" charset="0"/>
                <a:sym typeface="Verdana" panose="020B0604030504040204" pitchFamily="34" charset="0"/>
              </a:rPr>
              <a:t> data</a:t>
            </a:r>
          </a:p>
          <a:p>
            <a:pPr marL="285750" indent="-285750">
              <a:lnSpc>
                <a:spcPct val="110000"/>
              </a:lnSpc>
              <a:buFont typeface="Arial" panose="020B0604020202020204" pitchFamily="34" charset="0"/>
              <a:buChar char="•"/>
            </a:pPr>
            <a:r>
              <a:rPr lang="nb-NO" sz="1600">
                <a:latin typeface="Verdana" panose="020B0604030504040204" pitchFamily="34" charset="0"/>
                <a:ea typeface="Verdana" panose="020B0604030504040204" pitchFamily="34" charset="0"/>
                <a:sym typeface="Verdana" panose="020B0604030504040204" pitchFamily="34" charset="0"/>
              </a:rPr>
              <a:t>Used </a:t>
            </a:r>
            <a:r>
              <a:rPr lang="nb-NO" sz="1600" err="1">
                <a:latin typeface="Verdana" panose="020B0604030504040204" pitchFamily="34" charset="0"/>
                <a:ea typeface="Verdana" panose="020B0604030504040204" pitchFamily="34" charset="0"/>
                <a:sym typeface="Verdana" panose="020B0604030504040204" pitchFamily="34" charset="0"/>
              </a:rPr>
              <a:t>primarily</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with</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NETCONF</a:t>
            </a:r>
            <a:r>
              <a:rPr lang="nb-NO" sz="1600">
                <a:latin typeface="Verdana" panose="020B0604030504040204" pitchFamily="34" charset="0"/>
                <a:ea typeface="Verdana" panose="020B0604030504040204" pitchFamily="34" charset="0"/>
                <a:sym typeface="Verdana" panose="020B0604030504040204" pitchFamily="34" charset="0"/>
              </a:rPr>
              <a:t> &amp; </a:t>
            </a:r>
            <a:r>
              <a:rPr lang="nb-NO" sz="1600" err="1">
                <a:latin typeface="Verdana" panose="020B0604030504040204" pitchFamily="34" charset="0"/>
                <a:ea typeface="Verdana" panose="020B0604030504040204" pitchFamily="34" charset="0"/>
                <a:sym typeface="Verdana" panose="020B0604030504040204" pitchFamily="34" charset="0"/>
              </a:rPr>
              <a:t>RESTCONF</a:t>
            </a:r>
            <a:endParaRPr lang="nb-NO" sz="1600">
              <a:latin typeface="Verdana" panose="020B0604030504040204" pitchFamily="34" charset="0"/>
              <a:ea typeface="Verdana" panose="020B0604030504040204" pitchFamily="34" charset="0"/>
              <a:sym typeface="Verdana" panose="020B0604030504040204" pitchFamily="34" charset="0"/>
            </a:endParaRPr>
          </a:p>
          <a:p>
            <a:pPr marL="285750" indent="-285750">
              <a:lnSpc>
                <a:spcPct val="110000"/>
              </a:lnSpc>
              <a:buFont typeface="Arial" panose="020B0604020202020204" pitchFamily="34" charset="0"/>
              <a:buChar char="•"/>
            </a:pPr>
            <a:r>
              <a:rPr lang="nb-NO" sz="1600">
                <a:latin typeface="Verdana" panose="020B0604030504040204" pitchFamily="34" charset="0"/>
                <a:ea typeface="Verdana" panose="020B0604030504040204" pitchFamily="34" charset="0"/>
                <a:sym typeface="Verdana" panose="020B0604030504040204" pitchFamily="34" charset="0"/>
              </a:rPr>
              <a:t>Do </a:t>
            </a:r>
            <a:r>
              <a:rPr lang="nb-NO" sz="1600" err="1">
                <a:latin typeface="Verdana" panose="020B0604030504040204" pitchFamily="34" charset="0"/>
                <a:ea typeface="Verdana" panose="020B0604030504040204" pitchFamily="34" charset="0"/>
                <a:sym typeface="Verdana" panose="020B0604030504040204" pitchFamily="34" charset="0"/>
              </a:rPr>
              <a:t>you</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recognize</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what</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the</a:t>
            </a:r>
            <a:r>
              <a:rPr lang="nb-NO" sz="1600">
                <a:latin typeface="Verdana" panose="020B0604030504040204" pitchFamily="34" charset="0"/>
                <a:ea typeface="Verdana" panose="020B0604030504040204" pitchFamily="34" charset="0"/>
                <a:sym typeface="Verdana" panose="020B0604030504040204" pitchFamily="34" charset="0"/>
              </a:rPr>
              <a:t> </a:t>
            </a:r>
            <a:r>
              <a:rPr lang="nb-NO" sz="1600" err="1">
                <a:latin typeface="Verdana" panose="020B0604030504040204" pitchFamily="34" charset="0"/>
                <a:ea typeface="Verdana" panose="020B0604030504040204" pitchFamily="34" charset="0"/>
                <a:sym typeface="Verdana" panose="020B0604030504040204" pitchFamily="34" charset="0"/>
              </a:rPr>
              <a:t>tree</a:t>
            </a:r>
            <a:r>
              <a:rPr lang="nb-NO" sz="1600">
                <a:latin typeface="Verdana" panose="020B0604030504040204" pitchFamily="34" charset="0"/>
                <a:ea typeface="Verdana" panose="020B0604030504040204" pitchFamily="34" charset="0"/>
                <a:sym typeface="Verdana" panose="020B0604030504040204" pitchFamily="34" charset="0"/>
              </a:rPr>
              <a:t> is </a:t>
            </a:r>
            <a:r>
              <a:rPr lang="nb-NO" sz="1600" err="1">
                <a:latin typeface="Verdana" panose="020B0604030504040204" pitchFamily="34" charset="0"/>
                <a:ea typeface="Verdana" panose="020B0604030504040204" pitchFamily="34" charset="0"/>
                <a:sym typeface="Verdana" panose="020B0604030504040204" pitchFamily="34" charset="0"/>
              </a:rPr>
              <a:t>showing</a:t>
            </a:r>
            <a:r>
              <a:rPr lang="nb-NO" sz="1600">
                <a:latin typeface="Verdana" panose="020B0604030504040204" pitchFamily="34" charset="0"/>
                <a:ea typeface="Verdana" panose="020B0604030504040204" pitchFamily="34" charset="0"/>
                <a:sym typeface="Verdana" panose="020B0604030504040204" pitchFamily="34" charset="0"/>
              </a:rPr>
              <a:t>?</a:t>
            </a:r>
          </a:p>
        </p:txBody>
      </p:sp>
      <p:sp>
        <p:nvSpPr>
          <p:cNvPr id="3" name="TextBox 2">
            <a:extLst>
              <a:ext uri="{FF2B5EF4-FFF2-40B4-BE49-F238E27FC236}">
                <a16:creationId xmlns:a16="http://schemas.microsoft.com/office/drawing/2014/main" id="{FE703E88-4252-FC56-3A11-F54BBB369E0F}"/>
              </a:ext>
            </a:extLst>
          </p:cNvPr>
          <p:cNvSpPr txBox="1"/>
          <p:nvPr/>
        </p:nvSpPr>
        <p:spPr>
          <a:xfrm>
            <a:off x="539999" y="5513133"/>
            <a:ext cx="8586415" cy="276999"/>
          </a:xfrm>
          <a:prstGeom prst="rect">
            <a:avLst/>
          </a:prstGeom>
          <a:noFill/>
        </p:spPr>
        <p:txBody>
          <a:bodyPr wrap="square">
            <a:spAutoFit/>
          </a:bodyPr>
          <a:lstStyle/>
          <a:p>
            <a:r>
              <a:rPr lang="nb-NO" sz="1200"/>
              <a:t>Reference/</a:t>
            </a:r>
            <a:r>
              <a:rPr lang="nb-NO" sz="1200" err="1"/>
              <a:t>download</a:t>
            </a:r>
            <a:r>
              <a:rPr lang="nb-NO" sz="1200"/>
              <a:t>: </a:t>
            </a:r>
            <a:r>
              <a:rPr lang="nb-NO" sz="1200" err="1">
                <a:hlinkClick r:id="rId3"/>
              </a:rPr>
              <a:t>https</a:t>
            </a:r>
            <a:r>
              <a:rPr lang="nb-NO" sz="1200">
                <a:hlinkClick r:id="rId3"/>
              </a:rPr>
              <a:t>://</a:t>
            </a:r>
            <a:r>
              <a:rPr lang="nb-NO" sz="1200" err="1">
                <a:hlinkClick r:id="rId3"/>
              </a:rPr>
              <a:t>github.com</a:t>
            </a:r>
            <a:r>
              <a:rPr lang="nb-NO" sz="1200">
                <a:hlinkClick r:id="rId3"/>
              </a:rPr>
              <a:t>/</a:t>
            </a:r>
            <a:r>
              <a:rPr lang="nb-NO" sz="1200" err="1">
                <a:hlinkClick r:id="rId3"/>
              </a:rPr>
              <a:t>YangModels</a:t>
            </a:r>
            <a:r>
              <a:rPr lang="nb-NO" sz="1200">
                <a:hlinkClick r:id="rId3"/>
              </a:rPr>
              <a:t>/</a:t>
            </a:r>
            <a:r>
              <a:rPr lang="nb-NO" sz="1200" err="1">
                <a:hlinkClick r:id="rId3"/>
              </a:rPr>
              <a:t>yang</a:t>
            </a:r>
            <a:r>
              <a:rPr lang="nb-NO" sz="1200">
                <a:hlinkClick r:id="rId3"/>
              </a:rPr>
              <a:t>/</a:t>
            </a:r>
            <a:r>
              <a:rPr lang="nb-NO" sz="1200" err="1">
                <a:hlinkClick r:id="rId3"/>
              </a:rPr>
              <a:t>tree</a:t>
            </a:r>
            <a:r>
              <a:rPr lang="nb-NO" sz="1200">
                <a:hlinkClick r:id="rId3"/>
              </a:rPr>
              <a:t>/</a:t>
            </a:r>
            <a:r>
              <a:rPr lang="nb-NO" sz="1200" err="1">
                <a:hlinkClick r:id="rId3"/>
              </a:rPr>
              <a:t>main</a:t>
            </a:r>
            <a:r>
              <a:rPr lang="nb-NO" sz="1200">
                <a:hlinkClick r:id="rId3"/>
              </a:rPr>
              <a:t>/</a:t>
            </a:r>
            <a:r>
              <a:rPr lang="nb-NO" sz="1200" err="1">
                <a:hlinkClick r:id="rId3"/>
              </a:rPr>
              <a:t>vendor</a:t>
            </a:r>
            <a:r>
              <a:rPr lang="nb-NO" sz="1200">
                <a:hlinkClick r:id="rId3"/>
              </a:rPr>
              <a:t>/cisco/</a:t>
            </a:r>
            <a:r>
              <a:rPr lang="nb-NO" sz="1200" err="1">
                <a:hlinkClick r:id="rId3"/>
              </a:rPr>
              <a:t>xe</a:t>
            </a:r>
            <a:r>
              <a:rPr lang="nb-NO" sz="1200">
                <a:hlinkClick r:id="rId3"/>
              </a:rPr>
              <a:t>/17121</a:t>
            </a:r>
            <a:endParaRPr lang="nb-NO" sz="1200"/>
          </a:p>
        </p:txBody>
      </p:sp>
      <p:pic>
        <p:nvPicPr>
          <p:cNvPr id="6" name="Picture 5">
            <a:extLst>
              <a:ext uri="{FF2B5EF4-FFF2-40B4-BE49-F238E27FC236}">
                <a16:creationId xmlns:a16="http://schemas.microsoft.com/office/drawing/2014/main" id="{BDEE2F7F-8F95-E3ED-4B86-7CC1BC37D7F8}"/>
              </a:ext>
            </a:extLst>
          </p:cNvPr>
          <p:cNvPicPr>
            <a:picLocks noChangeAspect="1"/>
          </p:cNvPicPr>
          <p:nvPr/>
        </p:nvPicPr>
        <p:blipFill rotWithShape="1">
          <a:blip r:embed="rId4"/>
          <a:srcRect r="14912" b="33880"/>
          <a:stretch/>
        </p:blipFill>
        <p:spPr>
          <a:xfrm>
            <a:off x="540000" y="972001"/>
            <a:ext cx="5649685" cy="3376169"/>
          </a:xfrm>
          <a:prstGeom prst="rect">
            <a:avLst/>
          </a:prstGeom>
        </p:spPr>
      </p:pic>
      <p:sp>
        <p:nvSpPr>
          <p:cNvPr id="2" name="Footer Placeholder 6">
            <a:extLst>
              <a:ext uri="{FF2B5EF4-FFF2-40B4-BE49-F238E27FC236}">
                <a16:creationId xmlns:a16="http://schemas.microsoft.com/office/drawing/2014/main" id="{0BAF9CDF-1F31-022B-DFDF-222C5501871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B596EF22-E31D-A2E8-341E-3D77773F09F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Tree>
    <p:extLst>
      <p:ext uri="{BB962C8B-B14F-4D97-AF65-F5344CB8AC3E}">
        <p14:creationId xmlns:p14="http://schemas.microsoft.com/office/powerpoint/2010/main" val="3496916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01B0855-085A-D909-07C4-24478B65279D}"/>
              </a:ext>
            </a:extLst>
          </p:cNvPr>
          <p:cNvSpPr>
            <a:spLocks noGrp="1"/>
          </p:cNvSpPr>
          <p:nvPr>
            <p:ph type="sldNum" sz="quarter" idx="12"/>
          </p:nvPr>
        </p:nvSpPr>
        <p:spPr/>
        <p:txBody>
          <a:bodyPr/>
          <a:lstStyle/>
          <a:p>
            <a:fld id="{02CEFE82-39F2-4F47-8A0C-D5AB3496FA5C}" type="slidenum">
              <a:rPr lang="en-GB" smtClean="0"/>
              <a:pPr/>
              <a:t>42</a:t>
            </a:fld>
            <a:endParaRPr lang="en-GB"/>
          </a:p>
        </p:txBody>
      </p:sp>
      <p:sp>
        <p:nvSpPr>
          <p:cNvPr id="5" name="Title 4">
            <a:extLst>
              <a:ext uri="{FF2B5EF4-FFF2-40B4-BE49-F238E27FC236}">
                <a16:creationId xmlns:a16="http://schemas.microsoft.com/office/drawing/2014/main" id="{9EE63497-A543-48A3-EA75-634D1E366B33}"/>
              </a:ext>
            </a:extLst>
          </p:cNvPr>
          <p:cNvSpPr>
            <a:spLocks noGrp="1"/>
          </p:cNvSpPr>
          <p:nvPr>
            <p:ph type="title"/>
          </p:nvPr>
        </p:nvSpPr>
        <p:spPr/>
        <p:txBody>
          <a:bodyPr/>
          <a:lstStyle/>
          <a:p>
            <a:r>
              <a:rPr lang="nb-NO" err="1"/>
              <a:t>YANG</a:t>
            </a:r>
            <a:r>
              <a:rPr lang="nb-NO"/>
              <a:t> Suite</a:t>
            </a:r>
          </a:p>
        </p:txBody>
      </p:sp>
      <p:pic>
        <p:nvPicPr>
          <p:cNvPr id="3074" name="Picture 2" descr="YANG Suite">
            <a:extLst>
              <a:ext uri="{FF2B5EF4-FFF2-40B4-BE49-F238E27FC236}">
                <a16:creationId xmlns:a16="http://schemas.microsoft.com/office/drawing/2014/main" id="{9A7141FC-3A91-4D15-1D9A-8AAAD3BC4D2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5885" y="1106435"/>
            <a:ext cx="6930429" cy="360293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6">
            <a:extLst>
              <a:ext uri="{FF2B5EF4-FFF2-40B4-BE49-F238E27FC236}">
                <a16:creationId xmlns:a16="http://schemas.microsoft.com/office/drawing/2014/main" id="{D71C1957-CF13-E573-D007-BD19A1E6792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9827CC03-792F-6275-16E4-B4CAE92C302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pic>
        <p:nvPicPr>
          <p:cNvPr id="3" name="Picture 2">
            <a:extLst>
              <a:ext uri="{FF2B5EF4-FFF2-40B4-BE49-F238E27FC236}">
                <a16:creationId xmlns:a16="http://schemas.microsoft.com/office/drawing/2014/main" id="{66120AFA-DE2E-2AF7-BF03-20984A46B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7529" y="3028950"/>
            <a:ext cx="4458734" cy="29185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4668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5804044" cy="4999978"/>
          </a:xfrm>
        </p:spPr>
        <p:txBody>
          <a:bodyPr>
            <a:normAutofit/>
          </a:bodyPr>
          <a:lstStyle/>
          <a:p>
            <a:pPr>
              <a:lnSpc>
                <a:spcPct val="110000"/>
              </a:lnSpc>
            </a:pPr>
            <a:r>
              <a:rPr lang="nb-NO" sz="1600" dirty="0"/>
              <a:t>Installation (</a:t>
            </a:r>
            <a:r>
              <a:rPr lang="nb-NO" sz="1600" dirty="0" err="1"/>
              <a:t>requires</a:t>
            </a:r>
            <a:r>
              <a:rPr lang="nb-NO" sz="1600" dirty="0"/>
              <a:t> </a:t>
            </a:r>
            <a:r>
              <a:rPr lang="nb-NO" sz="1600" dirty="0" err="1"/>
              <a:t>Docker</a:t>
            </a:r>
            <a:r>
              <a:rPr lang="nb-NO" sz="1600" dirty="0"/>
              <a:t> </a:t>
            </a:r>
            <a:r>
              <a:rPr lang="nb-NO" sz="1600" dirty="0" err="1"/>
              <a:t>installed</a:t>
            </a:r>
            <a:r>
              <a:rPr lang="nb-NO" sz="1600" dirty="0"/>
              <a:t>)</a:t>
            </a:r>
          </a:p>
          <a:p>
            <a:pPr>
              <a:lnSpc>
                <a:spcPct val="110000"/>
              </a:lnSpc>
            </a:pPr>
            <a:endParaRPr lang="nb-NO" sz="1600" dirty="0"/>
          </a:p>
          <a:p>
            <a:pPr>
              <a:lnSpc>
                <a:spcPct val="110000"/>
              </a:lnSpc>
            </a:pPr>
            <a:endParaRPr lang="nb-NO"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r>
              <a:rPr lang="en-US" sz="1600" dirty="0"/>
              <a:t>(...appx 4-5min depending on your VM speed)</a:t>
            </a:r>
          </a:p>
          <a:p>
            <a:pPr>
              <a:lnSpc>
                <a:spcPct val="110000"/>
              </a:lnSpc>
            </a:pPr>
            <a:r>
              <a:rPr lang="en-US" sz="1600" dirty="0">
                <a:sym typeface="Wingdings" panose="05000000000000000000" pitchFamily="2" charset="2"/>
              </a:rPr>
              <a:t>While waiting, please carry on to the next slides </a:t>
            </a:r>
          </a:p>
          <a:p>
            <a:pPr>
              <a:lnSpc>
                <a:spcPct val="110000"/>
              </a:lnSpc>
            </a:pPr>
            <a:r>
              <a:rPr kumimoji="0" lang="nb-NO" sz="16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Reference: </a:t>
            </a:r>
            <a:r>
              <a:rPr lang="nb-NO" sz="1600" dirty="0">
                <a:hlinkClick r:id="rId3"/>
              </a:rPr>
              <a:t>https://developer.cisco.com/yangsuite/</a:t>
            </a:r>
            <a:endParaRPr lang="nb-NO" sz="1600" dirty="0"/>
          </a:p>
        </p:txBody>
      </p:sp>
      <p:sp>
        <p:nvSpPr>
          <p:cNvPr id="7" name="TextBox 6">
            <a:extLst>
              <a:ext uri="{FF2B5EF4-FFF2-40B4-BE49-F238E27FC236}">
                <a16:creationId xmlns:a16="http://schemas.microsoft.com/office/drawing/2014/main" id="{9D948326-BCA3-067B-13C0-E4DE9721139E}"/>
              </a:ext>
            </a:extLst>
          </p:cNvPr>
          <p:cNvSpPr txBox="1"/>
          <p:nvPr/>
        </p:nvSpPr>
        <p:spPr>
          <a:xfrm>
            <a:off x="778420" y="1384387"/>
            <a:ext cx="5966067" cy="3104119"/>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a:t>
            </a:r>
            <a:r>
              <a:rPr lang="fr-FR" sz="1050" dirty="0"/>
              <a:t> git clone https://</a:t>
            </a:r>
            <a:r>
              <a:rPr lang="fr-FR" sz="1050" dirty="0" err="1"/>
              <a:t>github.com</a:t>
            </a:r>
            <a:r>
              <a:rPr lang="fr-FR" sz="1050" dirty="0"/>
              <a:t>/</a:t>
            </a:r>
            <a:r>
              <a:rPr lang="fr-FR" sz="1050" dirty="0" err="1"/>
              <a:t>CiscoDevNet</a:t>
            </a:r>
            <a:r>
              <a:rPr lang="fr-FR" sz="1050" dirty="0"/>
              <a:t>/</a:t>
            </a:r>
            <a:r>
              <a:rPr lang="fr-FR" sz="1050" dirty="0" err="1"/>
              <a:t>yangsuite</a:t>
            </a:r>
            <a:endParaRPr lang="fr-FR" sz="1050" dirty="0"/>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r>
              <a:rPr lang="fr-FR" sz="1050" dirty="0" err="1">
                <a:solidFill>
                  <a:srgbClr val="EEE8D5"/>
                </a:solidFill>
                <a:latin typeface="Consolas" panose="020B0609020204030204" pitchFamily="49" charset="0"/>
              </a:rPr>
              <a:t>yangsuite</a:t>
            </a:r>
            <a:r>
              <a:rPr lang="fr-FR" sz="1050" dirty="0">
                <a:solidFill>
                  <a:srgbClr val="EEE8D5"/>
                </a:solidFill>
                <a:latin typeface="Consolas" panose="020B0609020204030204" pitchFamily="49" charset="0"/>
              </a:rPr>
              <a:t>/docker/</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yangsuite</a:t>
            </a:r>
            <a:r>
              <a:rPr lang="fr-FR" sz="1050" dirty="0">
                <a:solidFill>
                  <a:srgbClr val="8C8C8C"/>
                </a:solidFill>
                <a:latin typeface="Consolas" panose="020B0609020204030204" pitchFamily="49" charset="0"/>
              </a:rPr>
              <a:t>/docker</a:t>
            </a:r>
            <a:r>
              <a:rPr lang="fr-FR" sz="1050">
                <a:solidFill>
                  <a:srgbClr val="EEE8D5"/>
                </a:solidFill>
                <a:latin typeface="Consolas" panose="020B0609020204030204" pitchFamily="49" charset="0"/>
              </a:rPr>
              <a:t>$ ./start_yang_suite.sh</a:t>
            </a:r>
            <a:endParaRPr lang="fr-FR" sz="1050" dirty="0">
              <a:solidFill>
                <a:srgbClr val="EEE8D5"/>
              </a:solidFill>
              <a:latin typeface="Consolas" panose="020B0609020204030204" pitchFamily="49" charset="0"/>
            </a:endParaRPr>
          </a:p>
          <a:p>
            <a:pPr lvl="1"/>
            <a:r>
              <a:rPr lang="fr-FR" sz="1050" dirty="0"/>
              <a:t>Hello, </a:t>
            </a:r>
            <a:r>
              <a:rPr lang="fr-FR" sz="1050" dirty="0" err="1"/>
              <a:t>please</a:t>
            </a:r>
            <a:r>
              <a:rPr lang="fr-FR" sz="1050" dirty="0"/>
              <a:t> setup YANG Suite admin user.</a:t>
            </a:r>
          </a:p>
          <a:p>
            <a:pPr lvl="1"/>
            <a:r>
              <a:rPr lang="fr-FR" sz="1050" dirty="0" err="1">
                <a:solidFill>
                  <a:srgbClr val="EEE8D5"/>
                </a:solidFill>
                <a:latin typeface="Consolas" panose="020B0609020204030204" pitchFamily="49" charset="0"/>
              </a:rPr>
              <a:t>usernam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devnet</a:t>
            </a:r>
            <a:r>
              <a:rPr lang="fr-FR" sz="1050" dirty="0">
                <a:solidFill>
                  <a:srgbClr val="EEE8D5"/>
                </a:solidFill>
                <a:latin typeface="Consolas" panose="020B0609020204030204" pitchFamily="49" charset="0"/>
              </a:rPr>
              <a:t>-adm</a:t>
            </a:r>
          </a:p>
          <a:p>
            <a:pPr lvl="1"/>
            <a:r>
              <a:rPr lang="fr-FR" sz="1050" dirty="0" err="1"/>
              <a:t>password</a:t>
            </a:r>
            <a:r>
              <a:rPr lang="fr-FR" sz="1050" dirty="0"/>
              <a:t>: </a:t>
            </a:r>
            <a:r>
              <a:rPr lang="fr-FR" sz="1050" dirty="0" err="1"/>
              <a:t>ChangeMe2024</a:t>
            </a:r>
            <a:r>
              <a:rPr lang="fr-FR" sz="1050" dirty="0"/>
              <a:t>!</a:t>
            </a:r>
          </a:p>
          <a:p>
            <a:pPr lvl="1"/>
            <a:r>
              <a:rPr lang="fr-FR" sz="1050" dirty="0" err="1">
                <a:solidFill>
                  <a:srgbClr val="EEE8D5"/>
                </a:solidFill>
                <a:latin typeface="Consolas" panose="020B0609020204030204" pitchFamily="49" charset="0"/>
              </a:rPr>
              <a:t>confi</a:t>
            </a:r>
            <a:r>
              <a:rPr lang="fr-FR" sz="1050" dirty="0" err="1"/>
              <a:t>rm</a:t>
            </a:r>
            <a:r>
              <a:rPr lang="fr-FR" sz="1050" dirty="0"/>
              <a:t> </a:t>
            </a:r>
            <a:r>
              <a:rPr lang="fr-FR" sz="1050" dirty="0" err="1"/>
              <a:t>password</a:t>
            </a:r>
            <a:r>
              <a:rPr lang="fr-FR" sz="1050" dirty="0"/>
              <a:t>: </a:t>
            </a:r>
            <a:r>
              <a:rPr lang="fr-FR" sz="1050" dirty="0" err="1"/>
              <a:t>ChangeMe2024</a:t>
            </a:r>
            <a:r>
              <a:rPr lang="fr-FR" sz="1050" dirty="0"/>
              <a:t>!</a:t>
            </a:r>
          </a:p>
          <a:p>
            <a:pPr lvl="1"/>
            <a:r>
              <a:rPr lang="fr-FR" sz="1050" dirty="0">
                <a:solidFill>
                  <a:srgbClr val="EEE8D5"/>
                </a:solidFill>
                <a:latin typeface="Consolas" panose="020B0609020204030204" pitchFamily="49" charset="0"/>
              </a:rPr>
              <a:t>Will </a:t>
            </a:r>
            <a:r>
              <a:rPr lang="fr-FR" sz="1050" dirty="0" err="1">
                <a:solidFill>
                  <a:srgbClr val="EEE8D5"/>
                </a:solidFill>
                <a:latin typeface="Consolas" panose="020B0609020204030204" pitchFamily="49" charset="0"/>
              </a:rPr>
              <a:t>you</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access</a:t>
            </a:r>
            <a:r>
              <a:rPr lang="fr-FR" sz="1050" dirty="0">
                <a:solidFill>
                  <a:srgbClr val="EEE8D5"/>
                </a:solidFill>
                <a:latin typeface="Consolas" panose="020B0609020204030204" pitchFamily="49" charset="0"/>
              </a:rPr>
              <a:t> the system from a </a:t>
            </a:r>
            <a:r>
              <a:rPr lang="fr-FR" sz="1050" dirty="0" err="1">
                <a:solidFill>
                  <a:srgbClr val="EEE8D5"/>
                </a:solidFill>
                <a:latin typeface="Consolas" panose="020B0609020204030204" pitchFamily="49" charset="0"/>
              </a:rPr>
              <a:t>remote</a:t>
            </a:r>
            <a:r>
              <a:rPr lang="fr-FR" sz="1050" dirty="0">
                <a:solidFill>
                  <a:srgbClr val="EEE8D5"/>
                </a:solidFill>
                <a:latin typeface="Consolas" panose="020B0609020204030204" pitchFamily="49" charset="0"/>
              </a:rPr>
              <a:t> host? (y/n): y</a:t>
            </a:r>
          </a:p>
          <a:p>
            <a:pPr lvl="1"/>
            <a:r>
              <a:rPr lang="fr-FR" sz="1050" dirty="0"/>
              <a:t>Enter local host FQDN or IP: 192.168.10.7</a:t>
            </a:r>
          </a:p>
          <a:p>
            <a:pPr lvl="1"/>
            <a:r>
              <a:rPr lang="fr-FR" sz="1050" dirty="0"/>
              <a:t>Setup test </a:t>
            </a:r>
            <a:r>
              <a:rPr lang="fr-FR" sz="1050" dirty="0" err="1"/>
              <a:t>certificates</a:t>
            </a:r>
            <a:r>
              <a:rPr lang="fr-FR" sz="1050" dirty="0"/>
              <a:t>? (y/n): y</a:t>
            </a:r>
          </a:p>
          <a:p>
            <a:pPr lvl="1"/>
            <a:r>
              <a:rPr lang="fr-FR" sz="1050" dirty="0">
                <a:solidFill>
                  <a:srgbClr val="6D6D6D"/>
                </a:solidFill>
              </a:rPr>
              <a:t>##################################################</a:t>
            </a:r>
          </a:p>
          <a:p>
            <a:pPr lvl="1"/>
            <a:r>
              <a:rPr lang="fr-FR" sz="1050" dirty="0">
                <a:solidFill>
                  <a:srgbClr val="6D6D6D"/>
                </a:solidFill>
              </a:rPr>
              <a:t>## </a:t>
            </a:r>
            <a:r>
              <a:rPr lang="fr-FR" sz="1050" dirty="0" err="1">
                <a:solidFill>
                  <a:srgbClr val="6D6D6D"/>
                </a:solidFill>
              </a:rPr>
              <a:t>Generating</a:t>
            </a:r>
            <a:r>
              <a:rPr lang="fr-FR" sz="1050" dirty="0">
                <a:solidFill>
                  <a:srgbClr val="6D6D6D"/>
                </a:solidFill>
              </a:rPr>
              <a:t> self-</a:t>
            </a:r>
            <a:r>
              <a:rPr lang="fr-FR" sz="1050" dirty="0" err="1">
                <a:solidFill>
                  <a:srgbClr val="6D6D6D"/>
                </a:solidFill>
              </a:rPr>
              <a:t>signed</a:t>
            </a:r>
            <a:r>
              <a:rPr lang="fr-FR" sz="1050" dirty="0">
                <a:solidFill>
                  <a:srgbClr val="6D6D6D"/>
                </a:solidFill>
              </a:rPr>
              <a:t> </a:t>
            </a:r>
            <a:r>
              <a:rPr lang="fr-FR" sz="1050" dirty="0" err="1">
                <a:solidFill>
                  <a:srgbClr val="6D6D6D"/>
                </a:solidFill>
              </a:rPr>
              <a:t>certificates</a:t>
            </a:r>
            <a:r>
              <a:rPr lang="fr-FR" sz="1050" dirty="0">
                <a:solidFill>
                  <a:srgbClr val="6D6D6D"/>
                </a:solidFill>
              </a:rPr>
              <a:t>          ##</a:t>
            </a:r>
          </a:p>
          <a:p>
            <a:pPr lvl="1"/>
            <a:r>
              <a:rPr lang="fr-FR" sz="1050" dirty="0">
                <a:solidFill>
                  <a:srgbClr val="6D6D6D"/>
                </a:solidFill>
              </a:rPr>
              <a:t>(....)</a:t>
            </a:r>
          </a:p>
          <a:p>
            <a:pPr lvl="1"/>
            <a:r>
              <a:rPr lang="fr-FR" sz="1050" dirty="0"/>
              <a:t>email: devnet-adm@test.com </a:t>
            </a:r>
          </a:p>
          <a:p>
            <a:pPr lvl="1"/>
            <a:r>
              <a:rPr lang="fr-FR" sz="1050" dirty="0"/>
              <a:t>Setup test </a:t>
            </a:r>
            <a:r>
              <a:rPr lang="fr-FR" sz="1050" dirty="0" err="1"/>
              <a:t>certificates</a:t>
            </a:r>
            <a:r>
              <a:rPr lang="fr-FR" sz="1050" dirty="0"/>
              <a:t>? (y/n): y</a:t>
            </a:r>
          </a:p>
          <a:p>
            <a:pPr lvl="1"/>
            <a:r>
              <a:rPr lang="fr-FR" sz="1050" dirty="0">
                <a:solidFill>
                  <a:srgbClr val="EEE8D5"/>
                </a:solidFill>
                <a:latin typeface="Consolas" panose="020B0609020204030204" pitchFamily="49" charset="0"/>
              </a:rPr>
              <a:t>(...</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blah</a:t>
            </a:r>
            <a:r>
              <a:rPr lang="fr-FR" sz="1050" dirty="0">
                <a:solidFill>
                  <a:srgbClr val="EEE8D5"/>
                </a:solidFill>
                <a:latin typeface="Consolas" panose="020B0609020204030204" pitchFamily="49" charset="0"/>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YANG Suite installation</a:t>
            </a:r>
          </a:p>
        </p:txBody>
      </p:sp>
      <p:sp>
        <p:nvSpPr>
          <p:cNvPr id="3" name="Footer Placeholder 6">
            <a:extLst>
              <a:ext uri="{FF2B5EF4-FFF2-40B4-BE49-F238E27FC236}">
                <a16:creationId xmlns:a16="http://schemas.microsoft.com/office/drawing/2014/main" id="{65105C58-F9B3-32B8-AC18-CA5E62777EC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679A8908-ECF9-1656-E1DA-33446131C69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cxnSp>
        <p:nvCxnSpPr>
          <p:cNvPr id="4" name="Straight Arrow Connector 3">
            <a:extLst>
              <a:ext uri="{FF2B5EF4-FFF2-40B4-BE49-F238E27FC236}">
                <a16:creationId xmlns:a16="http://schemas.microsoft.com/office/drawing/2014/main" id="{A55F4123-0AA8-BC57-BF34-C80BE8A35D17}"/>
              </a:ext>
            </a:extLst>
          </p:cNvPr>
          <p:cNvCxnSpPr>
            <a:cxnSpLocks/>
          </p:cNvCxnSpPr>
          <p:nvPr/>
        </p:nvCxnSpPr>
        <p:spPr>
          <a:xfrm flipH="1">
            <a:off x="3884623" y="2894549"/>
            <a:ext cx="3052205" cy="2186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34B664FD-6231-9C7B-1639-573AC93609FA}"/>
              </a:ext>
            </a:extLst>
          </p:cNvPr>
          <p:cNvSpPr txBox="1"/>
          <p:nvPr/>
        </p:nvSpPr>
        <p:spPr>
          <a:xfrm>
            <a:off x="6853271" y="2756242"/>
            <a:ext cx="3848363" cy="276614"/>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a:t>
            </a:r>
          </a:p>
        </p:txBody>
      </p:sp>
      <p:sp>
        <p:nvSpPr>
          <p:cNvPr id="2" name="TextBox 1">
            <a:extLst>
              <a:ext uri="{FF2B5EF4-FFF2-40B4-BE49-F238E27FC236}">
                <a16:creationId xmlns:a16="http://schemas.microsoft.com/office/drawing/2014/main" id="{675B51D2-3EE0-9C56-9C48-5B0A8B8AED10}"/>
              </a:ext>
            </a:extLst>
          </p:cNvPr>
          <p:cNvSpPr txBox="1"/>
          <p:nvPr/>
        </p:nvSpPr>
        <p:spPr>
          <a:xfrm>
            <a:off x="6853271" y="3907895"/>
            <a:ext cx="4124845" cy="276614"/>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From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her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an</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just press Enter-Enter-Enter</a:t>
            </a:r>
          </a:p>
        </p:txBody>
      </p:sp>
      <p:cxnSp>
        <p:nvCxnSpPr>
          <p:cNvPr id="5" name="Straight Arrow Connector 4">
            <a:extLst>
              <a:ext uri="{FF2B5EF4-FFF2-40B4-BE49-F238E27FC236}">
                <a16:creationId xmlns:a16="http://schemas.microsoft.com/office/drawing/2014/main" id="{EB0AFE33-3051-7CFA-D02E-35FB4C5133C6}"/>
              </a:ext>
            </a:extLst>
          </p:cNvPr>
          <p:cNvCxnSpPr>
            <a:cxnSpLocks/>
          </p:cNvCxnSpPr>
          <p:nvPr/>
        </p:nvCxnSpPr>
        <p:spPr>
          <a:xfrm flipH="1">
            <a:off x="2417135" y="4029304"/>
            <a:ext cx="4519693" cy="34422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88FCFEAA-9424-0FFC-1171-19BF6615F7FF}"/>
              </a:ext>
            </a:extLst>
          </p:cNvPr>
          <p:cNvSpPr txBox="1"/>
          <p:nvPr/>
        </p:nvSpPr>
        <p:spPr>
          <a:xfrm>
            <a:off x="6982906" y="941764"/>
            <a:ext cx="4989685" cy="896271"/>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Note: This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will</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creat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problems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i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ry</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to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us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A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uit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i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hav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changed</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h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IP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of</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our</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Ubuntu</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erver to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somethi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els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In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that</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case,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delete</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YANG</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Suite and </a:t>
            </a:r>
            <a:r>
              <a:rPr lang="nb-NO" sz="1000" dirty="0" err="1">
                <a:solidFill>
                  <a:srgbClr val="FF0000"/>
                </a:solidFill>
                <a:latin typeface="Verdana" panose="020B0604030504040204" pitchFamily="34" charset="0"/>
                <a:ea typeface="Verdana" panose="020B0604030504040204" pitchFamily="34" charset="0"/>
                <a:sym typeface="Verdana" panose="020B0604030504040204" pitchFamily="34" charset="0"/>
              </a:rPr>
              <a:t>reinstall</a:t>
            </a:r>
            <a:r>
              <a:rPr lang="nb-NO" sz="1000" dirty="0">
                <a:solidFill>
                  <a:srgbClr val="FF0000"/>
                </a:solidFill>
                <a:latin typeface="Verdana" panose="020B0604030504040204" pitchFamily="34" charset="0"/>
                <a:ea typeface="Verdana" panose="020B0604030504040204" pitchFamily="34" charset="0"/>
                <a:sym typeface="Verdana" panose="020B0604030504040204" pitchFamily="34" charset="0"/>
              </a:rPr>
              <a:t> !!!</a:t>
            </a:r>
          </a:p>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o </a:t>
            </a:r>
            <a:r>
              <a:rPr kumimoji="0" lang="nb-NO" sz="10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delete</a:t>
            </a: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0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e</a:t>
            </a:r>
            <a:r>
              <a:rPr kumimoji="0" lang="nb-NO" sz="10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lang="nb-NO" sz="1050" dirty="0" err="1">
                <a:solidFill>
                  <a:srgbClr val="EEE8D5"/>
                </a:solidFill>
                <a:highlight>
                  <a:srgbClr val="002B36"/>
                </a:highlight>
                <a:latin typeface="Consolas" panose="020B0609020204030204" pitchFamily="49" charset="0"/>
                <a:sym typeface="Verdana" panose="020B0604030504040204" pitchFamily="34" charset="0"/>
              </a:rPr>
              <a:t>rm</a:t>
            </a:r>
            <a:r>
              <a:rPr lang="nb-NO" sz="1050" dirty="0">
                <a:solidFill>
                  <a:srgbClr val="EEE8D5"/>
                </a:solidFill>
                <a:highlight>
                  <a:srgbClr val="002B36"/>
                </a:highlight>
                <a:latin typeface="Consolas" panose="020B0609020204030204" pitchFamily="49" charset="0"/>
                <a:sym typeface="Verdana" panose="020B0604030504040204" pitchFamily="34" charset="0"/>
              </a:rPr>
              <a:t> -R ~/</a:t>
            </a:r>
            <a:r>
              <a:rPr lang="nb-NO" sz="1050" dirty="0" err="1">
                <a:solidFill>
                  <a:srgbClr val="EEE8D5"/>
                </a:solidFill>
                <a:highlight>
                  <a:srgbClr val="002B36"/>
                </a:highlight>
                <a:latin typeface="Consolas" panose="020B0609020204030204" pitchFamily="49" charset="0"/>
                <a:sym typeface="Verdana" panose="020B0604030504040204" pitchFamily="34" charset="0"/>
              </a:rPr>
              <a:t>yangsuite</a:t>
            </a:r>
            <a:endParaRPr lang="nb-NO" sz="1050" dirty="0">
              <a:solidFill>
                <a:srgbClr val="EEE8D5"/>
              </a:solidFill>
              <a:highlight>
                <a:srgbClr val="002B36"/>
              </a:highlight>
              <a:latin typeface="Consolas" panose="020B0609020204030204" pitchFamily="49" charset="0"/>
              <a:sym typeface="Verdana" panose="020B0604030504040204" pitchFamily="34" charset="0"/>
            </a:endParaRPr>
          </a:p>
        </p:txBody>
      </p:sp>
    </p:spTree>
    <p:extLst>
      <p:ext uri="{BB962C8B-B14F-4D97-AF65-F5344CB8AC3E}">
        <p14:creationId xmlns:p14="http://schemas.microsoft.com/office/powerpoint/2010/main" val="59063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en-US" sz="1600" dirty="0"/>
              <a:t>When you get this output, it is ready to run</a:t>
            </a:r>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r>
              <a:rPr lang="en-US" sz="1600" dirty="0"/>
              <a:t>To "free up" the command line, press </a:t>
            </a:r>
            <a:r>
              <a:rPr lang="en-US" sz="1600" dirty="0" err="1"/>
              <a:t>Ctrl+C</a:t>
            </a:r>
            <a:r>
              <a:rPr lang="en-US" sz="1600" dirty="0"/>
              <a:t> to stop YANG Suite</a:t>
            </a:r>
          </a:p>
          <a:p>
            <a:pPr>
              <a:lnSpc>
                <a:spcPct val="110000"/>
              </a:lnSpc>
            </a:pPr>
            <a:r>
              <a:rPr lang="en-US" sz="1600" dirty="0"/>
              <a:t>Then, to start the container in "detached" mode:</a:t>
            </a:r>
          </a:p>
          <a:p>
            <a:pPr lvl="4">
              <a:lnSpc>
                <a:spcPct val="110000"/>
              </a:lnSpc>
            </a:pPr>
            <a:endParaRPr lang="en-US" sz="1000" dirty="0"/>
          </a:p>
          <a:p>
            <a:pPr>
              <a:lnSpc>
                <a:spcPct val="110000"/>
              </a:lnSpc>
            </a:pPr>
            <a:r>
              <a:rPr lang="en-US" sz="1600" dirty="0"/>
              <a:t>Access via HTTPS: </a:t>
            </a:r>
            <a:r>
              <a:rPr lang="en-US" sz="1400" dirty="0"/>
              <a:t>https://{Your Ubuntu IP}:8443</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 in detached mode</a:t>
            </a:r>
          </a:p>
        </p:txBody>
      </p:sp>
      <p:pic>
        <p:nvPicPr>
          <p:cNvPr id="6" name="Picture 5">
            <a:extLst>
              <a:ext uri="{FF2B5EF4-FFF2-40B4-BE49-F238E27FC236}">
                <a16:creationId xmlns:a16="http://schemas.microsoft.com/office/drawing/2014/main" id="{F7A64B25-8494-F5D4-BEDD-76FD4EB21322}"/>
              </a:ext>
            </a:extLst>
          </p:cNvPr>
          <p:cNvPicPr>
            <a:picLocks noChangeAspect="1"/>
          </p:cNvPicPr>
          <p:nvPr/>
        </p:nvPicPr>
        <p:blipFill>
          <a:blip r:embed="rId3"/>
          <a:stretch>
            <a:fillRect/>
          </a:stretch>
        </p:blipFill>
        <p:spPr>
          <a:xfrm>
            <a:off x="782823" y="1426163"/>
            <a:ext cx="8278380" cy="2314898"/>
          </a:xfrm>
          <a:prstGeom prst="rect">
            <a:avLst/>
          </a:prstGeom>
        </p:spPr>
      </p:pic>
      <p:sp>
        <p:nvSpPr>
          <p:cNvPr id="2" name="Footer Placeholder 6">
            <a:extLst>
              <a:ext uri="{FF2B5EF4-FFF2-40B4-BE49-F238E27FC236}">
                <a16:creationId xmlns:a16="http://schemas.microsoft.com/office/drawing/2014/main" id="{7CCECBB3-F2C8-EAF3-AF80-4556AC197C9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E6E2C634-F92E-B8DF-A450-18C8D00FCA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
        <p:nvSpPr>
          <p:cNvPr id="4" name="TextBox 3">
            <a:extLst>
              <a:ext uri="{FF2B5EF4-FFF2-40B4-BE49-F238E27FC236}">
                <a16:creationId xmlns:a16="http://schemas.microsoft.com/office/drawing/2014/main" id="{C12B1504-3D20-B2F7-BF79-4FA9BDA8E619}"/>
              </a:ext>
            </a:extLst>
          </p:cNvPr>
          <p:cNvSpPr txBox="1"/>
          <p:nvPr/>
        </p:nvSpPr>
        <p:spPr>
          <a:xfrm>
            <a:off x="782823" y="4577208"/>
            <a:ext cx="5073525"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 cd ~/</a:t>
            </a:r>
            <a:r>
              <a:rPr lang="fr-FR" sz="1050" dirty="0" err="1">
                <a:solidFill>
                  <a:srgbClr val="EEE8D5"/>
                </a:solidFill>
                <a:latin typeface="Consolas" panose="020B0609020204030204" pitchFamily="49" charset="0"/>
              </a:rPr>
              <a:t>yangsuite</a:t>
            </a:r>
            <a:r>
              <a:rPr lang="fr-FR" sz="1050" dirty="0">
                <a:solidFill>
                  <a:srgbClr val="EEE8D5"/>
                </a:solidFill>
                <a:latin typeface="Consolas" panose="020B0609020204030204" pitchFamily="49" charset="0"/>
              </a:rPr>
              <a:t>/docker/</a:t>
            </a:r>
          </a:p>
          <a:p>
            <a:pPr lvl="1"/>
            <a:r>
              <a:rPr lang="fr-FR" sz="1050" dirty="0" err="1">
                <a:solidFill>
                  <a:srgbClr val="6D6D6D"/>
                </a:solidFill>
              </a:rPr>
              <a:t>devnet-adm@ubuntu-devnet</a:t>
            </a:r>
            <a:r>
              <a:rPr lang="fr-FR" sz="1050" dirty="0">
                <a:solidFill>
                  <a:srgbClr val="6D6D6D"/>
                </a:solidFill>
              </a:rPr>
              <a:t>:~/</a:t>
            </a:r>
            <a:r>
              <a:rPr lang="fr-FR" sz="1050" dirty="0" err="1">
                <a:solidFill>
                  <a:srgbClr val="6D6D6D"/>
                </a:solidFill>
              </a:rPr>
              <a:t>yangsuite</a:t>
            </a:r>
            <a:r>
              <a:rPr lang="fr-FR" sz="1050" dirty="0">
                <a:solidFill>
                  <a:srgbClr val="6D6D6D"/>
                </a:solidFill>
              </a:rPr>
              <a:t>/docker</a:t>
            </a:r>
            <a:r>
              <a:rPr lang="fr-FR" sz="1050" dirty="0">
                <a:solidFill>
                  <a:srgbClr val="8C8C8C"/>
                </a:solidFill>
                <a:latin typeface="Consolas" panose="020B0609020204030204" pitchFamily="49" charset="0"/>
              </a:rPr>
              <a:t>/</a:t>
            </a:r>
            <a:r>
              <a:rPr lang="fr-FR" sz="1050" dirty="0">
                <a:solidFill>
                  <a:srgbClr val="EEE8D5"/>
                </a:solidFill>
                <a:latin typeface="Consolas" panose="020B0609020204030204" pitchFamily="49" charset="0"/>
              </a:rPr>
              <a:t>$</a:t>
            </a:r>
            <a:r>
              <a:rPr lang="fr-FR" sz="1050" dirty="0"/>
              <a:t> docker compose up -d</a:t>
            </a:r>
          </a:p>
        </p:txBody>
      </p:sp>
      <p:pic>
        <p:nvPicPr>
          <p:cNvPr id="8" name="Picture 7">
            <a:extLst>
              <a:ext uri="{FF2B5EF4-FFF2-40B4-BE49-F238E27FC236}">
                <a16:creationId xmlns:a16="http://schemas.microsoft.com/office/drawing/2014/main" id="{E583C180-5010-962A-4AB9-AFE4DD617CE7}"/>
              </a:ext>
            </a:extLst>
          </p:cNvPr>
          <p:cNvPicPr>
            <a:picLocks noChangeAspect="1"/>
          </p:cNvPicPr>
          <p:nvPr/>
        </p:nvPicPr>
        <p:blipFill rotWithShape="1">
          <a:blip r:embed="rId4"/>
          <a:srcRect b="30661"/>
          <a:stretch/>
        </p:blipFill>
        <p:spPr>
          <a:xfrm>
            <a:off x="782823" y="5253815"/>
            <a:ext cx="4777741" cy="810555"/>
          </a:xfrm>
          <a:prstGeom prst="rect">
            <a:avLst/>
          </a:prstGeom>
        </p:spPr>
      </p:pic>
    </p:spTree>
    <p:extLst>
      <p:ext uri="{BB962C8B-B14F-4D97-AF65-F5344CB8AC3E}">
        <p14:creationId xmlns:p14="http://schemas.microsoft.com/office/powerpoint/2010/main" val="51613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YANG Suite EULA</a:t>
            </a:r>
          </a:p>
        </p:txBody>
      </p:sp>
      <p:pic>
        <p:nvPicPr>
          <p:cNvPr id="3" name="Picture 2" descr="A screenshot of a computer&#10;&#10;Description automatically generated">
            <a:extLst>
              <a:ext uri="{FF2B5EF4-FFF2-40B4-BE49-F238E27FC236}">
                <a16:creationId xmlns:a16="http://schemas.microsoft.com/office/drawing/2014/main" id="{8591900A-C01C-842D-608E-E78BBF47A16D}"/>
              </a:ext>
            </a:extLst>
          </p:cNvPr>
          <p:cNvPicPr>
            <a:picLocks noChangeAspect="1"/>
          </p:cNvPicPr>
          <p:nvPr/>
        </p:nvPicPr>
        <p:blipFill>
          <a:blip r:embed="rId3"/>
          <a:stretch>
            <a:fillRect/>
          </a:stretch>
        </p:blipFill>
        <p:spPr>
          <a:xfrm>
            <a:off x="540000" y="972000"/>
            <a:ext cx="5760720" cy="2136775"/>
          </a:xfrm>
          <a:prstGeom prst="rect">
            <a:avLst/>
          </a:prstGeom>
        </p:spPr>
      </p:pic>
      <p:pic>
        <p:nvPicPr>
          <p:cNvPr id="2" name="Picture 1" descr="A screenshot of a login page&#10;&#10;Description automatically generated">
            <a:extLst>
              <a:ext uri="{FF2B5EF4-FFF2-40B4-BE49-F238E27FC236}">
                <a16:creationId xmlns:a16="http://schemas.microsoft.com/office/drawing/2014/main" id="{66051F14-18A2-8F70-6F0E-9F3E51887040}"/>
              </a:ext>
            </a:extLst>
          </p:cNvPr>
          <p:cNvPicPr>
            <a:picLocks noChangeAspect="1"/>
          </p:cNvPicPr>
          <p:nvPr/>
        </p:nvPicPr>
        <p:blipFill>
          <a:blip r:embed="rId4"/>
          <a:stretch>
            <a:fillRect/>
          </a:stretch>
        </p:blipFill>
        <p:spPr>
          <a:xfrm>
            <a:off x="2968957" y="2783237"/>
            <a:ext cx="5760720" cy="2213610"/>
          </a:xfrm>
          <a:prstGeom prst="rect">
            <a:avLst/>
          </a:prstGeom>
        </p:spPr>
      </p:pic>
      <p:sp>
        <p:nvSpPr>
          <p:cNvPr id="4" name="Footer Placeholder 6">
            <a:extLst>
              <a:ext uri="{FF2B5EF4-FFF2-40B4-BE49-F238E27FC236}">
                <a16:creationId xmlns:a16="http://schemas.microsoft.com/office/drawing/2014/main" id="{982AC858-077B-83FC-1056-2C3D9285BC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9D69FA28-12F4-38E1-C193-CC0429BD386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
        <p:nvSpPr>
          <p:cNvPr id="6" name="TextBox 5">
            <a:extLst>
              <a:ext uri="{FF2B5EF4-FFF2-40B4-BE49-F238E27FC236}">
                <a16:creationId xmlns:a16="http://schemas.microsoft.com/office/drawing/2014/main" id="{DFB21DF8-CA64-640D-BF47-5EE194339520}"/>
              </a:ext>
            </a:extLst>
          </p:cNvPr>
          <p:cNvSpPr txBox="1"/>
          <p:nvPr/>
        </p:nvSpPr>
        <p:spPr>
          <a:xfrm>
            <a:off x="3746500" y="3513959"/>
            <a:ext cx="895350" cy="199576"/>
          </a:xfrm>
          <a:prstGeom prst="rect">
            <a:avLst/>
          </a:prstGeom>
          <a:solidFill>
            <a:schemeClr val="bg1"/>
          </a:solidFill>
        </p:spPr>
        <p:txBody>
          <a:bodyPr wrap="square" lIns="90000" tIns="46800" rIns="90000" bIns="46800" rtlCol="0">
            <a:noAutofit/>
          </a:bodyPr>
          <a:lstStyle/>
          <a:p>
            <a:pPr algn="l"/>
            <a:r>
              <a:rPr lang="nb-NO" sz="900" err="1"/>
              <a:t>devnet-adm</a:t>
            </a:r>
            <a:endParaRPr lang="nb-NO" sz="900"/>
          </a:p>
        </p:txBody>
      </p:sp>
      <p:sp>
        <p:nvSpPr>
          <p:cNvPr id="7" name="TextBox 6">
            <a:extLst>
              <a:ext uri="{FF2B5EF4-FFF2-40B4-BE49-F238E27FC236}">
                <a16:creationId xmlns:a16="http://schemas.microsoft.com/office/drawing/2014/main" id="{6F25A99D-8ED4-7119-D181-E4DE2A17A1BE}"/>
              </a:ext>
            </a:extLst>
          </p:cNvPr>
          <p:cNvSpPr txBox="1"/>
          <p:nvPr/>
        </p:nvSpPr>
        <p:spPr>
          <a:xfrm>
            <a:off x="3721100" y="3795547"/>
            <a:ext cx="1168400" cy="199576"/>
          </a:xfrm>
          <a:prstGeom prst="rect">
            <a:avLst/>
          </a:prstGeom>
          <a:solidFill>
            <a:schemeClr val="bg1"/>
          </a:solidFill>
        </p:spPr>
        <p:txBody>
          <a:bodyPr wrap="square" lIns="90000" tIns="46800" rIns="90000" bIns="46800" rtlCol="0">
            <a:noAutofit/>
          </a:bodyPr>
          <a:lstStyle/>
          <a:p>
            <a:pPr algn="l"/>
            <a:r>
              <a:rPr lang="nb-NO" sz="900" err="1"/>
              <a:t>ChangeMe2024</a:t>
            </a:r>
            <a:r>
              <a:rPr lang="nb-NO" sz="900"/>
              <a:t>!</a:t>
            </a:r>
          </a:p>
        </p:txBody>
      </p:sp>
    </p:spTree>
    <p:extLst>
      <p:ext uri="{BB962C8B-B14F-4D97-AF65-F5344CB8AC3E}">
        <p14:creationId xmlns:p14="http://schemas.microsoft.com/office/powerpoint/2010/main" val="248187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Create</a:t>
            </a:r>
            <a:r>
              <a:rPr lang="nb-NO" sz="1600"/>
              <a:t> </a:t>
            </a:r>
            <a:r>
              <a:rPr lang="nb-NO" sz="1600" err="1"/>
              <a:t>new</a:t>
            </a:r>
            <a:r>
              <a:rPr lang="nb-NO" sz="1600"/>
              <a:t> </a:t>
            </a:r>
            <a:r>
              <a:rPr lang="nb-NO" sz="1600" err="1"/>
              <a:t>device</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new device</a:t>
            </a:r>
          </a:p>
        </p:txBody>
      </p:sp>
      <p:pic>
        <p:nvPicPr>
          <p:cNvPr id="2" name="Picture 1" descr="A screenshot of a software&#10;&#10;Description automatically generated">
            <a:extLst>
              <a:ext uri="{FF2B5EF4-FFF2-40B4-BE49-F238E27FC236}">
                <a16:creationId xmlns:a16="http://schemas.microsoft.com/office/drawing/2014/main" id="{AF392963-2BAA-7151-1D1B-C320A68F69AE}"/>
              </a:ext>
            </a:extLst>
          </p:cNvPr>
          <p:cNvPicPr>
            <a:picLocks noChangeAspect="1"/>
          </p:cNvPicPr>
          <p:nvPr/>
        </p:nvPicPr>
        <p:blipFill>
          <a:blip r:embed="rId3"/>
          <a:stretch>
            <a:fillRect/>
          </a:stretch>
        </p:blipFill>
        <p:spPr>
          <a:xfrm>
            <a:off x="539999" y="1512000"/>
            <a:ext cx="7677709" cy="4298400"/>
          </a:xfrm>
          <a:prstGeom prst="rect">
            <a:avLst/>
          </a:prstGeom>
        </p:spPr>
      </p:pic>
      <p:sp>
        <p:nvSpPr>
          <p:cNvPr id="3" name="Footer Placeholder 6">
            <a:extLst>
              <a:ext uri="{FF2B5EF4-FFF2-40B4-BE49-F238E27FC236}">
                <a16:creationId xmlns:a16="http://schemas.microsoft.com/office/drawing/2014/main" id="{135AE391-0AC2-8879-72DE-D0FE148306C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F58B80D0-A570-42EB-0004-4602DD0F1A7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
        <p:nvSpPr>
          <p:cNvPr id="5" name="Rectangle: Rounded Corners 4">
            <a:extLst>
              <a:ext uri="{FF2B5EF4-FFF2-40B4-BE49-F238E27FC236}">
                <a16:creationId xmlns:a16="http://schemas.microsoft.com/office/drawing/2014/main" id="{AA9519E6-5413-DC1F-D112-E1E955109FC5}"/>
              </a:ext>
            </a:extLst>
          </p:cNvPr>
          <p:cNvSpPr/>
          <p:nvPr/>
        </p:nvSpPr>
        <p:spPr>
          <a:xfrm>
            <a:off x="3200400" y="1981200"/>
            <a:ext cx="3530600" cy="6985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EA7435AB-135C-8823-3B7C-480E86BC08A5}"/>
              </a:ext>
            </a:extLst>
          </p:cNvPr>
          <p:cNvSpPr/>
          <p:nvPr/>
        </p:nvSpPr>
        <p:spPr>
          <a:xfrm>
            <a:off x="381000" y="3391200"/>
            <a:ext cx="2527300" cy="450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nb-NO" dirty="0"/>
              <a:t>8</a:t>
            </a:r>
          </a:p>
        </p:txBody>
      </p:sp>
      <p:sp>
        <p:nvSpPr>
          <p:cNvPr id="7" name="Rectangle: Rounded Corners 6">
            <a:extLst>
              <a:ext uri="{FF2B5EF4-FFF2-40B4-BE49-F238E27FC236}">
                <a16:creationId xmlns:a16="http://schemas.microsoft.com/office/drawing/2014/main" id="{CABFE316-8200-363F-40D7-D2476E12DBAE}"/>
              </a:ext>
            </a:extLst>
          </p:cNvPr>
          <p:cNvSpPr/>
          <p:nvPr/>
        </p:nvSpPr>
        <p:spPr>
          <a:xfrm>
            <a:off x="450042" y="2320200"/>
            <a:ext cx="1965091" cy="369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92084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8AFC420-C096-0D19-90FC-7F102B06A962}"/>
              </a:ext>
            </a:extLst>
          </p:cNvPr>
          <p:cNvPicPr>
            <a:picLocks noChangeAspect="1"/>
          </p:cNvPicPr>
          <p:nvPr/>
        </p:nvPicPr>
        <p:blipFill>
          <a:blip r:embed="rId3"/>
          <a:stretch>
            <a:fillRect/>
          </a:stretch>
        </p:blipFill>
        <p:spPr>
          <a:xfrm>
            <a:off x="301277" y="2165350"/>
            <a:ext cx="3491929" cy="3094966"/>
          </a:xfrm>
          <a:prstGeom prst="rect">
            <a:avLst/>
          </a:prstGeom>
        </p:spPr>
      </p:pic>
      <p:sp>
        <p:nvSpPr>
          <p:cNvPr id="181" name="The distance between the headline and the start of the body copy is always constant.…"/>
          <p:cNvSpPr txBox="1">
            <a:spLocks noGrp="1"/>
          </p:cNvSpPr>
          <p:nvPr>
            <p:ph idx="1"/>
          </p:nvPr>
        </p:nvSpPr>
        <p:spPr>
          <a:xfrm>
            <a:off x="540000" y="972000"/>
            <a:ext cx="3714004" cy="1418052"/>
          </a:xfrm>
        </p:spPr>
        <p:txBody>
          <a:bodyPr>
            <a:normAutofit/>
          </a:bodyPr>
          <a:lstStyle/>
          <a:p>
            <a:pPr>
              <a:lnSpc>
                <a:spcPct val="110000"/>
              </a:lnSpc>
            </a:pPr>
            <a:r>
              <a:rPr lang="nb-NO" sz="1600" err="1"/>
              <a:t>Create</a:t>
            </a:r>
            <a:r>
              <a:rPr lang="nb-NO" sz="1600"/>
              <a:t> </a:t>
            </a:r>
            <a:r>
              <a:rPr lang="nb-NO" sz="1600" err="1"/>
              <a:t>new</a:t>
            </a:r>
            <a:r>
              <a:rPr lang="nb-NO" sz="1600"/>
              <a:t> </a:t>
            </a:r>
            <a:r>
              <a:rPr lang="nb-NO" sz="1600" err="1"/>
              <a:t>device</a:t>
            </a:r>
            <a:endParaRPr lang="nb-NO" sz="1600"/>
          </a:p>
          <a:p>
            <a:pPr>
              <a:lnSpc>
                <a:spcPct val="110000"/>
              </a:lnSpc>
            </a:pPr>
            <a:r>
              <a:rPr lang="nb-NO" sz="1600" err="1"/>
              <a:t>Use</a:t>
            </a:r>
            <a:r>
              <a:rPr lang="nb-NO" sz="1600"/>
              <a:t> </a:t>
            </a:r>
            <a:r>
              <a:rPr lang="nb-NO" sz="1600" err="1"/>
              <a:t>your</a:t>
            </a:r>
            <a:r>
              <a:rPr lang="nb-NO" sz="1600"/>
              <a:t> </a:t>
            </a:r>
            <a:r>
              <a:rPr lang="nb-NO" sz="1600" err="1"/>
              <a:t>WLC</a:t>
            </a:r>
            <a:r>
              <a:rPr lang="nb-NO" sz="1600"/>
              <a:t> I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new device</a:t>
            </a:r>
          </a:p>
        </p:txBody>
      </p:sp>
      <p:sp>
        <p:nvSpPr>
          <p:cNvPr id="2" name="Footer Placeholder 6">
            <a:extLst>
              <a:ext uri="{FF2B5EF4-FFF2-40B4-BE49-F238E27FC236}">
                <a16:creationId xmlns:a16="http://schemas.microsoft.com/office/drawing/2014/main" id="{AE75409C-3DD4-ADA2-A349-837645746B4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FC6163A4-D287-BE29-35BF-ECAFB86F98F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pic>
        <p:nvPicPr>
          <p:cNvPr id="20" name="Picture 19">
            <a:extLst>
              <a:ext uri="{FF2B5EF4-FFF2-40B4-BE49-F238E27FC236}">
                <a16:creationId xmlns:a16="http://schemas.microsoft.com/office/drawing/2014/main" id="{6D325BC0-6DA9-FEA9-11BB-F929E94CD56A}"/>
              </a:ext>
            </a:extLst>
          </p:cNvPr>
          <p:cNvPicPr>
            <a:picLocks noChangeAspect="1"/>
          </p:cNvPicPr>
          <p:nvPr/>
        </p:nvPicPr>
        <p:blipFill>
          <a:blip r:embed="rId4"/>
          <a:stretch>
            <a:fillRect/>
          </a:stretch>
        </p:blipFill>
        <p:spPr>
          <a:xfrm>
            <a:off x="4147357" y="336766"/>
            <a:ext cx="2804221" cy="447482"/>
          </a:xfrm>
          <a:prstGeom prst="rect">
            <a:avLst/>
          </a:prstGeom>
        </p:spPr>
      </p:pic>
      <p:pic>
        <p:nvPicPr>
          <p:cNvPr id="22" name="Picture 21">
            <a:extLst>
              <a:ext uri="{FF2B5EF4-FFF2-40B4-BE49-F238E27FC236}">
                <a16:creationId xmlns:a16="http://schemas.microsoft.com/office/drawing/2014/main" id="{6B98B65E-96AB-225E-1329-8971A3024381}"/>
              </a:ext>
            </a:extLst>
          </p:cNvPr>
          <p:cNvPicPr>
            <a:picLocks noChangeAspect="1"/>
          </p:cNvPicPr>
          <p:nvPr/>
        </p:nvPicPr>
        <p:blipFill>
          <a:blip r:embed="rId5"/>
          <a:stretch>
            <a:fillRect/>
          </a:stretch>
        </p:blipFill>
        <p:spPr>
          <a:xfrm>
            <a:off x="4087460" y="1004629"/>
            <a:ext cx="3763053" cy="2541886"/>
          </a:xfrm>
          <a:prstGeom prst="rect">
            <a:avLst/>
          </a:prstGeom>
        </p:spPr>
      </p:pic>
      <p:pic>
        <p:nvPicPr>
          <p:cNvPr id="24" name="Picture 23">
            <a:extLst>
              <a:ext uri="{FF2B5EF4-FFF2-40B4-BE49-F238E27FC236}">
                <a16:creationId xmlns:a16="http://schemas.microsoft.com/office/drawing/2014/main" id="{3FD50D43-1656-71A8-4E94-207DDED3E740}"/>
              </a:ext>
            </a:extLst>
          </p:cNvPr>
          <p:cNvPicPr>
            <a:picLocks noChangeAspect="1"/>
          </p:cNvPicPr>
          <p:nvPr/>
        </p:nvPicPr>
        <p:blipFill>
          <a:blip r:embed="rId6"/>
          <a:stretch>
            <a:fillRect/>
          </a:stretch>
        </p:blipFill>
        <p:spPr>
          <a:xfrm>
            <a:off x="4087460" y="3637161"/>
            <a:ext cx="3763053" cy="2373516"/>
          </a:xfrm>
          <a:prstGeom prst="rect">
            <a:avLst/>
          </a:prstGeom>
        </p:spPr>
      </p:pic>
      <p:pic>
        <p:nvPicPr>
          <p:cNvPr id="26" name="Picture 25">
            <a:extLst>
              <a:ext uri="{FF2B5EF4-FFF2-40B4-BE49-F238E27FC236}">
                <a16:creationId xmlns:a16="http://schemas.microsoft.com/office/drawing/2014/main" id="{D30630B9-FCDD-3D1E-E26D-31756F8D0CA1}"/>
              </a:ext>
            </a:extLst>
          </p:cNvPr>
          <p:cNvPicPr>
            <a:picLocks noChangeAspect="1"/>
          </p:cNvPicPr>
          <p:nvPr/>
        </p:nvPicPr>
        <p:blipFill>
          <a:blip r:embed="rId7"/>
          <a:stretch>
            <a:fillRect/>
          </a:stretch>
        </p:blipFill>
        <p:spPr>
          <a:xfrm>
            <a:off x="8275841" y="336766"/>
            <a:ext cx="3820523" cy="3413090"/>
          </a:xfrm>
          <a:prstGeom prst="rect">
            <a:avLst/>
          </a:prstGeom>
        </p:spPr>
      </p:pic>
      <p:pic>
        <p:nvPicPr>
          <p:cNvPr id="28" name="Picture 27">
            <a:extLst>
              <a:ext uri="{FF2B5EF4-FFF2-40B4-BE49-F238E27FC236}">
                <a16:creationId xmlns:a16="http://schemas.microsoft.com/office/drawing/2014/main" id="{5A121766-582A-F70C-01D8-38A3F671AF91}"/>
              </a:ext>
            </a:extLst>
          </p:cNvPr>
          <p:cNvPicPr>
            <a:picLocks noChangeAspect="1"/>
          </p:cNvPicPr>
          <p:nvPr/>
        </p:nvPicPr>
        <p:blipFill>
          <a:blip r:embed="rId8"/>
          <a:stretch>
            <a:fillRect/>
          </a:stretch>
        </p:blipFill>
        <p:spPr>
          <a:xfrm>
            <a:off x="9547596" y="4682985"/>
            <a:ext cx="2459399" cy="858108"/>
          </a:xfrm>
          <a:prstGeom prst="rect">
            <a:avLst/>
          </a:prstGeom>
        </p:spPr>
      </p:pic>
      <p:cxnSp>
        <p:nvCxnSpPr>
          <p:cNvPr id="29" name="Straight Arrow Connector 28">
            <a:extLst>
              <a:ext uri="{FF2B5EF4-FFF2-40B4-BE49-F238E27FC236}">
                <a16:creationId xmlns:a16="http://schemas.microsoft.com/office/drawing/2014/main" id="{E31D091D-C275-A9D3-EC63-14E79518C0D2}"/>
              </a:ext>
            </a:extLst>
          </p:cNvPr>
          <p:cNvCxnSpPr>
            <a:cxnSpLocks/>
          </p:cNvCxnSpPr>
          <p:nvPr/>
        </p:nvCxnSpPr>
        <p:spPr>
          <a:xfrm flipH="1">
            <a:off x="10304342" y="3682825"/>
            <a:ext cx="592784" cy="100016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568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6176110" cy="4838400"/>
          </a:xfrm>
        </p:spPr>
        <p:txBody>
          <a:bodyPr>
            <a:normAutofit/>
          </a:bodyPr>
          <a:lstStyle/>
          <a:p>
            <a:pPr>
              <a:lnSpc>
                <a:spcPct val="110000"/>
              </a:lnSpc>
            </a:pPr>
            <a:r>
              <a:rPr lang="nb-NO" sz="1600" err="1"/>
              <a:t>Create</a:t>
            </a:r>
            <a:r>
              <a:rPr lang="nb-NO" sz="1600"/>
              <a:t> </a:t>
            </a:r>
            <a:r>
              <a:rPr lang="nb-NO" sz="1600" err="1"/>
              <a:t>default</a:t>
            </a:r>
            <a:r>
              <a:rPr lang="nb-NO" sz="1600"/>
              <a:t> </a:t>
            </a:r>
            <a:r>
              <a:rPr lang="nb-NO" sz="1600" err="1"/>
              <a:t>repository</a:t>
            </a:r>
            <a:r>
              <a:rPr lang="nb-NO" sz="1600"/>
              <a:t> and </a:t>
            </a:r>
            <a:r>
              <a:rPr lang="nb-NO" sz="1600" err="1"/>
              <a:t>Yangset</a:t>
            </a: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a:t>(</a:t>
            </a:r>
            <a:r>
              <a:rPr lang="nb-NO" sz="1600" err="1"/>
              <a:t>this</a:t>
            </a:r>
            <a:r>
              <a:rPr lang="nb-NO" sz="1600"/>
              <a:t> </a:t>
            </a:r>
            <a:r>
              <a:rPr lang="nb-NO" sz="1600" err="1"/>
              <a:t>will</a:t>
            </a:r>
            <a:r>
              <a:rPr lang="nb-NO" sz="1600"/>
              <a:t> </a:t>
            </a:r>
            <a:r>
              <a:rPr lang="nb-NO" sz="1600" err="1"/>
              <a:t>take</a:t>
            </a:r>
            <a:r>
              <a:rPr lang="nb-NO" sz="1600"/>
              <a:t> a </a:t>
            </a:r>
            <a:r>
              <a:rPr lang="nb-NO" sz="1600" err="1"/>
              <a:t>couple</a:t>
            </a:r>
            <a:r>
              <a:rPr lang="nb-NO" sz="1600"/>
              <a:t> </a:t>
            </a:r>
            <a:r>
              <a:rPr lang="nb-NO" sz="1600" err="1"/>
              <a:t>of</a:t>
            </a:r>
            <a:r>
              <a:rPr lang="nb-NO" sz="1600"/>
              <a:t> </a:t>
            </a:r>
            <a:r>
              <a:rPr lang="nb-NO" sz="1600" err="1"/>
              <a:t>minutes</a:t>
            </a:r>
            <a:r>
              <a:rPr lang="nb-NO" sz="1600"/>
              <a:t>, so just be </a:t>
            </a:r>
            <a:r>
              <a:rPr lang="nb-NO" sz="1600" err="1"/>
              <a:t>patient</a:t>
            </a:r>
            <a:r>
              <a:rPr lang="nb-NO" sz="1600"/>
              <a:t>, </a:t>
            </a:r>
            <a:r>
              <a:rPr lang="nb-NO" sz="1600" err="1"/>
              <a:t>while</a:t>
            </a:r>
            <a:r>
              <a:rPr lang="nb-NO" sz="1600"/>
              <a:t> </a:t>
            </a:r>
            <a:r>
              <a:rPr lang="nb-NO" sz="1600" err="1"/>
              <a:t>waiting</a:t>
            </a:r>
            <a:r>
              <a:rPr lang="nb-NO" sz="1600"/>
              <a:t> </a:t>
            </a:r>
            <a:r>
              <a:rPr lang="nb-NO" sz="1600" err="1"/>
              <a:t>you</a:t>
            </a:r>
            <a:r>
              <a:rPr lang="nb-NO" sz="1600"/>
              <a:t> </a:t>
            </a:r>
            <a:r>
              <a:rPr lang="nb-NO" sz="1600" err="1"/>
              <a:t>can</a:t>
            </a:r>
            <a:r>
              <a:rPr lang="nb-NO" sz="1600"/>
              <a:t> </a:t>
            </a:r>
            <a:r>
              <a:rPr lang="nb-NO" sz="1600" err="1"/>
              <a:t>sneak-peek</a:t>
            </a:r>
            <a:r>
              <a:rPr lang="nb-NO" sz="1600"/>
              <a:t> </a:t>
            </a:r>
            <a:r>
              <a:rPr lang="nb-NO" sz="1600" err="1"/>
              <a:t>on</a:t>
            </a:r>
            <a:r>
              <a:rPr lang="nb-NO" sz="1600"/>
              <a:t> </a:t>
            </a:r>
            <a:r>
              <a:rPr lang="nb-NO" sz="1600" err="1"/>
              <a:t>the</a:t>
            </a:r>
            <a:r>
              <a:rPr lang="nb-NO" sz="1600"/>
              <a:t> </a:t>
            </a:r>
            <a:r>
              <a:rPr lang="nb-NO" sz="1600" err="1"/>
              <a:t>next</a:t>
            </a:r>
            <a:r>
              <a:rPr lang="nb-NO" sz="1600"/>
              <a:t> slide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repository and </a:t>
            </a:r>
            <a:r>
              <a:rPr lang="en-GB" err="1"/>
              <a:t>Yangset</a:t>
            </a:r>
            <a:endParaRPr lang="en-GB"/>
          </a:p>
        </p:txBody>
      </p:sp>
      <p:pic>
        <p:nvPicPr>
          <p:cNvPr id="2" name="Picture 1" descr="A screenshot of a computer&#10;&#10;Description automatically generated">
            <a:extLst>
              <a:ext uri="{FF2B5EF4-FFF2-40B4-BE49-F238E27FC236}">
                <a16:creationId xmlns:a16="http://schemas.microsoft.com/office/drawing/2014/main" id="{611EED0C-E5EC-E8CE-9054-037D7154499A}"/>
              </a:ext>
            </a:extLst>
          </p:cNvPr>
          <p:cNvPicPr>
            <a:picLocks noChangeAspect="1"/>
          </p:cNvPicPr>
          <p:nvPr/>
        </p:nvPicPr>
        <p:blipFill rotWithShape="1">
          <a:blip r:embed="rId3"/>
          <a:srcRect b="16967"/>
          <a:stretch/>
        </p:blipFill>
        <p:spPr>
          <a:xfrm>
            <a:off x="540000" y="1409400"/>
            <a:ext cx="5760720" cy="2399549"/>
          </a:xfrm>
          <a:prstGeom prst="rect">
            <a:avLst/>
          </a:prstGeom>
        </p:spPr>
      </p:pic>
      <p:pic>
        <p:nvPicPr>
          <p:cNvPr id="6" name="Picture 5" descr="A blue and white box with black text&#10;&#10;Description automatically generated">
            <a:extLst>
              <a:ext uri="{FF2B5EF4-FFF2-40B4-BE49-F238E27FC236}">
                <a16:creationId xmlns:a16="http://schemas.microsoft.com/office/drawing/2014/main" id="{7B428BF2-67D8-C9D7-A08F-88F8D960A4CB}"/>
              </a:ext>
            </a:extLst>
          </p:cNvPr>
          <p:cNvPicPr>
            <a:picLocks noChangeAspect="1"/>
          </p:cNvPicPr>
          <p:nvPr/>
        </p:nvPicPr>
        <p:blipFill rotWithShape="1">
          <a:blip r:embed="rId4"/>
          <a:srcRect l="2977" t="6640" r="6383" b="8354"/>
          <a:stretch/>
        </p:blipFill>
        <p:spPr>
          <a:xfrm>
            <a:off x="727199" y="4555257"/>
            <a:ext cx="2900856" cy="1311692"/>
          </a:xfrm>
          <a:prstGeom prst="rect">
            <a:avLst/>
          </a:prstGeom>
        </p:spPr>
      </p:pic>
      <p:sp>
        <p:nvSpPr>
          <p:cNvPr id="3" name="Footer Placeholder 6">
            <a:extLst>
              <a:ext uri="{FF2B5EF4-FFF2-40B4-BE49-F238E27FC236}">
                <a16:creationId xmlns:a16="http://schemas.microsoft.com/office/drawing/2014/main" id="{D30D5FEC-AFFE-2542-B83F-F3783C0A52A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782EE758-968B-A34F-9A95-9495D1837EC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
        <p:nvSpPr>
          <p:cNvPr id="5" name="Rectangle: Rounded Corners 4">
            <a:extLst>
              <a:ext uri="{FF2B5EF4-FFF2-40B4-BE49-F238E27FC236}">
                <a16:creationId xmlns:a16="http://schemas.microsoft.com/office/drawing/2014/main" id="{D3387783-D64E-1205-7EB0-0EEC7313F540}"/>
              </a:ext>
            </a:extLst>
          </p:cNvPr>
          <p:cNvSpPr/>
          <p:nvPr/>
        </p:nvSpPr>
        <p:spPr>
          <a:xfrm>
            <a:off x="540000" y="3467400"/>
            <a:ext cx="2381000" cy="39199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01295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Here is </a:t>
            </a:r>
            <a:r>
              <a:rPr lang="nb-NO" sz="1600" err="1"/>
              <a:t>how</a:t>
            </a:r>
            <a:r>
              <a:rPr lang="nb-NO" sz="1600"/>
              <a:t> </a:t>
            </a:r>
            <a:r>
              <a:rPr lang="nb-NO" sz="1600" err="1"/>
              <a:t>the</a:t>
            </a:r>
            <a:r>
              <a:rPr lang="nb-NO" sz="1600"/>
              <a:t> </a:t>
            </a:r>
            <a:r>
              <a:rPr lang="nb-NO" sz="1600" err="1"/>
              <a:t>window</a:t>
            </a:r>
            <a:r>
              <a:rPr lang="nb-NO" sz="1600"/>
              <a:t> </a:t>
            </a:r>
            <a:r>
              <a:rPr lang="nb-NO" sz="1600" err="1"/>
              <a:t>looks</a:t>
            </a:r>
            <a:endParaRPr lang="nb-NO" sz="1600"/>
          </a:p>
          <a:p>
            <a:pPr>
              <a:lnSpc>
                <a:spcPct val="110000"/>
              </a:lnSpc>
            </a:pPr>
            <a:r>
              <a:rPr lang="nb-NO" sz="1600"/>
              <a:t>The </a:t>
            </a:r>
            <a:r>
              <a:rPr lang="nb-NO" sz="1600" err="1"/>
              <a:t>next</a:t>
            </a:r>
            <a:r>
              <a:rPr lang="nb-NO" sz="1600"/>
              <a:t> slides </a:t>
            </a:r>
            <a:r>
              <a:rPr lang="nb-NO" sz="1600" err="1"/>
              <a:t>will</a:t>
            </a:r>
            <a:r>
              <a:rPr lang="nb-NO" sz="1600"/>
              <a:t> show </a:t>
            </a:r>
            <a:r>
              <a:rPr lang="nb-NO" sz="1600" err="1"/>
              <a:t>some</a:t>
            </a:r>
            <a:r>
              <a:rPr lang="nb-NO" sz="1600"/>
              <a:t> </a:t>
            </a:r>
            <a:r>
              <a:rPr lang="nb-NO" sz="1600" err="1"/>
              <a:t>models</a:t>
            </a:r>
            <a:r>
              <a:rPr lang="nb-NO" sz="1600"/>
              <a:t> to </a:t>
            </a:r>
            <a:r>
              <a:rPr lang="nb-NO" sz="1600" err="1"/>
              <a:t>explore</a:t>
            </a:r>
            <a:r>
              <a:rPr lang="nb-NO" sz="1600"/>
              <a:t> in </a:t>
            </a:r>
            <a:r>
              <a:rPr lang="nb-NO" sz="1600" err="1"/>
              <a:t>detail</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Explore YANG models</a:t>
            </a:r>
          </a:p>
        </p:txBody>
      </p:sp>
      <p:pic>
        <p:nvPicPr>
          <p:cNvPr id="3" name="Picture 2" descr="A screenshot of a computer&#10;&#10;Description automatically generated">
            <a:extLst>
              <a:ext uri="{FF2B5EF4-FFF2-40B4-BE49-F238E27FC236}">
                <a16:creationId xmlns:a16="http://schemas.microsoft.com/office/drawing/2014/main" id="{59AC5083-7CE3-8A70-4A62-A13DE4A0B552}"/>
              </a:ext>
            </a:extLst>
          </p:cNvPr>
          <p:cNvPicPr>
            <a:picLocks noChangeAspect="1"/>
          </p:cNvPicPr>
          <p:nvPr/>
        </p:nvPicPr>
        <p:blipFill>
          <a:blip r:embed="rId3"/>
          <a:stretch>
            <a:fillRect/>
          </a:stretch>
        </p:blipFill>
        <p:spPr>
          <a:xfrm>
            <a:off x="540000" y="1871015"/>
            <a:ext cx="10798504" cy="4160138"/>
          </a:xfrm>
          <a:prstGeom prst="rect">
            <a:avLst/>
          </a:prstGeom>
        </p:spPr>
      </p:pic>
      <p:sp>
        <p:nvSpPr>
          <p:cNvPr id="4" name="Content Placeholder 4">
            <a:extLst>
              <a:ext uri="{FF2B5EF4-FFF2-40B4-BE49-F238E27FC236}">
                <a16:creationId xmlns:a16="http://schemas.microsoft.com/office/drawing/2014/main" id="{37EF3563-5B7A-5CA5-59AD-483E13C51ACD}"/>
              </a:ext>
            </a:extLst>
          </p:cNvPr>
          <p:cNvSpPr txBox="1">
            <a:spLocks/>
          </p:cNvSpPr>
          <p:nvPr/>
        </p:nvSpPr>
        <p:spPr bwMode="gray">
          <a:xfrm>
            <a:off x="6775310" y="160200"/>
            <a:ext cx="5218983" cy="1170815"/>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nb-NO"/>
              <a:t>«</a:t>
            </a:r>
            <a:r>
              <a:rPr lang="nb-NO" err="1"/>
              <a:t>oper</a:t>
            </a:r>
            <a:r>
              <a:rPr lang="nb-NO"/>
              <a:t>» -&gt; </a:t>
            </a:r>
            <a:r>
              <a:rPr lang="nb-NO" err="1"/>
              <a:t>Operational</a:t>
            </a:r>
            <a:r>
              <a:rPr lang="nb-NO"/>
              <a:t> data</a:t>
            </a:r>
          </a:p>
          <a:p>
            <a:r>
              <a:rPr lang="nb-NO"/>
              <a:t>«</a:t>
            </a:r>
            <a:r>
              <a:rPr lang="nb-NO" err="1"/>
              <a:t>cfg</a:t>
            </a:r>
            <a:r>
              <a:rPr lang="nb-NO"/>
              <a:t>» -&gt; </a:t>
            </a:r>
            <a:r>
              <a:rPr lang="nb-NO" err="1"/>
              <a:t>Configuration</a:t>
            </a:r>
            <a:r>
              <a:rPr lang="nb-NO"/>
              <a:t> and </a:t>
            </a:r>
            <a:r>
              <a:rPr lang="nb-NO" err="1"/>
              <a:t>config</a:t>
            </a:r>
            <a:r>
              <a:rPr lang="nb-NO"/>
              <a:t> data</a:t>
            </a:r>
          </a:p>
        </p:txBody>
      </p:sp>
      <p:sp>
        <p:nvSpPr>
          <p:cNvPr id="2" name="Footer Placeholder 6">
            <a:extLst>
              <a:ext uri="{FF2B5EF4-FFF2-40B4-BE49-F238E27FC236}">
                <a16:creationId xmlns:a16="http://schemas.microsoft.com/office/drawing/2014/main" id="{817F8C65-9EDB-6E79-B7B3-D68730854EA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5" name="Footer Placeholder 6">
            <a:extLst>
              <a:ext uri="{FF2B5EF4-FFF2-40B4-BE49-F238E27FC236}">
                <a16:creationId xmlns:a16="http://schemas.microsoft.com/office/drawing/2014/main" id="{C751BA6C-2C9E-F12C-680F-73722C63B52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
        <p:nvSpPr>
          <p:cNvPr id="8" name="Rectangle: Rounded Corners 7">
            <a:extLst>
              <a:ext uri="{FF2B5EF4-FFF2-40B4-BE49-F238E27FC236}">
                <a16:creationId xmlns:a16="http://schemas.microsoft.com/office/drawing/2014/main" id="{B1571D91-7472-9CDB-BEFE-AA90D6A6AC9B}"/>
              </a:ext>
            </a:extLst>
          </p:cNvPr>
          <p:cNvSpPr/>
          <p:nvPr/>
        </p:nvSpPr>
        <p:spPr>
          <a:xfrm>
            <a:off x="487326" y="3880298"/>
            <a:ext cx="2527300" cy="4500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dirty="0"/>
          </a:p>
        </p:txBody>
      </p:sp>
    </p:spTree>
    <p:extLst>
      <p:ext uri="{BB962C8B-B14F-4D97-AF65-F5344CB8AC3E}">
        <p14:creationId xmlns:p14="http://schemas.microsoft.com/office/powerpoint/2010/main" val="95813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Explore</a:t>
            </a:r>
            <a:r>
              <a:rPr lang="nb-NO" sz="1600"/>
              <a:t> </a:t>
            </a:r>
            <a:r>
              <a:rPr lang="nb-NO" sz="1600" err="1"/>
              <a:t>YANG</a:t>
            </a:r>
            <a:r>
              <a:rPr lang="nb-NO" sz="1600"/>
              <a:t> Model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YANG Suite</a:t>
            </a:r>
          </a:p>
        </p:txBody>
      </p:sp>
      <p:pic>
        <p:nvPicPr>
          <p:cNvPr id="4" name="Picture 3">
            <a:extLst>
              <a:ext uri="{FF2B5EF4-FFF2-40B4-BE49-F238E27FC236}">
                <a16:creationId xmlns:a16="http://schemas.microsoft.com/office/drawing/2014/main" id="{C35B4404-0AD8-AF1A-492C-A76F03AE4751}"/>
              </a:ext>
            </a:extLst>
          </p:cNvPr>
          <p:cNvPicPr>
            <a:picLocks noChangeAspect="1"/>
          </p:cNvPicPr>
          <p:nvPr/>
        </p:nvPicPr>
        <p:blipFill>
          <a:blip r:embed="rId3"/>
          <a:stretch>
            <a:fillRect/>
          </a:stretch>
        </p:blipFill>
        <p:spPr>
          <a:xfrm>
            <a:off x="0" y="1513973"/>
            <a:ext cx="12190413" cy="4561574"/>
          </a:xfrm>
          <a:prstGeom prst="rect">
            <a:avLst/>
          </a:prstGeom>
        </p:spPr>
      </p:pic>
      <p:sp>
        <p:nvSpPr>
          <p:cNvPr id="5" name="Rectangle: Rounded Corners 4">
            <a:extLst>
              <a:ext uri="{FF2B5EF4-FFF2-40B4-BE49-F238E27FC236}">
                <a16:creationId xmlns:a16="http://schemas.microsoft.com/office/drawing/2014/main" id="{80BB142F-761A-40D0-0D27-F26307362146}"/>
              </a:ext>
            </a:extLst>
          </p:cNvPr>
          <p:cNvSpPr/>
          <p:nvPr/>
        </p:nvSpPr>
        <p:spPr>
          <a:xfrm>
            <a:off x="5020056" y="1929384"/>
            <a:ext cx="2194560" cy="39319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05E7053C-6BAF-F9EE-7170-E69210F78AE8}"/>
              </a:ext>
            </a:extLst>
          </p:cNvPr>
          <p:cNvSpPr/>
          <p:nvPr/>
        </p:nvSpPr>
        <p:spPr>
          <a:xfrm>
            <a:off x="74244" y="2677007"/>
            <a:ext cx="2461921" cy="8339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5AB58B95-82D4-C070-A2BD-CB9EA095C86B}"/>
              </a:ext>
            </a:extLst>
          </p:cNvPr>
          <p:cNvSpPr/>
          <p:nvPr/>
        </p:nvSpPr>
        <p:spPr>
          <a:xfrm>
            <a:off x="7021903" y="3794759"/>
            <a:ext cx="3985404" cy="81174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Footer Placeholder 6">
            <a:extLst>
              <a:ext uri="{FF2B5EF4-FFF2-40B4-BE49-F238E27FC236}">
                <a16:creationId xmlns:a16="http://schemas.microsoft.com/office/drawing/2014/main" id="{ADA53732-5FDD-BE78-A650-670F214539D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41465CF4-20DA-163A-99C6-1D2297ACF95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Tree>
    <p:extLst>
      <p:ext uri="{BB962C8B-B14F-4D97-AF65-F5344CB8AC3E}">
        <p14:creationId xmlns:p14="http://schemas.microsoft.com/office/powerpoint/2010/main" val="3123567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795764-DE82-A513-1375-0EFA804B41FD}"/>
            </a:ext>
          </a:extLst>
        </p:cNvPr>
        <p:cNvGrpSpPr/>
        <p:nvPr/>
      </p:nvGrpSpPr>
      <p:grpSpPr>
        <a:xfrm>
          <a:off x="0" y="0"/>
          <a:ext cx="0" cy="0"/>
          <a:chOff x="0" y="0"/>
          <a:chExt cx="0" cy="0"/>
        </a:xfrm>
      </p:grpSpPr>
      <p:sp>
        <p:nvSpPr>
          <p:cNvPr id="7" name="The distance between the headline and the start of the body copy is always constant.…">
            <a:extLst>
              <a:ext uri="{FF2B5EF4-FFF2-40B4-BE49-F238E27FC236}">
                <a16:creationId xmlns:a16="http://schemas.microsoft.com/office/drawing/2014/main" id="{A6D2F896-55A4-CD41-BF58-9C3ADF744611}"/>
              </a:ext>
            </a:extLst>
          </p:cNvPr>
          <p:cNvSpPr txBox="1">
            <a:spLocks noGrp="1"/>
          </p:cNvSpPr>
          <p:nvPr>
            <p:ph idx="1"/>
          </p:nvPr>
        </p:nvSpPr>
        <p:spPr>
          <a:xfrm>
            <a:off x="540000" y="972000"/>
            <a:ext cx="9620000" cy="5016050"/>
          </a:xfrm>
        </p:spPr>
        <p:txBody>
          <a:bodyPr>
            <a:normAutofit/>
          </a:bodyPr>
          <a:lstStyle/>
          <a:p>
            <a:pPr>
              <a:lnSpc>
                <a:spcPct val="110000"/>
              </a:lnSpc>
            </a:pPr>
            <a:r>
              <a:rPr lang="en-US" sz="1600"/>
              <a:t>Another programmatic interface (like NETCONF and </a:t>
            </a:r>
            <a:r>
              <a:rPr lang="en-US" sz="1600" err="1"/>
              <a:t>RESTCONF</a:t>
            </a:r>
            <a:r>
              <a:rPr lang="en-US" sz="1600"/>
              <a:t>)</a:t>
            </a:r>
          </a:p>
          <a:p>
            <a:pPr>
              <a:lnSpc>
                <a:spcPct val="110000"/>
              </a:lnSpc>
            </a:pPr>
            <a:r>
              <a:rPr lang="en-US" sz="1600" err="1"/>
              <a:t>gNMI</a:t>
            </a:r>
            <a:r>
              <a:rPr lang="en-US" sz="1600"/>
              <a:t> is not covered in this lab, but instructions to enable is found in the link below</a:t>
            </a:r>
          </a:p>
          <a:p>
            <a:pPr>
              <a:lnSpc>
                <a:spcPct val="110000"/>
              </a:lnSpc>
            </a:pPr>
            <a:r>
              <a:rPr lang="en-US" sz="1600"/>
              <a:t>9800 programmability &amp; telemetry (see the </a:t>
            </a:r>
            <a:r>
              <a:rPr lang="en-US" sz="1600" err="1"/>
              <a:t>gNMI</a:t>
            </a:r>
            <a:r>
              <a:rPr lang="en-US" sz="1600"/>
              <a:t> section)</a:t>
            </a:r>
          </a:p>
          <a:p>
            <a:pPr lvl="1">
              <a:lnSpc>
                <a:spcPct val="110000"/>
              </a:lnSpc>
            </a:pPr>
            <a:r>
              <a:rPr lang="en-US" sz="1400">
                <a:hlinkClick r:id="rId3"/>
              </a:rPr>
              <a:t>https://</a:t>
            </a:r>
            <a:r>
              <a:rPr lang="en-US" sz="1400" err="1">
                <a:hlinkClick r:id="rId3"/>
              </a:rPr>
              <a:t>www.cisco.com</a:t>
            </a:r>
            <a:r>
              <a:rPr lang="en-US" sz="1400">
                <a:hlinkClick r:id="rId3"/>
              </a:rPr>
              <a:t>/c/</a:t>
            </a:r>
            <a:r>
              <a:rPr lang="en-US" sz="1400" err="1">
                <a:hlinkClick r:id="rId3"/>
              </a:rPr>
              <a:t>en</a:t>
            </a:r>
            <a:r>
              <a:rPr lang="en-US" sz="1400">
                <a:hlinkClick r:id="rId3"/>
              </a:rPr>
              <a:t>/us/td/docs/wireless/controller/9800/technical-reference/catalyst-9800-programmability-telemetry-deployment-</a:t>
            </a:r>
            <a:r>
              <a:rPr lang="en-US" sz="1400" err="1">
                <a:hlinkClick r:id="rId3"/>
              </a:rPr>
              <a:t>guide.html</a:t>
            </a:r>
            <a:endParaRPr lang="en-US" sz="1400"/>
          </a:p>
        </p:txBody>
      </p:sp>
      <p:sp>
        <p:nvSpPr>
          <p:cNvPr id="124" name="Slide Number Placeholder 3">
            <a:extLst>
              <a:ext uri="{FF2B5EF4-FFF2-40B4-BE49-F238E27FC236}">
                <a16:creationId xmlns:a16="http://schemas.microsoft.com/office/drawing/2014/main" id="{94934FB6-4B7A-37B0-AE88-3BCE4B4F3F5E}"/>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180" name="Text+Image 50:50">
            <a:extLst>
              <a:ext uri="{FF2B5EF4-FFF2-40B4-BE49-F238E27FC236}">
                <a16:creationId xmlns:a16="http://schemas.microsoft.com/office/drawing/2014/main" id="{2F18F86A-BD31-AF17-88B8-2BD58E719633}"/>
              </a:ext>
            </a:extLst>
          </p:cNvPr>
          <p:cNvSpPr txBox="1">
            <a:spLocks noGrp="1"/>
          </p:cNvSpPr>
          <p:nvPr>
            <p:ph type="title"/>
          </p:nvPr>
        </p:nvSpPr>
        <p:spPr>
          <a:xfrm>
            <a:off x="540000" y="432000"/>
            <a:ext cx="11109600" cy="540000"/>
          </a:xfrm>
        </p:spPr>
        <p:txBody>
          <a:bodyPr anchor="ctr">
            <a:normAutofit/>
          </a:bodyPr>
          <a:lstStyle/>
          <a:p>
            <a:r>
              <a:rPr lang="en-GB"/>
              <a:t>A word about </a:t>
            </a:r>
            <a:r>
              <a:rPr lang="en-GB" err="1"/>
              <a:t>gNMI</a:t>
            </a:r>
            <a:r>
              <a:rPr lang="en-GB"/>
              <a:t> (optional)</a:t>
            </a:r>
          </a:p>
        </p:txBody>
      </p:sp>
      <p:sp>
        <p:nvSpPr>
          <p:cNvPr id="5" name="Footer Placeholder 6">
            <a:extLst>
              <a:ext uri="{FF2B5EF4-FFF2-40B4-BE49-F238E27FC236}">
                <a16:creationId xmlns:a16="http://schemas.microsoft.com/office/drawing/2014/main" id="{669F1CE0-07E7-BAD6-EDD5-383BB50DD5E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FD64D427-7605-26F7-2631-74925BA54A3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6: Install YANG Suite</a:t>
            </a:r>
            <a:endParaRPr lang="en-US" sz="1100" dirty="0"/>
          </a:p>
        </p:txBody>
      </p:sp>
    </p:spTree>
    <p:extLst>
      <p:ext uri="{BB962C8B-B14F-4D97-AF65-F5344CB8AC3E}">
        <p14:creationId xmlns:p14="http://schemas.microsoft.com/office/powerpoint/2010/main" val="1016572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4A21D-CFEC-783F-F518-1B52C45237BD}"/>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278F8299-9BE8-1AD8-903C-8EA9CF34A7D1}"/>
              </a:ext>
            </a:extLst>
          </p:cNvPr>
          <p:cNvSpPr>
            <a:spLocks noGrp="1"/>
          </p:cNvSpPr>
          <p:nvPr>
            <p:ph type="sldNum" sz="quarter" idx="12"/>
          </p:nvPr>
        </p:nvSpPr>
        <p:spPr>
          <a:xfrm>
            <a:off x="540000" y="6247800"/>
            <a:ext cx="900000" cy="4500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2CEFE82-39F2-4F47-8A0C-D5AB3496FA5C}" type="slidenum">
              <a:rPr kumimoji="0" lang="en-GB" sz="105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52</a:t>
            </a:fld>
            <a:endParaRPr kumimoji="0" lang="en-GB" sz="105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180" name="Text+Image 50:50">
            <a:extLst>
              <a:ext uri="{FF2B5EF4-FFF2-40B4-BE49-F238E27FC236}">
                <a16:creationId xmlns:a16="http://schemas.microsoft.com/office/drawing/2014/main" id="{9C691A58-180D-5E6A-D5AB-FB31848DEBD9}"/>
              </a:ext>
            </a:extLst>
          </p:cNvPr>
          <p:cNvSpPr txBox="1">
            <a:spLocks noGrp="1"/>
          </p:cNvSpPr>
          <p:nvPr>
            <p:ph type="title"/>
          </p:nvPr>
        </p:nvSpPr>
        <p:spPr>
          <a:xfrm>
            <a:off x="540000" y="432000"/>
            <a:ext cx="11109600" cy="540000"/>
          </a:xfrm>
        </p:spPr>
        <p:txBody>
          <a:bodyPr anchor="ctr">
            <a:normAutofit/>
          </a:bodyPr>
          <a:lstStyle/>
          <a:p>
            <a:r>
              <a:rPr lang="en-GB" err="1"/>
              <a:t>yangcatalog</a:t>
            </a:r>
            <a:r>
              <a:rPr lang="en-GB"/>
              <a:t> (optional)</a:t>
            </a:r>
          </a:p>
        </p:txBody>
      </p:sp>
      <p:sp>
        <p:nvSpPr>
          <p:cNvPr id="3" name="TextBox 2">
            <a:extLst>
              <a:ext uri="{FF2B5EF4-FFF2-40B4-BE49-F238E27FC236}">
                <a16:creationId xmlns:a16="http://schemas.microsoft.com/office/drawing/2014/main" id="{A94370CE-CCE1-B2E9-4DAC-DDB8A8B0DA19}"/>
              </a:ext>
            </a:extLst>
          </p:cNvPr>
          <p:cNvSpPr txBox="1"/>
          <p:nvPr/>
        </p:nvSpPr>
        <p:spPr>
          <a:xfrm>
            <a:off x="368526" y="929952"/>
            <a:ext cx="9431319" cy="737638"/>
          </a:xfrm>
          <a:prstGeom prst="rect">
            <a:avLst/>
          </a:prstGeom>
          <a:noFill/>
        </p:spPr>
        <p:txBody>
          <a:bodyPr wrap="square">
            <a:spAutoFit/>
          </a:bodyPr>
          <a:lstStyle/>
          <a:p>
            <a:pPr marL="270000" marR="0" lvl="0" indent="-270000" algn="l" defTabSz="914400" rtl="0" eaLnBrk="1" fontAlgn="auto" latinLnBrk="0" hangingPunct="1">
              <a:lnSpc>
                <a:spcPct val="110000"/>
              </a:lnSpc>
              <a:spcBef>
                <a:spcPts val="0"/>
              </a:spcBef>
              <a:spcAft>
                <a:spcPts val="1000"/>
              </a:spcAft>
              <a:buClr>
                <a:srgbClr val="19AAF8"/>
              </a:buClr>
              <a:buSzTx/>
              <a:buFont typeface="Arial" panose="020B0604020202020204" pitchFamily="34" charset="0"/>
              <a:buChar char="•"/>
              <a:tabLst/>
              <a:defRPr/>
            </a:pP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Just for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reference</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here</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s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nother</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web-</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based</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way</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look</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ANG</a:t>
            </a:r>
            <a:r>
              <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600" b="0" i="0" u="none" strike="noStrike" kern="1200" cap="none" spc="0" normalizeH="0" baseline="0" noProof="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models</a:t>
            </a:r>
            <a:endParaRPr kumimoji="0" lang="nb-NO" sz="1600" b="0" i="0" u="none" strike="noStrike" kern="1200" cap="none" spc="0" normalizeH="0" baseline="0" noProof="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err="1">
                <a:ln>
                  <a:noFill/>
                </a:ln>
                <a:solidFill>
                  <a:srgbClr val="0C1026"/>
                </a:solidFill>
                <a:effectLst/>
                <a:uLnTx/>
                <a:uFillTx/>
                <a:latin typeface="Verdana"/>
                <a:ea typeface="+mn-ea"/>
                <a:cs typeface="+mn-cs"/>
                <a:hlinkClick r:id="rId3"/>
              </a:rPr>
              <a:t>https</a:t>
            </a:r>
            <a:r>
              <a:rPr kumimoji="0" lang="nb-NO" sz="1600" b="0" i="0" u="none" strike="noStrike" kern="1200" cap="none" spc="0" normalizeH="0" baseline="0" noProof="0">
                <a:ln>
                  <a:noFill/>
                </a:ln>
                <a:solidFill>
                  <a:srgbClr val="0C1026"/>
                </a:solidFill>
                <a:effectLst/>
                <a:uLnTx/>
                <a:uFillTx/>
                <a:latin typeface="Verdana"/>
                <a:ea typeface="+mn-ea"/>
                <a:cs typeface="+mn-cs"/>
                <a:hlinkClick r:id="rId3"/>
              </a:rPr>
              <a:t>://</a:t>
            </a:r>
            <a:r>
              <a:rPr kumimoji="0" lang="nb-NO" sz="1600" b="0" i="0" u="none" strike="noStrike" kern="1200" cap="none" spc="0" normalizeH="0" baseline="0" noProof="0" err="1">
                <a:ln>
                  <a:noFill/>
                </a:ln>
                <a:solidFill>
                  <a:srgbClr val="0C1026"/>
                </a:solidFill>
                <a:effectLst/>
                <a:uLnTx/>
                <a:uFillTx/>
                <a:latin typeface="Verdana"/>
                <a:ea typeface="+mn-ea"/>
                <a:cs typeface="+mn-cs"/>
                <a:hlinkClick r:id="rId3"/>
              </a:rPr>
              <a:t>www.yangcatalog.org</a:t>
            </a:r>
            <a:r>
              <a:rPr kumimoji="0" lang="nb-NO" sz="1600" b="0" i="0" u="none" strike="noStrike" kern="1200" cap="none" spc="0" normalizeH="0" baseline="0" noProof="0">
                <a:ln>
                  <a:noFill/>
                </a:ln>
                <a:solidFill>
                  <a:srgbClr val="0C1026"/>
                </a:solidFill>
                <a:effectLst/>
                <a:uLnTx/>
                <a:uFillTx/>
                <a:latin typeface="Verdana"/>
                <a:ea typeface="+mn-ea"/>
                <a:cs typeface="+mn-cs"/>
                <a:hlinkClick r:id="rId3"/>
              </a:rPr>
              <a:t>/</a:t>
            </a:r>
            <a:r>
              <a:rPr kumimoji="0" lang="nb-NO" sz="1600" b="0" i="0" u="none" strike="noStrike" kern="1200" cap="none" spc="0" normalizeH="0" baseline="0" noProof="0" err="1">
                <a:ln>
                  <a:noFill/>
                </a:ln>
                <a:solidFill>
                  <a:srgbClr val="0C1026"/>
                </a:solidFill>
                <a:effectLst/>
                <a:uLnTx/>
                <a:uFillTx/>
                <a:latin typeface="Verdana"/>
                <a:ea typeface="+mn-ea"/>
                <a:cs typeface="+mn-cs"/>
                <a:hlinkClick r:id="rId3"/>
              </a:rPr>
              <a:t>yang-search</a:t>
            </a:r>
            <a:r>
              <a:rPr kumimoji="0" lang="nb-NO" sz="1600" b="0" i="0" u="none" strike="noStrike" kern="1200" cap="none" spc="0" normalizeH="0" baseline="0" noProof="0">
                <a:ln>
                  <a:noFill/>
                </a:ln>
                <a:solidFill>
                  <a:srgbClr val="0C1026"/>
                </a:solidFill>
                <a:effectLst/>
                <a:uLnTx/>
                <a:uFillTx/>
                <a:latin typeface="Verdana"/>
                <a:ea typeface="+mn-ea"/>
                <a:cs typeface="+mn-cs"/>
                <a:hlinkClick r:id="rId3"/>
              </a:rPr>
              <a:t>/</a:t>
            </a:r>
            <a:r>
              <a:rPr kumimoji="0" lang="nb-NO" sz="1600" b="0" i="0" u="none" strike="noStrike" kern="1200" cap="none" spc="0" normalizeH="0" baseline="0" noProof="0" err="1">
                <a:ln>
                  <a:noFill/>
                </a:ln>
                <a:solidFill>
                  <a:srgbClr val="0C1026"/>
                </a:solidFill>
                <a:effectLst/>
                <a:uLnTx/>
                <a:uFillTx/>
                <a:latin typeface="Verdana"/>
                <a:ea typeface="+mn-ea"/>
                <a:cs typeface="+mn-cs"/>
                <a:hlinkClick r:id="rId3"/>
              </a:rPr>
              <a:t>module_details</a:t>
            </a:r>
            <a:endParaRPr kumimoji="0" lang="nb-NO" sz="1600" b="0" i="0" u="none" strike="noStrike" kern="1200" cap="none" spc="0" normalizeH="0" baseline="0" noProof="0">
              <a:ln>
                <a:noFill/>
              </a:ln>
              <a:solidFill>
                <a:srgbClr val="0C1026"/>
              </a:solidFill>
              <a:effectLst/>
              <a:uLnTx/>
              <a:uFillTx/>
              <a:latin typeface="Verdana"/>
              <a:ea typeface="+mn-ea"/>
              <a:cs typeface="+mn-cs"/>
            </a:endParaRPr>
          </a:p>
        </p:txBody>
      </p:sp>
      <p:pic>
        <p:nvPicPr>
          <p:cNvPr id="5" name="Picture 4">
            <a:extLst>
              <a:ext uri="{FF2B5EF4-FFF2-40B4-BE49-F238E27FC236}">
                <a16:creationId xmlns:a16="http://schemas.microsoft.com/office/drawing/2014/main" id="{98A14066-3866-0C90-C786-AF5AB6B552A0}"/>
              </a:ext>
            </a:extLst>
          </p:cNvPr>
          <p:cNvPicPr>
            <a:picLocks noChangeAspect="1"/>
          </p:cNvPicPr>
          <p:nvPr/>
        </p:nvPicPr>
        <p:blipFill>
          <a:blip r:embed="rId4"/>
          <a:stretch>
            <a:fillRect/>
          </a:stretch>
        </p:blipFill>
        <p:spPr>
          <a:xfrm>
            <a:off x="687377" y="2049517"/>
            <a:ext cx="4194265" cy="3450878"/>
          </a:xfrm>
          <a:prstGeom prst="rect">
            <a:avLst/>
          </a:prstGeom>
        </p:spPr>
      </p:pic>
      <p:pic>
        <p:nvPicPr>
          <p:cNvPr id="8" name="Picture 7">
            <a:extLst>
              <a:ext uri="{FF2B5EF4-FFF2-40B4-BE49-F238E27FC236}">
                <a16:creationId xmlns:a16="http://schemas.microsoft.com/office/drawing/2014/main" id="{0CC6D3D1-1E4A-2103-7BCA-1DC8769FC245}"/>
              </a:ext>
            </a:extLst>
          </p:cNvPr>
          <p:cNvPicPr>
            <a:picLocks noChangeAspect="1"/>
          </p:cNvPicPr>
          <p:nvPr/>
        </p:nvPicPr>
        <p:blipFill>
          <a:blip r:embed="rId5"/>
          <a:stretch>
            <a:fillRect/>
          </a:stretch>
        </p:blipFill>
        <p:spPr>
          <a:xfrm>
            <a:off x="2448677" y="5632389"/>
            <a:ext cx="9478698" cy="390580"/>
          </a:xfrm>
          <a:prstGeom prst="rect">
            <a:avLst/>
          </a:prstGeom>
        </p:spPr>
      </p:pic>
      <p:pic>
        <p:nvPicPr>
          <p:cNvPr id="10" name="Picture 9">
            <a:extLst>
              <a:ext uri="{FF2B5EF4-FFF2-40B4-BE49-F238E27FC236}">
                <a16:creationId xmlns:a16="http://schemas.microsoft.com/office/drawing/2014/main" id="{AD62BA0D-05B7-67AD-C702-CA63C6D6C8BE}"/>
              </a:ext>
            </a:extLst>
          </p:cNvPr>
          <p:cNvPicPr>
            <a:picLocks noChangeAspect="1"/>
          </p:cNvPicPr>
          <p:nvPr/>
        </p:nvPicPr>
        <p:blipFill>
          <a:blip r:embed="rId6"/>
          <a:stretch>
            <a:fillRect/>
          </a:stretch>
        </p:blipFill>
        <p:spPr>
          <a:xfrm>
            <a:off x="7058209" y="1797236"/>
            <a:ext cx="4296375" cy="2314898"/>
          </a:xfrm>
          <a:prstGeom prst="rect">
            <a:avLst/>
          </a:prstGeom>
        </p:spPr>
      </p:pic>
      <p:cxnSp>
        <p:nvCxnSpPr>
          <p:cNvPr id="11" name="Straight Arrow Connector 10">
            <a:extLst>
              <a:ext uri="{FF2B5EF4-FFF2-40B4-BE49-F238E27FC236}">
                <a16:creationId xmlns:a16="http://schemas.microsoft.com/office/drawing/2014/main" id="{8C2DD898-2C12-1004-72F2-9B14517B1CEA}"/>
              </a:ext>
            </a:extLst>
          </p:cNvPr>
          <p:cNvCxnSpPr>
            <a:cxnSpLocks/>
          </p:cNvCxnSpPr>
          <p:nvPr/>
        </p:nvCxnSpPr>
        <p:spPr>
          <a:xfrm>
            <a:off x="4103649" y="3429000"/>
            <a:ext cx="2219092" cy="22033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AD706DE0-544E-CD66-6621-175791F91487}"/>
              </a:ext>
            </a:extLst>
          </p:cNvPr>
          <p:cNvCxnSpPr>
            <a:cxnSpLocks/>
          </p:cNvCxnSpPr>
          <p:nvPr/>
        </p:nvCxnSpPr>
        <p:spPr>
          <a:xfrm flipV="1">
            <a:off x="7727795" y="4003288"/>
            <a:ext cx="1159727" cy="16291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6">
            <a:extLst>
              <a:ext uri="{FF2B5EF4-FFF2-40B4-BE49-F238E27FC236}">
                <a16:creationId xmlns:a16="http://schemas.microsoft.com/office/drawing/2014/main" id="{6F46EA79-4C3C-6251-5313-9DB6A0BB8DE5}"/>
              </a:ext>
            </a:extLst>
          </p:cNvPr>
          <p:cNvSpPr>
            <a:spLocks noGrp="1"/>
          </p:cNvSpPr>
          <p:nvPr>
            <p:ph type="ftr" sz="quarter" idx="11"/>
          </p:nvPr>
        </p:nvSpPr>
        <p:spPr>
          <a:xfrm>
            <a:off x="0" y="0"/>
            <a:ext cx="1440001" cy="270000"/>
          </a:xfrm>
          <a:solidFill>
            <a:srgbClr val="0C1026"/>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Labs (Day 1)</a:t>
            </a:r>
          </a:p>
        </p:txBody>
      </p:sp>
      <p:sp>
        <p:nvSpPr>
          <p:cNvPr id="4" name="Footer Placeholder 6">
            <a:extLst>
              <a:ext uri="{FF2B5EF4-FFF2-40B4-BE49-F238E27FC236}">
                <a16:creationId xmlns:a16="http://schemas.microsoft.com/office/drawing/2014/main" id="{7C8786C3-5E58-2E1E-62BF-C3816934090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fr-FR" sz="1100" b="0"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Lab</a:t>
            </a:r>
            <a:r>
              <a:rPr kumimoji="0" lang="fr-FR"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fr-FR" sz="1100" b="0"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exercise</a:t>
            </a:r>
            <a:r>
              <a:rPr kumimoji="0" lang="fr-FR"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rPr>
              <a:t> #6: Install YANG Suite</a:t>
            </a:r>
            <a:endParaRPr kumimoji="0" lang="en-US" sz="11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Tree>
    <p:extLst>
      <p:ext uri="{BB962C8B-B14F-4D97-AF65-F5344CB8AC3E}">
        <p14:creationId xmlns:p14="http://schemas.microsoft.com/office/powerpoint/2010/main" val="786812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Over </a:t>
            </a:r>
            <a:r>
              <a:rPr lang="nb-NO" sz="1600" dirty="0" err="1"/>
              <a:t>the</a:t>
            </a:r>
            <a:r>
              <a:rPr lang="nb-NO" sz="1600" dirty="0"/>
              <a:t> </a:t>
            </a:r>
            <a:r>
              <a:rPr lang="nb-NO" sz="1600" dirty="0" err="1"/>
              <a:t>next</a:t>
            </a:r>
            <a:r>
              <a:rPr lang="nb-NO" sz="1600" dirty="0"/>
              <a:t> </a:t>
            </a:r>
            <a:r>
              <a:rPr lang="nb-NO" sz="1600" dirty="0" err="1"/>
              <a:t>pages</a:t>
            </a:r>
            <a:r>
              <a:rPr lang="nb-NO" sz="1600" dirty="0"/>
              <a:t>, </a:t>
            </a:r>
            <a:r>
              <a:rPr lang="nb-NO" sz="1600" dirty="0" err="1"/>
              <a:t>you</a:t>
            </a:r>
            <a:r>
              <a:rPr lang="nb-NO" sz="1600" dirty="0"/>
              <a:t> </a:t>
            </a:r>
            <a:r>
              <a:rPr lang="nb-NO" sz="1600" dirty="0" err="1"/>
              <a:t>will</a:t>
            </a:r>
            <a:r>
              <a:rPr lang="nb-NO" sz="1600" dirty="0"/>
              <a:t> </a:t>
            </a:r>
            <a:r>
              <a:rPr lang="nb-NO" sz="1600" dirty="0" err="1"/>
              <a:t>explore</a:t>
            </a:r>
            <a:r>
              <a:rPr lang="nb-NO" sz="1600" dirty="0"/>
              <a:t> a </a:t>
            </a:r>
            <a:r>
              <a:rPr lang="nb-NO" sz="1600" dirty="0" err="1"/>
              <a:t>few</a:t>
            </a:r>
            <a:r>
              <a:rPr lang="nb-NO" sz="1600" dirty="0"/>
              <a:t> </a:t>
            </a:r>
            <a:r>
              <a:rPr lang="nb-NO" sz="1600" dirty="0" err="1"/>
              <a:t>YANG</a:t>
            </a:r>
            <a:r>
              <a:rPr lang="nb-NO" sz="1600" dirty="0"/>
              <a:t> </a:t>
            </a:r>
            <a:r>
              <a:rPr lang="nb-NO" sz="1600" dirty="0" err="1"/>
              <a:t>models</a:t>
            </a:r>
            <a:endParaRPr lang="nb-NO" sz="1600" dirty="0"/>
          </a:p>
          <a:p>
            <a:pPr lvl="1">
              <a:lnSpc>
                <a:spcPct val="110000"/>
              </a:lnSpc>
            </a:pPr>
            <a:r>
              <a:rPr lang="nb-NO" sz="1400" dirty="0" err="1"/>
              <a:t>Get</a:t>
            </a:r>
            <a:r>
              <a:rPr lang="nb-NO" sz="1400" dirty="0"/>
              <a:t> </a:t>
            </a:r>
            <a:r>
              <a:rPr lang="nb-NO" sz="1400" dirty="0" err="1"/>
              <a:t>config</a:t>
            </a:r>
            <a:r>
              <a:rPr lang="nb-NO" sz="1400" dirty="0"/>
              <a:t> (</a:t>
            </a:r>
            <a:r>
              <a:rPr lang="nb-NO" sz="1400" dirty="0" err="1"/>
              <a:t>YANG</a:t>
            </a:r>
            <a:r>
              <a:rPr lang="nb-NO" sz="1400" dirty="0"/>
              <a:t>/</a:t>
            </a:r>
            <a:r>
              <a:rPr lang="nb-NO" sz="1400" dirty="0" err="1"/>
              <a:t>JSON</a:t>
            </a:r>
            <a:r>
              <a:rPr lang="nb-NO" sz="1400" dirty="0"/>
              <a:t> </a:t>
            </a:r>
            <a:r>
              <a:rPr lang="nb-NO" sz="1400" dirty="0" err="1"/>
              <a:t>version</a:t>
            </a:r>
            <a:r>
              <a:rPr lang="nb-NO" sz="1400" dirty="0"/>
              <a:t>)</a:t>
            </a:r>
          </a:p>
          <a:p>
            <a:pPr lvl="1">
              <a:lnSpc>
                <a:spcPct val="110000"/>
              </a:lnSpc>
            </a:pPr>
            <a:r>
              <a:rPr lang="nb-NO" sz="1400" dirty="0" err="1"/>
              <a:t>Get</a:t>
            </a:r>
            <a:r>
              <a:rPr lang="nb-NO" sz="1400" dirty="0"/>
              <a:t> AP </a:t>
            </a:r>
            <a:r>
              <a:rPr lang="nb-NO" sz="1400" dirty="0" err="1"/>
              <a:t>summary</a:t>
            </a:r>
            <a:endParaRPr lang="nb-NO" sz="1400" dirty="0"/>
          </a:p>
          <a:p>
            <a:pPr lvl="1">
              <a:lnSpc>
                <a:spcPct val="110000"/>
              </a:lnSpc>
            </a:pPr>
            <a:r>
              <a:rPr lang="nb-NO" sz="1400" dirty="0" err="1"/>
              <a:t>Get</a:t>
            </a:r>
            <a:r>
              <a:rPr lang="nb-NO" sz="1400" dirty="0"/>
              <a:t> Clients</a:t>
            </a:r>
          </a:p>
          <a:p>
            <a:pPr>
              <a:lnSpc>
                <a:spcPct val="110000"/>
              </a:lnSpc>
            </a:pPr>
            <a:r>
              <a:rPr lang="nb-NO" sz="1600" dirty="0"/>
              <a:t>Just </a:t>
            </a:r>
            <a:r>
              <a:rPr lang="nb-NO" sz="1600" dirty="0" err="1"/>
              <a:t>get</a:t>
            </a:r>
            <a:r>
              <a:rPr lang="nb-NO" sz="1600" dirty="0"/>
              <a:t> </a:t>
            </a:r>
            <a:r>
              <a:rPr lang="nb-NO" sz="1600" dirty="0" err="1"/>
              <a:t>somewhat</a:t>
            </a:r>
            <a:r>
              <a:rPr lang="nb-NO" sz="1600" dirty="0"/>
              <a:t> </a:t>
            </a:r>
            <a:r>
              <a:rPr lang="nb-NO" sz="1600" dirty="0" err="1"/>
              <a:t>familiar</a:t>
            </a:r>
            <a:r>
              <a:rPr lang="nb-NO" sz="1600" dirty="0"/>
              <a:t>, </a:t>
            </a:r>
            <a:r>
              <a:rPr lang="nb-NO" sz="1600" dirty="0" err="1"/>
              <a:t>you</a:t>
            </a:r>
            <a:r>
              <a:rPr lang="nb-NO" sz="1600" dirty="0"/>
              <a:t> </a:t>
            </a:r>
            <a:r>
              <a:rPr lang="nb-NO" sz="1600" dirty="0" err="1"/>
              <a:t>will</a:t>
            </a:r>
            <a:r>
              <a:rPr lang="nb-NO" sz="1600" dirty="0"/>
              <a:t> </a:t>
            </a:r>
            <a:r>
              <a:rPr lang="nb-NO" sz="1600" dirty="0" err="1"/>
              <a:t>use</a:t>
            </a:r>
            <a:r>
              <a:rPr lang="nb-NO" sz="1600" dirty="0"/>
              <a:t> </a:t>
            </a:r>
            <a:r>
              <a:rPr lang="nb-NO" sz="1600" dirty="0" err="1"/>
              <a:t>these</a:t>
            </a:r>
            <a:r>
              <a:rPr lang="nb-NO" sz="1600" dirty="0"/>
              <a:t> in </a:t>
            </a:r>
            <a:r>
              <a:rPr lang="nb-NO" sz="1600" dirty="0" err="1"/>
              <a:t>the</a:t>
            </a:r>
            <a:r>
              <a:rPr lang="nb-NO" sz="1600" dirty="0"/>
              <a:t> </a:t>
            </a:r>
            <a:r>
              <a:rPr lang="nb-NO" sz="1600" dirty="0" err="1"/>
              <a:t>next</a:t>
            </a:r>
            <a:r>
              <a:rPr lang="nb-NO" sz="1600" dirty="0"/>
              <a:t> </a:t>
            </a:r>
            <a:r>
              <a:rPr lang="nb-NO" sz="1600" dirty="0" err="1"/>
              <a:t>exercises</a:t>
            </a:r>
            <a:r>
              <a:rPr lang="nb-NO" sz="1600" dirty="0"/>
              <a:t> (Postman, Python, </a:t>
            </a:r>
            <a:r>
              <a:rPr lang="nb-NO" sz="1600" dirty="0" err="1"/>
              <a:t>Ansible</a:t>
            </a:r>
            <a:r>
              <a:rPr lang="nb-NO" sz="1600" dirty="0"/>
              <a:t>, </a:t>
            </a:r>
            <a:r>
              <a:rPr lang="nb-NO" sz="1600" dirty="0" err="1"/>
              <a:t>Grafana</a:t>
            </a:r>
            <a:r>
              <a:rPr lang="nb-NO" sz="1600" dirty="0"/>
              <a:t>)</a:t>
            </a:r>
          </a:p>
          <a:p>
            <a:pPr>
              <a:lnSpc>
                <a:spcPct val="110000"/>
              </a:lnSpc>
            </a:pPr>
            <a:r>
              <a:rPr lang="nb-NO" sz="1600" dirty="0"/>
              <a:t>This </a:t>
            </a:r>
            <a:r>
              <a:rPr lang="nb-NO" sz="1600" dirty="0" err="1"/>
              <a:t>will</a:t>
            </a:r>
            <a:r>
              <a:rPr lang="nb-NO" sz="1600" dirty="0"/>
              <a:t> show </a:t>
            </a:r>
            <a:r>
              <a:rPr lang="nb-NO" sz="1600" dirty="0" err="1"/>
              <a:t>you</a:t>
            </a:r>
            <a:r>
              <a:rPr lang="nb-NO" sz="1600" dirty="0"/>
              <a:t> </a:t>
            </a:r>
            <a:r>
              <a:rPr lang="nb-NO" sz="1600" dirty="0" err="1"/>
              <a:t>the</a:t>
            </a:r>
            <a:r>
              <a:rPr lang="nb-NO" sz="1600" dirty="0"/>
              <a:t> </a:t>
            </a:r>
            <a:r>
              <a:rPr lang="nb-NO" sz="1600" dirty="0" err="1"/>
              <a:t>model</a:t>
            </a:r>
            <a:r>
              <a:rPr lang="nb-NO" sz="1600" dirty="0"/>
              <a:t>, not pull </a:t>
            </a:r>
            <a:r>
              <a:rPr lang="nb-NO" sz="1600" dirty="0" err="1"/>
              <a:t>the</a:t>
            </a:r>
            <a:r>
              <a:rPr lang="nb-NO" sz="1600" dirty="0"/>
              <a:t> </a:t>
            </a:r>
            <a:r>
              <a:rPr lang="nb-NO" sz="1600" dirty="0" err="1"/>
              <a:t>actual</a:t>
            </a:r>
            <a:r>
              <a:rPr lang="nb-NO" sz="1600" dirty="0"/>
              <a:t> data</a:t>
            </a:r>
          </a:p>
          <a:p>
            <a:pPr>
              <a:lnSpc>
                <a:spcPct val="110000"/>
              </a:lnSpc>
            </a:pPr>
            <a:r>
              <a:rPr lang="nb-NO" sz="1600" dirty="0"/>
              <a:t>To pull data </a:t>
            </a:r>
            <a:r>
              <a:rPr lang="nb-NO" sz="1600" dirty="0" err="1"/>
              <a:t>we</a:t>
            </a:r>
            <a:r>
              <a:rPr lang="nb-NO" sz="1600" dirty="0"/>
              <a:t> </a:t>
            </a:r>
            <a:r>
              <a:rPr lang="nb-NO" sz="1600" dirty="0" err="1"/>
              <a:t>will</a:t>
            </a:r>
            <a:r>
              <a:rPr lang="nb-NO" sz="1600" dirty="0"/>
              <a:t> </a:t>
            </a:r>
            <a:r>
              <a:rPr lang="nb-NO" sz="1600" dirty="0" err="1"/>
              <a:t>use</a:t>
            </a:r>
            <a:r>
              <a:rPr lang="nb-NO" sz="1600" dirty="0"/>
              <a:t> </a:t>
            </a:r>
            <a:r>
              <a:rPr lang="nb-NO" sz="1600" dirty="0" err="1"/>
              <a:t>these</a:t>
            </a:r>
            <a:r>
              <a:rPr lang="nb-NO" sz="1600" dirty="0"/>
              <a:t> </a:t>
            </a:r>
            <a:r>
              <a:rPr lang="nb-NO" sz="1600" dirty="0" err="1"/>
              <a:t>models</a:t>
            </a:r>
            <a:r>
              <a:rPr lang="nb-NO" sz="1600" dirty="0"/>
              <a:t> i Postman and </a:t>
            </a:r>
            <a:r>
              <a:rPr lang="nb-NO" sz="1600" dirty="0" err="1"/>
              <a:t>Grafana</a:t>
            </a:r>
            <a:r>
              <a:rPr lang="nb-NO" sz="1600" dirty="0"/>
              <a:t> later</a:t>
            </a:r>
          </a:p>
          <a:p>
            <a:pPr>
              <a:lnSpc>
                <a:spcPct val="110000"/>
              </a:lnSpc>
            </a:pPr>
            <a:r>
              <a:rPr lang="nb-NO" sz="1600" dirty="0"/>
              <a:t>(</a:t>
            </a:r>
            <a:r>
              <a:rPr lang="nb-NO" sz="1600" dirty="0" err="1"/>
              <a:t>optional</a:t>
            </a:r>
            <a:r>
              <a:rPr lang="nb-NO" sz="1600" dirty="0"/>
              <a:t>) </a:t>
            </a:r>
            <a:r>
              <a:rPr lang="nb-NO" sz="1600" dirty="0" err="1"/>
              <a:t>You</a:t>
            </a:r>
            <a:r>
              <a:rPr lang="nb-NO" sz="1600" dirty="0"/>
              <a:t> </a:t>
            </a:r>
            <a:r>
              <a:rPr lang="nb-NO" sz="1600" dirty="0" err="1"/>
              <a:t>can</a:t>
            </a:r>
            <a:r>
              <a:rPr lang="nb-NO" sz="1600" dirty="0"/>
              <a:t> </a:t>
            </a:r>
            <a:r>
              <a:rPr lang="nb-NO" sz="1600" dirty="0" err="1"/>
              <a:t>also</a:t>
            </a:r>
            <a:r>
              <a:rPr lang="nb-NO" sz="1600" dirty="0"/>
              <a:t> do </a:t>
            </a:r>
            <a:r>
              <a:rPr lang="nb-NO" sz="1600" dirty="0" err="1"/>
              <a:t>RESTCONF</a:t>
            </a:r>
            <a:r>
              <a:rPr lang="nb-NO" sz="1600" dirty="0"/>
              <a:t> and </a:t>
            </a:r>
            <a:r>
              <a:rPr lang="nb-NO" sz="1600" dirty="0" err="1"/>
              <a:t>NETCONF</a:t>
            </a:r>
            <a:r>
              <a:rPr lang="nb-NO" sz="1600" dirty="0"/>
              <a:t> </a:t>
            </a:r>
            <a:r>
              <a:rPr lang="nb-NO" sz="1600" dirty="0" err="1"/>
              <a:t>calls</a:t>
            </a:r>
            <a:r>
              <a:rPr lang="nb-NO" sz="1600" dirty="0"/>
              <a:t> to </a:t>
            </a:r>
            <a:r>
              <a:rPr lang="nb-NO" sz="1600" dirty="0" err="1"/>
              <a:t>the</a:t>
            </a:r>
            <a:r>
              <a:rPr lang="nb-NO" sz="1600" dirty="0"/>
              <a:t> </a:t>
            </a:r>
            <a:r>
              <a:rPr lang="nb-NO" sz="1600" dirty="0" err="1"/>
              <a:t>device</a:t>
            </a:r>
            <a:r>
              <a:rPr lang="nb-NO" sz="1600" dirty="0"/>
              <a:t> from </a:t>
            </a:r>
            <a:r>
              <a:rPr lang="nb-NO" sz="1600" dirty="0" err="1"/>
              <a:t>YANG</a:t>
            </a:r>
            <a:r>
              <a:rPr lang="nb-NO" sz="1600" dirty="0"/>
              <a:t> Suite</a:t>
            </a:r>
          </a:p>
          <a:p>
            <a:pPr lvl="1">
              <a:lnSpc>
                <a:spcPct val="110000"/>
              </a:lnSpc>
            </a:pPr>
            <a:r>
              <a:rPr lang="nb-NO" sz="1400" dirty="0" err="1"/>
              <a:t>Protocols</a:t>
            </a:r>
            <a:r>
              <a:rPr lang="nb-NO" sz="1400" dirty="0"/>
              <a:t> -&gt; </a:t>
            </a:r>
            <a:r>
              <a:rPr lang="nb-NO" sz="1400" dirty="0" err="1"/>
              <a:t>RESTCONF</a:t>
            </a:r>
            <a:r>
              <a:rPr lang="nb-NO" sz="1400" dirty="0"/>
              <a:t> -&gt; </a:t>
            </a:r>
            <a:r>
              <a:rPr lang="nb-NO" sz="1400" dirty="0" err="1"/>
              <a:t>Find</a:t>
            </a:r>
            <a:r>
              <a:rPr lang="nb-NO" sz="1400" dirty="0"/>
              <a:t> </a:t>
            </a:r>
            <a:r>
              <a:rPr lang="nb-NO" sz="1400" dirty="0" err="1"/>
              <a:t>your</a:t>
            </a:r>
            <a:r>
              <a:rPr lang="nb-NO" sz="1400" dirty="0"/>
              <a:t> </a:t>
            </a:r>
            <a:r>
              <a:rPr lang="nb-NO" sz="1400" dirty="0" err="1"/>
              <a:t>module</a:t>
            </a:r>
            <a:r>
              <a:rPr lang="nb-NO" sz="1400" dirty="0"/>
              <a:t> -&gt; </a:t>
            </a:r>
            <a:r>
              <a:rPr lang="nb-NO" sz="1400" dirty="0" err="1"/>
              <a:t>Generate</a:t>
            </a:r>
            <a:r>
              <a:rPr lang="nb-NO" sz="1400" dirty="0"/>
              <a:t> API(s) -&gt; </a:t>
            </a:r>
            <a:r>
              <a:rPr lang="nb-NO" sz="1400" dirty="0" err="1"/>
              <a:t>Authorize</a:t>
            </a:r>
            <a:r>
              <a:rPr lang="nb-NO" sz="1400" dirty="0"/>
              <a:t> -&gt; </a:t>
            </a:r>
            <a:r>
              <a:rPr lang="nb-NO" sz="1400" dirty="0" err="1"/>
              <a:t>Try</a:t>
            </a:r>
            <a:r>
              <a:rPr lang="nb-NO" sz="1400" dirty="0"/>
              <a:t> it </a:t>
            </a:r>
            <a:r>
              <a:rPr lang="nb-NO" sz="1400" dirty="0" err="1"/>
              <a:t>out</a:t>
            </a:r>
            <a:r>
              <a:rPr lang="nb-NO" sz="1400" dirty="0"/>
              <a:t> -&gt; </a:t>
            </a:r>
            <a:r>
              <a:rPr lang="nb-NO" sz="1400" dirty="0" err="1"/>
              <a:t>Execute</a:t>
            </a:r>
            <a:endParaRPr lang="nb-NO" sz="1400" dirty="0"/>
          </a:p>
          <a:p>
            <a:pPr marL="0" indent="0">
              <a:lnSpc>
                <a:spcPct val="110000"/>
              </a:lnSpc>
              <a:buNone/>
            </a:pPr>
            <a:endParaRPr lang="nb-NO" sz="1000" dirty="0"/>
          </a:p>
          <a:p>
            <a:pPr lvl="1">
              <a:lnSpc>
                <a:spcPct val="110000"/>
              </a:lnSpc>
            </a:pPr>
            <a:endParaRPr lang="nb-NO" sz="10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dirty="0" err="1"/>
              <a:t>Lab</a:t>
            </a:r>
            <a:r>
              <a:rPr lang="fr-FR" dirty="0"/>
              <a:t> </a:t>
            </a:r>
            <a:r>
              <a:rPr lang="fr-FR" dirty="0" err="1"/>
              <a:t>exercise</a:t>
            </a:r>
            <a:r>
              <a:rPr lang="fr-FR" dirty="0"/>
              <a:t> #7: Explore YANG Suite</a:t>
            </a:r>
            <a:endParaRPr lang="en-GB" dirty="0"/>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7" name="Picture 6">
            <a:extLst>
              <a:ext uri="{FF2B5EF4-FFF2-40B4-BE49-F238E27FC236}">
                <a16:creationId xmlns:a16="http://schemas.microsoft.com/office/drawing/2014/main" id="{761ADEC3-B6AB-B384-61AA-889CD942F531}"/>
              </a:ext>
            </a:extLst>
          </p:cNvPr>
          <p:cNvPicPr>
            <a:picLocks noChangeAspect="1"/>
          </p:cNvPicPr>
          <p:nvPr/>
        </p:nvPicPr>
        <p:blipFill>
          <a:blip r:embed="rId3"/>
          <a:stretch>
            <a:fillRect/>
          </a:stretch>
        </p:blipFill>
        <p:spPr>
          <a:xfrm>
            <a:off x="246470" y="4539664"/>
            <a:ext cx="5295771" cy="1489435"/>
          </a:xfrm>
          <a:prstGeom prst="rect">
            <a:avLst/>
          </a:prstGeom>
        </p:spPr>
      </p:pic>
      <p:pic>
        <p:nvPicPr>
          <p:cNvPr id="11" name="Picture 10">
            <a:extLst>
              <a:ext uri="{FF2B5EF4-FFF2-40B4-BE49-F238E27FC236}">
                <a16:creationId xmlns:a16="http://schemas.microsoft.com/office/drawing/2014/main" id="{CEDA6861-BE52-B09C-4CAE-0CB0C147FEB9}"/>
              </a:ext>
            </a:extLst>
          </p:cNvPr>
          <p:cNvPicPr>
            <a:picLocks noChangeAspect="1"/>
          </p:cNvPicPr>
          <p:nvPr/>
        </p:nvPicPr>
        <p:blipFill rotWithShape="1">
          <a:blip r:embed="rId4"/>
          <a:srcRect t="10782"/>
          <a:stretch/>
        </p:blipFill>
        <p:spPr>
          <a:xfrm>
            <a:off x="6094800" y="4485922"/>
            <a:ext cx="4845611" cy="1543177"/>
          </a:xfrm>
          <a:prstGeom prst="rect">
            <a:avLst/>
          </a:prstGeom>
        </p:spPr>
      </p:pic>
    </p:spTree>
    <p:extLst>
      <p:ext uri="{BB962C8B-B14F-4D97-AF65-F5344CB8AC3E}">
        <p14:creationId xmlns:p14="http://schemas.microsoft.com/office/powerpoint/2010/main" val="298623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onfig (YANG version)</a:t>
            </a:r>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7" name="Picture 6">
            <a:extLst>
              <a:ext uri="{FF2B5EF4-FFF2-40B4-BE49-F238E27FC236}">
                <a16:creationId xmlns:a16="http://schemas.microsoft.com/office/drawing/2014/main" id="{91833619-A476-327D-88DA-9475C1F98D1C}"/>
              </a:ext>
            </a:extLst>
          </p:cNvPr>
          <p:cNvPicPr>
            <a:picLocks noChangeAspect="1"/>
          </p:cNvPicPr>
          <p:nvPr/>
        </p:nvPicPr>
        <p:blipFill>
          <a:blip r:embed="rId3"/>
          <a:stretch>
            <a:fillRect/>
          </a:stretch>
        </p:blipFill>
        <p:spPr>
          <a:xfrm>
            <a:off x="457199" y="918151"/>
            <a:ext cx="10339217" cy="4870273"/>
          </a:xfrm>
          <a:prstGeom prst="rect">
            <a:avLst/>
          </a:prstGeom>
        </p:spPr>
      </p:pic>
    </p:spTree>
    <p:extLst>
      <p:ext uri="{BB962C8B-B14F-4D97-AF65-F5344CB8AC3E}">
        <p14:creationId xmlns:p14="http://schemas.microsoft.com/office/powerpoint/2010/main" val="177697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AP summary</a:t>
            </a:r>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5" name="Picture 4">
            <a:extLst>
              <a:ext uri="{FF2B5EF4-FFF2-40B4-BE49-F238E27FC236}">
                <a16:creationId xmlns:a16="http://schemas.microsoft.com/office/drawing/2014/main" id="{890C43C2-0C1E-2AD4-0E89-60FEB2D6D985}"/>
              </a:ext>
            </a:extLst>
          </p:cNvPr>
          <p:cNvPicPr>
            <a:picLocks noChangeAspect="1"/>
          </p:cNvPicPr>
          <p:nvPr/>
        </p:nvPicPr>
        <p:blipFill>
          <a:blip r:embed="rId3"/>
          <a:stretch>
            <a:fillRect/>
          </a:stretch>
        </p:blipFill>
        <p:spPr>
          <a:xfrm>
            <a:off x="540001" y="860901"/>
            <a:ext cx="8691086" cy="5174071"/>
          </a:xfrm>
          <a:prstGeom prst="rect">
            <a:avLst/>
          </a:prstGeom>
        </p:spPr>
      </p:pic>
    </p:spTree>
    <p:extLst>
      <p:ext uri="{BB962C8B-B14F-4D97-AF65-F5344CB8AC3E}">
        <p14:creationId xmlns:p14="http://schemas.microsoft.com/office/powerpoint/2010/main" val="339233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summary</a:t>
            </a:r>
          </a:p>
        </p:txBody>
      </p:sp>
      <p:sp>
        <p:nvSpPr>
          <p:cNvPr id="3" name="Footer Placeholder 6">
            <a:extLst>
              <a:ext uri="{FF2B5EF4-FFF2-40B4-BE49-F238E27FC236}">
                <a16:creationId xmlns:a16="http://schemas.microsoft.com/office/drawing/2014/main" id="{1EEFFF91-E5FB-BE38-D2DD-FD38DA4AA6E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2AAFDAAC-8F4B-153F-5BA4-4AA004EB1E8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7: Explore YANG Suite</a:t>
            </a:r>
            <a:endParaRPr lang="en-US" sz="1100" dirty="0"/>
          </a:p>
        </p:txBody>
      </p:sp>
      <p:pic>
        <p:nvPicPr>
          <p:cNvPr id="5" name="Picture 4">
            <a:extLst>
              <a:ext uri="{FF2B5EF4-FFF2-40B4-BE49-F238E27FC236}">
                <a16:creationId xmlns:a16="http://schemas.microsoft.com/office/drawing/2014/main" id="{B319825E-FFD7-7D6B-8E09-964106608A80}"/>
              </a:ext>
            </a:extLst>
          </p:cNvPr>
          <p:cNvPicPr>
            <a:picLocks noChangeAspect="1"/>
          </p:cNvPicPr>
          <p:nvPr/>
        </p:nvPicPr>
        <p:blipFill>
          <a:blip r:embed="rId3"/>
          <a:stretch>
            <a:fillRect/>
          </a:stretch>
        </p:blipFill>
        <p:spPr>
          <a:xfrm>
            <a:off x="540000" y="972000"/>
            <a:ext cx="9463131" cy="5051012"/>
          </a:xfrm>
          <a:prstGeom prst="rect">
            <a:avLst/>
          </a:prstGeom>
        </p:spPr>
      </p:pic>
    </p:spTree>
    <p:extLst>
      <p:ext uri="{BB962C8B-B14F-4D97-AF65-F5344CB8AC3E}">
        <p14:creationId xmlns:p14="http://schemas.microsoft.com/office/powerpoint/2010/main" val="384963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189903"/>
          </a:xfrm>
        </p:spPr>
        <p:txBody>
          <a:bodyPr>
            <a:normAutofit/>
          </a:bodyPr>
          <a:lstStyle/>
          <a:p>
            <a:pPr>
              <a:lnSpc>
                <a:spcPct val="110000"/>
              </a:lnSpc>
            </a:pPr>
            <a:r>
              <a:rPr lang="nb-NO" sz="1600"/>
              <a:t>In this lab exercise we will</a:t>
            </a:r>
          </a:p>
          <a:p>
            <a:pPr lvl="1">
              <a:lnSpc>
                <a:spcPct val="110000"/>
              </a:lnSpc>
            </a:pPr>
            <a:r>
              <a:rPr lang="nb-NO" sz="1400"/>
              <a:t>Create a Workspace</a:t>
            </a:r>
          </a:p>
          <a:p>
            <a:pPr lvl="1">
              <a:lnSpc>
                <a:spcPct val="110000"/>
              </a:lnSpc>
            </a:pPr>
            <a:r>
              <a:rPr lang="nb-NO" sz="1400" err="1"/>
              <a:t>Create</a:t>
            </a:r>
            <a:r>
              <a:rPr lang="nb-NO" sz="1400"/>
              <a:t> an Environment</a:t>
            </a:r>
          </a:p>
          <a:p>
            <a:pPr lvl="1">
              <a:lnSpc>
                <a:spcPct val="110000"/>
              </a:lnSpc>
            </a:pPr>
            <a:r>
              <a:rPr lang="nb-NO" sz="1400" err="1"/>
              <a:t>Create</a:t>
            </a:r>
            <a:r>
              <a:rPr lang="nb-NO" sz="1400"/>
              <a:t> a Collection</a:t>
            </a:r>
          </a:p>
          <a:p>
            <a:pPr lvl="1">
              <a:lnSpc>
                <a:spcPct val="110000"/>
              </a:lnSpc>
            </a:pPr>
            <a:r>
              <a:rPr lang="nb-NO" sz="1400"/>
              <a:t>Test </a:t>
            </a:r>
            <a:r>
              <a:rPr lang="nb-NO" sz="1400" err="1"/>
              <a:t>some</a:t>
            </a:r>
            <a:r>
              <a:rPr lang="nb-NO" sz="1400"/>
              <a:t> </a:t>
            </a:r>
            <a:r>
              <a:rPr lang="nb-NO" sz="1400" err="1"/>
              <a:t>queries</a:t>
            </a:r>
            <a:r>
              <a:rPr lang="nb-NO" sz="1400"/>
              <a:t> </a:t>
            </a:r>
            <a:r>
              <a:rPr lang="nb-NO" sz="1400" err="1"/>
              <a:t>found</a:t>
            </a:r>
            <a:r>
              <a:rPr lang="nb-NO" sz="1400"/>
              <a:t> from </a:t>
            </a:r>
            <a:r>
              <a:rPr lang="nb-NO" sz="1400" err="1"/>
              <a:t>YANG</a:t>
            </a:r>
            <a:r>
              <a:rPr lang="nb-NO" sz="1400"/>
              <a:t> Suite</a:t>
            </a:r>
          </a:p>
          <a:p>
            <a:pPr lvl="1">
              <a:lnSpc>
                <a:spcPct val="110000"/>
              </a:lnSpc>
            </a:pPr>
            <a:r>
              <a:rPr lang="nb-NO" sz="1400"/>
              <a:t>Output to </a:t>
            </a:r>
            <a:r>
              <a:rPr lang="nb-NO" sz="1400" err="1"/>
              <a:t>CURL</a:t>
            </a:r>
            <a:r>
              <a:rPr lang="nb-NO" sz="1400"/>
              <a:t> or Python</a:t>
            </a:r>
          </a:p>
          <a:p>
            <a:pPr lvl="1">
              <a:lnSpc>
                <a:spcPct val="110000"/>
              </a:lnSpc>
            </a:pPr>
            <a:r>
              <a:rPr lang="nb-NO" sz="1400"/>
              <a:t>(optional …and time-consuming) Test </a:t>
            </a:r>
            <a:r>
              <a:rPr lang="nb-NO" sz="1400" err="1"/>
              <a:t>some</a:t>
            </a:r>
            <a:r>
              <a:rPr lang="nb-NO" sz="1400"/>
              <a:t> </a:t>
            </a:r>
            <a:r>
              <a:rPr lang="nb-NO" sz="1400" err="1"/>
              <a:t>queries</a:t>
            </a:r>
            <a:r>
              <a:rPr lang="nb-NO" sz="1400"/>
              <a:t> to Meraki, Aruba, MIST or Cisco </a:t>
            </a:r>
            <a:r>
              <a:rPr lang="nb-NO" sz="1400" err="1"/>
              <a:t>Always</a:t>
            </a:r>
            <a:r>
              <a:rPr lang="nb-NO" sz="1400"/>
              <a:t>-On labs</a:t>
            </a:r>
          </a:p>
          <a:p>
            <a:pPr lvl="2">
              <a:lnSpc>
                <a:spcPct val="110000"/>
              </a:lnSpc>
            </a:pPr>
            <a:r>
              <a:rPr lang="nb-NO" sz="1000"/>
              <a:t>(specific instructions for this is not finished to Prague'24, will be added to the slide deck later)</a:t>
            </a:r>
          </a:p>
          <a:p>
            <a:pPr lvl="2">
              <a:lnSpc>
                <a:spcPct val="110000"/>
              </a:lnSpc>
            </a:pPr>
            <a:r>
              <a:rPr lang="nb-NO" sz="1000"/>
              <a:t>Most "cloud native" vendors have good guides to get started using the APIs with Postman. So you could try creating your API key in the relevant dashboard, and get your inventory of APs.</a:t>
            </a:r>
            <a:endParaRPr lang="nb-NO" sz="8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Lab exercise #8: Explore Postma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243986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verview</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2895716" cy="4989889"/>
          </a:xfrm>
        </p:spPr>
        <p:txBody>
          <a:bodyPr>
            <a:normAutofit/>
          </a:bodyPr>
          <a:lstStyle/>
          <a:p>
            <a:pPr marL="342900" indent="-342900">
              <a:lnSpc>
                <a:spcPct val="110000"/>
              </a:lnSpc>
              <a:buFont typeface="+mj-lt"/>
              <a:buAutoNum type="arabicPeriod"/>
            </a:pPr>
            <a:r>
              <a:rPr lang="nb-NO" sz="1600"/>
              <a:t>RESTCONF </a:t>
            </a:r>
            <a:r>
              <a:rPr lang="nb-NO" sz="1600" dirty="0" err="1"/>
              <a:t>path</a:t>
            </a:r>
            <a:endParaRPr lang="nb-NO" sz="1600" dirty="0"/>
          </a:p>
          <a:p>
            <a:pPr marL="342900" indent="-342900">
              <a:lnSpc>
                <a:spcPct val="110000"/>
              </a:lnSpc>
              <a:buFont typeface="+mj-lt"/>
              <a:buAutoNum type="arabicPeriod"/>
            </a:pPr>
            <a:r>
              <a:rPr lang="nb-NO" sz="1600"/>
              <a:t>YANG module</a:t>
            </a:r>
            <a:endParaRPr lang="nb-NO" sz="1600" dirty="0"/>
          </a:p>
          <a:p>
            <a:pPr marL="342900" indent="-342900">
              <a:lnSpc>
                <a:spcPct val="110000"/>
              </a:lnSpc>
              <a:buFont typeface="+mj-lt"/>
              <a:buAutoNum type="arabicPeriod"/>
            </a:pPr>
            <a:r>
              <a:rPr lang="nb-NO" sz="1600" dirty="0" err="1"/>
              <a:t>Xpath</a:t>
            </a:r>
            <a:endParaRPr lang="nb-NO" sz="1600" dirty="0"/>
          </a:p>
          <a:p>
            <a:pPr marL="342900" indent="-342900">
              <a:lnSpc>
                <a:spcPct val="110000"/>
              </a:lnSpc>
              <a:buFont typeface="+mj-lt"/>
              <a:buAutoNum type="arabicPeriod"/>
            </a:pPr>
            <a:endParaRPr lang="nb-NO" sz="1600" dirty="0"/>
          </a:p>
          <a:p>
            <a:pPr marL="342900" indent="-342900">
              <a:lnSpc>
                <a:spcPct val="110000"/>
              </a:lnSpc>
              <a:buFont typeface="+mj-lt"/>
              <a:buAutoNum type="arabicPeriod"/>
            </a:pPr>
            <a:endParaRPr lang="nb-NO" sz="1600" dirty="0"/>
          </a:p>
          <a:p>
            <a:pPr marL="0" indent="0">
              <a:lnSpc>
                <a:spcPct val="110000"/>
              </a:lnSpc>
              <a:buNone/>
            </a:pPr>
            <a:r>
              <a:rPr lang="nb-NO" sz="1600" dirty="0"/>
              <a:t>Postman is a "go-to" </a:t>
            </a:r>
            <a:r>
              <a:rPr lang="nb-NO" sz="1600" dirty="0" err="1"/>
              <a:t>tool</a:t>
            </a:r>
            <a:r>
              <a:rPr lang="nb-NO" sz="1600" dirty="0"/>
              <a:t> for </a:t>
            </a:r>
            <a:r>
              <a:rPr lang="nb-NO" sz="1600" dirty="0" err="1"/>
              <a:t>RESTCONF</a:t>
            </a:r>
            <a:r>
              <a:rPr lang="nb-NO" sz="1600" dirty="0"/>
              <a:t> APIs. </a:t>
            </a:r>
            <a:r>
              <a:rPr lang="nb-NO" sz="1600" dirty="0" err="1"/>
              <a:t>Some</a:t>
            </a:r>
            <a:r>
              <a:rPr lang="nb-NO" sz="1600" dirty="0"/>
              <a:t> </a:t>
            </a:r>
            <a:r>
              <a:rPr lang="nb-NO" sz="1600" dirty="0" err="1"/>
              <a:t>examples</a:t>
            </a:r>
            <a:r>
              <a:rPr lang="nb-NO" sz="1600" dirty="0"/>
              <a:t> for </a:t>
            </a:r>
            <a:r>
              <a:rPr lang="nb-NO" sz="1600" dirty="0" err="1"/>
              <a:t>automation</a:t>
            </a:r>
            <a:r>
              <a:rPr lang="nb-NO" sz="1600" dirty="0"/>
              <a:t> is testing and </a:t>
            </a:r>
            <a:r>
              <a:rPr lang="nb-NO" sz="1600" dirty="0" err="1"/>
              <a:t>validating</a:t>
            </a:r>
            <a:r>
              <a:rPr lang="nb-NO" sz="1600" dirty="0"/>
              <a:t> </a:t>
            </a:r>
            <a:r>
              <a:rPr lang="nb-NO" sz="1600" dirty="0" err="1"/>
              <a:t>RESTCONF</a:t>
            </a:r>
            <a:r>
              <a:rPr lang="nb-NO" sz="1600" dirty="0"/>
              <a:t> </a:t>
            </a:r>
            <a:r>
              <a:rPr lang="nb-NO" sz="1600" dirty="0" err="1"/>
              <a:t>calls</a:t>
            </a:r>
            <a:r>
              <a:rPr lang="nb-NO" sz="1600" dirty="0"/>
              <a:t> to IOS-</a:t>
            </a:r>
            <a:r>
              <a:rPr lang="nb-NO" sz="1600" dirty="0" err="1"/>
              <a:t>XE</a:t>
            </a:r>
            <a:r>
              <a:rPr lang="nb-NO" sz="1600" dirty="0"/>
              <a:t> </a:t>
            </a:r>
            <a:r>
              <a:rPr lang="nb-NO" sz="1600" dirty="0" err="1"/>
              <a:t>devices</a:t>
            </a:r>
            <a:r>
              <a:rPr lang="nb-NO" sz="1600" dirty="0"/>
              <a:t> </a:t>
            </a:r>
            <a:r>
              <a:rPr lang="nb-NO" sz="1600" dirty="0" err="1"/>
              <a:t>before</a:t>
            </a:r>
            <a:r>
              <a:rPr lang="nb-NO" sz="1600" dirty="0"/>
              <a:t> </a:t>
            </a:r>
            <a:r>
              <a:rPr lang="nb-NO" sz="1600" dirty="0" err="1"/>
              <a:t>implementing</a:t>
            </a:r>
            <a:r>
              <a:rPr lang="nb-NO" sz="1600" dirty="0"/>
              <a:t> in Python, </a:t>
            </a:r>
            <a:r>
              <a:rPr lang="nb-NO" sz="1600" dirty="0" err="1"/>
              <a:t>Ansible</a:t>
            </a:r>
            <a:r>
              <a:rPr lang="nb-NO" sz="1600" dirty="0"/>
              <a:t>, etc.</a:t>
            </a:r>
          </a:p>
        </p:txBody>
      </p:sp>
      <p:pic>
        <p:nvPicPr>
          <p:cNvPr id="7" name="Picture 6">
            <a:extLst>
              <a:ext uri="{FF2B5EF4-FFF2-40B4-BE49-F238E27FC236}">
                <a16:creationId xmlns:a16="http://schemas.microsoft.com/office/drawing/2014/main" id="{83CB387E-2E96-0175-8283-85AEE2D57F43}"/>
              </a:ext>
            </a:extLst>
          </p:cNvPr>
          <p:cNvPicPr>
            <a:picLocks noChangeAspect="1"/>
          </p:cNvPicPr>
          <p:nvPr/>
        </p:nvPicPr>
        <p:blipFill>
          <a:blip r:embed="rId3"/>
          <a:stretch>
            <a:fillRect/>
          </a:stretch>
        </p:blipFill>
        <p:spPr>
          <a:xfrm>
            <a:off x="3435716" y="599368"/>
            <a:ext cx="8754697" cy="5382376"/>
          </a:xfrm>
          <a:prstGeom prst="rect">
            <a:avLst/>
          </a:prstGeom>
        </p:spPr>
      </p:pic>
      <p:sp>
        <p:nvSpPr>
          <p:cNvPr id="12" name="Left Brace 11">
            <a:extLst>
              <a:ext uri="{FF2B5EF4-FFF2-40B4-BE49-F238E27FC236}">
                <a16:creationId xmlns:a16="http://schemas.microsoft.com/office/drawing/2014/main" id="{84E09058-2A9E-956B-DDA0-CFF43F7D369A}"/>
              </a:ext>
            </a:extLst>
          </p:cNvPr>
          <p:cNvSpPr/>
          <p:nvPr/>
        </p:nvSpPr>
        <p:spPr>
          <a:xfrm rot="5400000">
            <a:off x="5386161" y="334548"/>
            <a:ext cx="237744" cy="1601752"/>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3" name="Left Brace 12">
            <a:extLst>
              <a:ext uri="{FF2B5EF4-FFF2-40B4-BE49-F238E27FC236}">
                <a16:creationId xmlns:a16="http://schemas.microsoft.com/office/drawing/2014/main" id="{F33EC160-998B-F099-4DCC-197CB2889067}"/>
              </a:ext>
            </a:extLst>
          </p:cNvPr>
          <p:cNvSpPr/>
          <p:nvPr/>
        </p:nvSpPr>
        <p:spPr>
          <a:xfrm rot="5400000">
            <a:off x="7071245" y="238920"/>
            <a:ext cx="237744" cy="1768416"/>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5" name="Left Brace 14">
            <a:extLst>
              <a:ext uri="{FF2B5EF4-FFF2-40B4-BE49-F238E27FC236}">
                <a16:creationId xmlns:a16="http://schemas.microsoft.com/office/drawing/2014/main" id="{C9522ED4-94A5-CA48-0A3E-43C6AEF1D7D2}"/>
              </a:ext>
            </a:extLst>
          </p:cNvPr>
          <p:cNvSpPr/>
          <p:nvPr/>
        </p:nvSpPr>
        <p:spPr>
          <a:xfrm rot="5400000">
            <a:off x="9046694" y="19590"/>
            <a:ext cx="237744" cy="2182483"/>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6" name="TextBox 15">
            <a:extLst>
              <a:ext uri="{FF2B5EF4-FFF2-40B4-BE49-F238E27FC236}">
                <a16:creationId xmlns:a16="http://schemas.microsoft.com/office/drawing/2014/main" id="{5A2EE54E-BB63-5EE0-2F9E-2A9A288C9640}"/>
              </a:ext>
            </a:extLst>
          </p:cNvPr>
          <p:cNvSpPr txBox="1"/>
          <p:nvPr/>
        </p:nvSpPr>
        <p:spPr>
          <a:xfrm>
            <a:off x="5332199" y="642012"/>
            <a:ext cx="345668" cy="357996"/>
          </a:xfrm>
          <a:prstGeom prst="rect">
            <a:avLst/>
          </a:prstGeom>
          <a:noFill/>
        </p:spPr>
        <p:txBody>
          <a:bodyPr wrap="none" lIns="90000" tIns="46800" rIns="90000" bIns="46800" rtlCol="0">
            <a:noAutofit/>
          </a:bodyPr>
          <a:lstStyle/>
          <a:p>
            <a:pPr algn="l"/>
            <a:r>
              <a:rPr lang="nb-NO">
                <a:solidFill>
                  <a:schemeClr val="accent1"/>
                </a:solidFill>
              </a:rPr>
              <a:t>1</a:t>
            </a:r>
          </a:p>
        </p:txBody>
      </p:sp>
      <p:sp>
        <p:nvSpPr>
          <p:cNvPr id="17" name="TextBox 16">
            <a:extLst>
              <a:ext uri="{FF2B5EF4-FFF2-40B4-BE49-F238E27FC236}">
                <a16:creationId xmlns:a16="http://schemas.microsoft.com/office/drawing/2014/main" id="{FC223C28-2F90-906C-536E-ADB8C5175E53}"/>
              </a:ext>
            </a:extLst>
          </p:cNvPr>
          <p:cNvSpPr txBox="1"/>
          <p:nvPr/>
        </p:nvSpPr>
        <p:spPr>
          <a:xfrm>
            <a:off x="7017283" y="642012"/>
            <a:ext cx="345668" cy="357996"/>
          </a:xfrm>
          <a:prstGeom prst="rect">
            <a:avLst/>
          </a:prstGeom>
          <a:noFill/>
        </p:spPr>
        <p:txBody>
          <a:bodyPr wrap="none" lIns="90000" tIns="46800" rIns="90000" bIns="46800" rtlCol="0">
            <a:noAutofit/>
          </a:bodyPr>
          <a:lstStyle/>
          <a:p>
            <a:pPr algn="l"/>
            <a:r>
              <a:rPr lang="nb-NO">
                <a:solidFill>
                  <a:schemeClr val="accent1"/>
                </a:solidFill>
              </a:rPr>
              <a:t>2</a:t>
            </a:r>
          </a:p>
        </p:txBody>
      </p:sp>
      <p:sp>
        <p:nvSpPr>
          <p:cNvPr id="18" name="TextBox 17">
            <a:extLst>
              <a:ext uri="{FF2B5EF4-FFF2-40B4-BE49-F238E27FC236}">
                <a16:creationId xmlns:a16="http://schemas.microsoft.com/office/drawing/2014/main" id="{7906B85B-461C-D423-12A1-ECC7289881EA}"/>
              </a:ext>
            </a:extLst>
          </p:cNvPr>
          <p:cNvSpPr txBox="1"/>
          <p:nvPr/>
        </p:nvSpPr>
        <p:spPr>
          <a:xfrm>
            <a:off x="8992732" y="642012"/>
            <a:ext cx="345668" cy="357996"/>
          </a:xfrm>
          <a:prstGeom prst="rect">
            <a:avLst/>
          </a:prstGeom>
          <a:noFill/>
        </p:spPr>
        <p:txBody>
          <a:bodyPr wrap="none" lIns="90000" tIns="46800" rIns="90000" bIns="46800" rtlCol="0">
            <a:noAutofit/>
          </a:bodyPr>
          <a:lstStyle/>
          <a:p>
            <a:pPr algn="l"/>
            <a:r>
              <a:rPr lang="nb-NO">
                <a:solidFill>
                  <a:schemeClr val="accent1"/>
                </a:solidFill>
              </a:rPr>
              <a:t>3</a:t>
            </a:r>
          </a:p>
        </p:txBody>
      </p:sp>
      <p:sp>
        <p:nvSpPr>
          <p:cNvPr id="3" name="Footer Placeholder 6">
            <a:extLst>
              <a:ext uri="{FF2B5EF4-FFF2-40B4-BE49-F238E27FC236}">
                <a16:creationId xmlns:a16="http://schemas.microsoft.com/office/drawing/2014/main" id="{F8FD1B85-22DC-934D-5228-6D7B720E5FD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802F7DCE-DF15-C44E-DF61-F162389FA51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378290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Workspace</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49BCFA56-C595-405B-D07A-1AC760A79995}"/>
              </a:ext>
            </a:extLst>
          </p:cNvPr>
          <p:cNvPicPr>
            <a:picLocks noChangeAspect="1"/>
          </p:cNvPicPr>
          <p:nvPr/>
        </p:nvPicPr>
        <p:blipFill>
          <a:blip r:embed="rId3"/>
          <a:stretch>
            <a:fillRect/>
          </a:stretch>
        </p:blipFill>
        <p:spPr>
          <a:xfrm>
            <a:off x="540000" y="972000"/>
            <a:ext cx="3248478" cy="885949"/>
          </a:xfrm>
          <a:prstGeom prst="rect">
            <a:avLst/>
          </a:prstGeom>
        </p:spPr>
      </p:pic>
      <p:pic>
        <p:nvPicPr>
          <p:cNvPr id="9" name="Picture 8">
            <a:extLst>
              <a:ext uri="{FF2B5EF4-FFF2-40B4-BE49-F238E27FC236}">
                <a16:creationId xmlns:a16="http://schemas.microsoft.com/office/drawing/2014/main" id="{777C13A7-538E-EE89-5A23-9FDDABBA193F}"/>
              </a:ext>
            </a:extLst>
          </p:cNvPr>
          <p:cNvPicPr>
            <a:picLocks noChangeAspect="1"/>
          </p:cNvPicPr>
          <p:nvPr/>
        </p:nvPicPr>
        <p:blipFill>
          <a:blip r:embed="rId4"/>
          <a:stretch>
            <a:fillRect/>
          </a:stretch>
        </p:blipFill>
        <p:spPr>
          <a:xfrm>
            <a:off x="540000" y="2328504"/>
            <a:ext cx="2310844" cy="3644271"/>
          </a:xfrm>
          <a:prstGeom prst="rect">
            <a:avLst/>
          </a:prstGeom>
        </p:spPr>
      </p:pic>
      <p:pic>
        <p:nvPicPr>
          <p:cNvPr id="11" name="Picture 10">
            <a:extLst>
              <a:ext uri="{FF2B5EF4-FFF2-40B4-BE49-F238E27FC236}">
                <a16:creationId xmlns:a16="http://schemas.microsoft.com/office/drawing/2014/main" id="{4A0B84DF-B065-8FAF-2AE8-0ABADDB89BAA}"/>
              </a:ext>
            </a:extLst>
          </p:cNvPr>
          <p:cNvPicPr>
            <a:picLocks noChangeAspect="1"/>
          </p:cNvPicPr>
          <p:nvPr/>
        </p:nvPicPr>
        <p:blipFill>
          <a:blip r:embed="rId5"/>
          <a:stretch>
            <a:fillRect/>
          </a:stretch>
        </p:blipFill>
        <p:spPr>
          <a:xfrm>
            <a:off x="4540115" y="2328505"/>
            <a:ext cx="2210055" cy="3557496"/>
          </a:xfrm>
          <a:prstGeom prst="rect">
            <a:avLst/>
          </a:prstGeom>
        </p:spPr>
      </p:pic>
      <p:cxnSp>
        <p:nvCxnSpPr>
          <p:cNvPr id="12" name="Straight Arrow Connector 11">
            <a:extLst>
              <a:ext uri="{FF2B5EF4-FFF2-40B4-BE49-F238E27FC236}">
                <a16:creationId xmlns:a16="http://schemas.microsoft.com/office/drawing/2014/main" id="{99AE8916-9758-29C7-A907-AEB8A135DAFC}"/>
              </a:ext>
            </a:extLst>
          </p:cNvPr>
          <p:cNvCxnSpPr>
            <a:cxnSpLocks/>
          </p:cNvCxnSpPr>
          <p:nvPr/>
        </p:nvCxnSpPr>
        <p:spPr>
          <a:xfrm flipH="1">
            <a:off x="2103906" y="1650700"/>
            <a:ext cx="1061049" cy="6778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0AE26C64-5652-C940-267A-AC37D6743272}"/>
              </a:ext>
            </a:extLst>
          </p:cNvPr>
          <p:cNvCxnSpPr>
            <a:cxnSpLocks/>
          </p:cNvCxnSpPr>
          <p:nvPr/>
        </p:nvCxnSpPr>
        <p:spPr>
          <a:xfrm flipV="1">
            <a:off x="2634430" y="2536426"/>
            <a:ext cx="1905685" cy="32357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73155E44-CB80-5100-9BCB-18F39E2E999D}"/>
              </a:ext>
            </a:extLst>
          </p:cNvPr>
          <p:cNvPicPr>
            <a:picLocks noChangeAspect="1"/>
          </p:cNvPicPr>
          <p:nvPr/>
        </p:nvPicPr>
        <p:blipFill>
          <a:blip r:embed="rId6"/>
          <a:stretch>
            <a:fillRect/>
          </a:stretch>
        </p:blipFill>
        <p:spPr>
          <a:xfrm>
            <a:off x="8617241" y="2036494"/>
            <a:ext cx="3247059" cy="1510664"/>
          </a:xfrm>
          <a:prstGeom prst="rect">
            <a:avLst/>
          </a:prstGeom>
        </p:spPr>
      </p:pic>
      <p:cxnSp>
        <p:nvCxnSpPr>
          <p:cNvPr id="19" name="Straight Arrow Connector 18">
            <a:extLst>
              <a:ext uri="{FF2B5EF4-FFF2-40B4-BE49-F238E27FC236}">
                <a16:creationId xmlns:a16="http://schemas.microsoft.com/office/drawing/2014/main" id="{6FCF9A0D-203B-2D9B-06A2-37AC4F81F677}"/>
              </a:ext>
            </a:extLst>
          </p:cNvPr>
          <p:cNvCxnSpPr>
            <a:cxnSpLocks/>
          </p:cNvCxnSpPr>
          <p:nvPr/>
        </p:nvCxnSpPr>
        <p:spPr>
          <a:xfrm flipV="1">
            <a:off x="6609956" y="3213100"/>
            <a:ext cx="1962544" cy="25209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946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14943564"/>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he distance between the headline and the start of the body copy is always constant.…">
            <a:extLst>
              <a:ext uri="{FF2B5EF4-FFF2-40B4-BE49-F238E27FC236}">
                <a16:creationId xmlns:a16="http://schemas.microsoft.com/office/drawing/2014/main" id="{F01BE91C-44DB-2060-582F-FD0F5B78ACA7}"/>
              </a:ext>
            </a:extLst>
          </p:cNvPr>
          <p:cNvSpPr txBox="1">
            <a:spLocks noGrp="1"/>
          </p:cNvSpPr>
          <p:nvPr>
            <p:ph idx="1"/>
          </p:nvPr>
        </p:nvSpPr>
        <p:spPr>
          <a:xfrm>
            <a:off x="540000" y="972000"/>
            <a:ext cx="11109600" cy="4838400"/>
          </a:xfrm>
        </p:spPr>
        <p:txBody>
          <a:bodyPr>
            <a:normAutofit/>
          </a:bodyPr>
          <a:lstStyle/>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Activate</a:t>
            </a:r>
            <a:r>
              <a:rPr lang="nb-NO" sz="1600"/>
              <a:t> </a:t>
            </a:r>
            <a:r>
              <a:rPr lang="nb-NO" sz="1600" err="1"/>
              <a:t>the</a:t>
            </a:r>
            <a:r>
              <a:rPr lang="nb-NO" sz="1600"/>
              <a:t> </a:t>
            </a:r>
            <a:r>
              <a:rPr lang="nb-NO" sz="1600" err="1"/>
              <a:t>new</a:t>
            </a:r>
            <a:r>
              <a:rPr lang="nb-NO" sz="1600"/>
              <a:t> </a:t>
            </a:r>
            <a:r>
              <a:rPr lang="nb-NO" sz="1600" err="1"/>
              <a:t>environment</a:t>
            </a:r>
            <a:r>
              <a:rPr lang="nb-NO" sz="1600"/>
              <a:t>       ... and </a:t>
            </a:r>
            <a:r>
              <a:rPr lang="nb-NO" sz="1600" err="1"/>
              <a:t>create</a:t>
            </a:r>
            <a:r>
              <a:rPr lang="nb-NO" sz="1600"/>
              <a:t> </a:t>
            </a:r>
            <a:r>
              <a:rPr lang="nb-NO" sz="1600" err="1"/>
              <a:t>some</a:t>
            </a:r>
            <a:r>
              <a:rPr lang="nb-NO" sz="1600"/>
              <a:t> variables</a:t>
            </a:r>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Environment</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810A6DB4-6264-6832-D731-99862E48FB13}"/>
              </a:ext>
            </a:extLst>
          </p:cNvPr>
          <p:cNvPicPr>
            <a:picLocks noChangeAspect="1"/>
          </p:cNvPicPr>
          <p:nvPr/>
        </p:nvPicPr>
        <p:blipFill>
          <a:blip r:embed="rId3"/>
          <a:stretch>
            <a:fillRect/>
          </a:stretch>
        </p:blipFill>
        <p:spPr>
          <a:xfrm>
            <a:off x="540000" y="1042848"/>
            <a:ext cx="3524742" cy="1991003"/>
          </a:xfrm>
          <a:prstGeom prst="rect">
            <a:avLst/>
          </a:prstGeom>
        </p:spPr>
      </p:pic>
      <p:cxnSp>
        <p:nvCxnSpPr>
          <p:cNvPr id="8" name="Straight Arrow Connector 7">
            <a:extLst>
              <a:ext uri="{FF2B5EF4-FFF2-40B4-BE49-F238E27FC236}">
                <a16:creationId xmlns:a16="http://schemas.microsoft.com/office/drawing/2014/main" id="{0809E623-D392-BB73-D2A0-E98FD843CCC5}"/>
              </a:ext>
            </a:extLst>
          </p:cNvPr>
          <p:cNvCxnSpPr>
            <a:cxnSpLocks/>
          </p:cNvCxnSpPr>
          <p:nvPr/>
        </p:nvCxnSpPr>
        <p:spPr>
          <a:xfrm>
            <a:off x="1612900" y="1574800"/>
            <a:ext cx="3067676" cy="635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Rectangle: Rounded Corners 9">
            <a:extLst>
              <a:ext uri="{FF2B5EF4-FFF2-40B4-BE49-F238E27FC236}">
                <a16:creationId xmlns:a16="http://schemas.microsoft.com/office/drawing/2014/main" id="{77ED7EAE-5FE2-B0F2-32A7-0268EE010298}"/>
              </a:ext>
            </a:extLst>
          </p:cNvPr>
          <p:cNvSpPr/>
          <p:nvPr/>
        </p:nvSpPr>
        <p:spPr>
          <a:xfrm>
            <a:off x="442686" y="1843314"/>
            <a:ext cx="791028" cy="63862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3E8336CD-028F-9C8F-2BFF-11BEFF8B2D0B}"/>
              </a:ext>
            </a:extLst>
          </p:cNvPr>
          <p:cNvSpPr/>
          <p:nvPr/>
        </p:nvSpPr>
        <p:spPr>
          <a:xfrm>
            <a:off x="1312636" y="1416050"/>
            <a:ext cx="300264"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13" name="Picture 12">
            <a:extLst>
              <a:ext uri="{FF2B5EF4-FFF2-40B4-BE49-F238E27FC236}">
                <a16:creationId xmlns:a16="http://schemas.microsoft.com/office/drawing/2014/main" id="{061043A3-B002-9822-BE8B-C25A020848BA}"/>
              </a:ext>
            </a:extLst>
          </p:cNvPr>
          <p:cNvPicPr>
            <a:picLocks noChangeAspect="1"/>
          </p:cNvPicPr>
          <p:nvPr/>
        </p:nvPicPr>
        <p:blipFill>
          <a:blip r:embed="rId4"/>
          <a:stretch>
            <a:fillRect/>
          </a:stretch>
        </p:blipFill>
        <p:spPr>
          <a:xfrm>
            <a:off x="4680576" y="995216"/>
            <a:ext cx="2410161" cy="2038635"/>
          </a:xfrm>
          <a:prstGeom prst="rect">
            <a:avLst/>
          </a:prstGeom>
        </p:spPr>
      </p:pic>
      <p:pic>
        <p:nvPicPr>
          <p:cNvPr id="16" name="Picture 15">
            <a:extLst>
              <a:ext uri="{FF2B5EF4-FFF2-40B4-BE49-F238E27FC236}">
                <a16:creationId xmlns:a16="http://schemas.microsoft.com/office/drawing/2014/main" id="{4DF79986-43D0-3D1B-AF51-868DEADCE020}"/>
              </a:ext>
            </a:extLst>
          </p:cNvPr>
          <p:cNvPicPr>
            <a:picLocks noChangeAspect="1"/>
          </p:cNvPicPr>
          <p:nvPr/>
        </p:nvPicPr>
        <p:blipFill>
          <a:blip r:embed="rId5"/>
          <a:stretch>
            <a:fillRect/>
          </a:stretch>
        </p:blipFill>
        <p:spPr>
          <a:xfrm>
            <a:off x="8424121" y="972000"/>
            <a:ext cx="3096057" cy="2048161"/>
          </a:xfrm>
          <a:prstGeom prst="rect">
            <a:avLst/>
          </a:prstGeom>
        </p:spPr>
      </p:pic>
      <p:cxnSp>
        <p:nvCxnSpPr>
          <p:cNvPr id="17" name="Straight Arrow Connector 16">
            <a:extLst>
              <a:ext uri="{FF2B5EF4-FFF2-40B4-BE49-F238E27FC236}">
                <a16:creationId xmlns:a16="http://schemas.microsoft.com/office/drawing/2014/main" id="{7F3AECFC-EAF4-CA81-C6A2-AFFABD641BB5}"/>
              </a:ext>
            </a:extLst>
          </p:cNvPr>
          <p:cNvCxnSpPr>
            <a:cxnSpLocks/>
          </p:cNvCxnSpPr>
          <p:nvPr/>
        </p:nvCxnSpPr>
        <p:spPr>
          <a:xfrm>
            <a:off x="5885656" y="1689641"/>
            <a:ext cx="2763044" cy="635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945B8550-9104-7894-8DBA-D35EA654BB6B}"/>
              </a:ext>
            </a:extLst>
          </p:cNvPr>
          <p:cNvPicPr>
            <a:picLocks noChangeAspect="1"/>
          </p:cNvPicPr>
          <p:nvPr/>
        </p:nvPicPr>
        <p:blipFill>
          <a:blip r:embed="rId6"/>
          <a:stretch>
            <a:fillRect/>
          </a:stretch>
        </p:blipFill>
        <p:spPr>
          <a:xfrm>
            <a:off x="540000" y="3483949"/>
            <a:ext cx="3553321" cy="2476846"/>
          </a:xfrm>
          <a:prstGeom prst="rect">
            <a:avLst/>
          </a:prstGeom>
        </p:spPr>
      </p:pic>
      <p:sp>
        <p:nvSpPr>
          <p:cNvPr id="21" name="Rectangle: Rounded Corners 20">
            <a:extLst>
              <a:ext uri="{FF2B5EF4-FFF2-40B4-BE49-F238E27FC236}">
                <a16:creationId xmlns:a16="http://schemas.microsoft.com/office/drawing/2014/main" id="{2F9A712B-EA00-B16A-78E5-582E38C430FF}"/>
              </a:ext>
            </a:extLst>
          </p:cNvPr>
          <p:cNvSpPr/>
          <p:nvPr/>
        </p:nvSpPr>
        <p:spPr>
          <a:xfrm>
            <a:off x="3370036" y="3937000"/>
            <a:ext cx="300264"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8E6DD217-48A6-3D1E-30FF-D8FC04D0F012}"/>
              </a:ext>
            </a:extLst>
          </p:cNvPr>
          <p:cNvSpPr/>
          <p:nvPr/>
        </p:nvSpPr>
        <p:spPr>
          <a:xfrm>
            <a:off x="917122" y="5283200"/>
            <a:ext cx="2452914" cy="35138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24" name="Straight Arrow Connector 23">
            <a:extLst>
              <a:ext uri="{FF2B5EF4-FFF2-40B4-BE49-F238E27FC236}">
                <a16:creationId xmlns:a16="http://schemas.microsoft.com/office/drawing/2014/main" id="{33743EE0-974A-D565-6CBE-D835018285DC}"/>
              </a:ext>
            </a:extLst>
          </p:cNvPr>
          <p:cNvCxnSpPr>
            <a:cxnSpLocks/>
          </p:cNvCxnSpPr>
          <p:nvPr/>
        </p:nvCxnSpPr>
        <p:spPr>
          <a:xfrm flipH="1">
            <a:off x="2559050" y="4210591"/>
            <a:ext cx="873610" cy="10726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4" name="Picture 33">
            <a:extLst>
              <a:ext uri="{FF2B5EF4-FFF2-40B4-BE49-F238E27FC236}">
                <a16:creationId xmlns:a16="http://schemas.microsoft.com/office/drawing/2014/main" id="{824CF0E1-3C82-2457-7A38-5A1320A9A117}"/>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680576" y="3484599"/>
            <a:ext cx="6969334" cy="2475546"/>
          </a:xfrm>
          <a:prstGeom prst="rect">
            <a:avLst/>
          </a:prstGeom>
        </p:spPr>
      </p:pic>
    </p:spTree>
    <p:extLst>
      <p:ext uri="{BB962C8B-B14F-4D97-AF65-F5344CB8AC3E}">
        <p14:creationId xmlns:p14="http://schemas.microsoft.com/office/powerpoint/2010/main" val="1236723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Collectio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7" name="Picture 6">
            <a:extLst>
              <a:ext uri="{FF2B5EF4-FFF2-40B4-BE49-F238E27FC236}">
                <a16:creationId xmlns:a16="http://schemas.microsoft.com/office/drawing/2014/main" id="{D270A669-DD81-7E28-5FED-586D5E20D301}"/>
              </a:ext>
            </a:extLst>
          </p:cNvPr>
          <p:cNvPicPr>
            <a:picLocks noChangeAspect="1"/>
          </p:cNvPicPr>
          <p:nvPr/>
        </p:nvPicPr>
        <p:blipFill>
          <a:blip r:embed="rId3"/>
          <a:stretch>
            <a:fillRect/>
          </a:stretch>
        </p:blipFill>
        <p:spPr>
          <a:xfrm>
            <a:off x="540000" y="1047600"/>
            <a:ext cx="3229426" cy="1171739"/>
          </a:xfrm>
          <a:prstGeom prst="rect">
            <a:avLst/>
          </a:prstGeom>
        </p:spPr>
      </p:pic>
      <p:cxnSp>
        <p:nvCxnSpPr>
          <p:cNvPr id="8" name="Straight Arrow Connector 7">
            <a:extLst>
              <a:ext uri="{FF2B5EF4-FFF2-40B4-BE49-F238E27FC236}">
                <a16:creationId xmlns:a16="http://schemas.microsoft.com/office/drawing/2014/main" id="{E82D89F0-8631-AF82-B3B7-0F64B54EE1B5}"/>
              </a:ext>
            </a:extLst>
          </p:cNvPr>
          <p:cNvCxnSpPr>
            <a:cxnSpLocks/>
          </p:cNvCxnSpPr>
          <p:nvPr/>
        </p:nvCxnSpPr>
        <p:spPr>
          <a:xfrm>
            <a:off x="1612900" y="1657891"/>
            <a:ext cx="323850" cy="30179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CA0B8F57-C785-7ED7-75A2-B61F4152EC1C}"/>
              </a:ext>
            </a:extLst>
          </p:cNvPr>
          <p:cNvSpPr/>
          <p:nvPr/>
        </p:nvSpPr>
        <p:spPr>
          <a:xfrm>
            <a:off x="444500" y="1426901"/>
            <a:ext cx="791028" cy="63862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F997FC19-E381-D98F-81A5-EB4D94CF74AB}"/>
              </a:ext>
            </a:extLst>
          </p:cNvPr>
          <p:cNvSpPr/>
          <p:nvPr/>
        </p:nvSpPr>
        <p:spPr>
          <a:xfrm>
            <a:off x="1312636" y="1499141"/>
            <a:ext cx="300264"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13" name="Picture 12">
            <a:extLst>
              <a:ext uri="{FF2B5EF4-FFF2-40B4-BE49-F238E27FC236}">
                <a16:creationId xmlns:a16="http://schemas.microsoft.com/office/drawing/2014/main" id="{C1E9FDD8-2702-0576-73BE-828D8198DCFB}"/>
              </a:ext>
            </a:extLst>
          </p:cNvPr>
          <p:cNvPicPr>
            <a:picLocks noChangeAspect="1"/>
          </p:cNvPicPr>
          <p:nvPr/>
        </p:nvPicPr>
        <p:blipFill>
          <a:blip r:embed="rId4"/>
          <a:stretch>
            <a:fillRect/>
          </a:stretch>
        </p:blipFill>
        <p:spPr>
          <a:xfrm>
            <a:off x="4546877" y="1398504"/>
            <a:ext cx="1257475" cy="695422"/>
          </a:xfrm>
          <a:prstGeom prst="rect">
            <a:avLst/>
          </a:prstGeom>
        </p:spPr>
      </p:pic>
      <p:cxnSp>
        <p:nvCxnSpPr>
          <p:cNvPr id="14" name="Straight Arrow Connector 13">
            <a:extLst>
              <a:ext uri="{FF2B5EF4-FFF2-40B4-BE49-F238E27FC236}">
                <a16:creationId xmlns:a16="http://schemas.microsoft.com/office/drawing/2014/main" id="{B2C9EDD1-F9A4-636D-A7D1-7E8A19E2AC32}"/>
              </a:ext>
            </a:extLst>
          </p:cNvPr>
          <p:cNvCxnSpPr>
            <a:cxnSpLocks/>
          </p:cNvCxnSpPr>
          <p:nvPr/>
        </p:nvCxnSpPr>
        <p:spPr>
          <a:xfrm flipV="1">
            <a:off x="2686050" y="1876835"/>
            <a:ext cx="1911350" cy="1163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7" name="Picture 16">
            <a:extLst>
              <a:ext uri="{FF2B5EF4-FFF2-40B4-BE49-F238E27FC236}">
                <a16:creationId xmlns:a16="http://schemas.microsoft.com/office/drawing/2014/main" id="{A5E4FFA0-B255-C8A8-4BB6-FF985E86FD5E}"/>
              </a:ext>
            </a:extLst>
          </p:cNvPr>
          <p:cNvPicPr>
            <a:picLocks noChangeAspect="1"/>
          </p:cNvPicPr>
          <p:nvPr/>
        </p:nvPicPr>
        <p:blipFill>
          <a:blip r:embed="rId5"/>
          <a:stretch>
            <a:fillRect/>
          </a:stretch>
        </p:blipFill>
        <p:spPr>
          <a:xfrm>
            <a:off x="6280256" y="3244868"/>
            <a:ext cx="3000794" cy="1533739"/>
          </a:xfrm>
          <a:prstGeom prst="rect">
            <a:avLst/>
          </a:prstGeom>
        </p:spPr>
      </p:pic>
      <p:sp>
        <p:nvSpPr>
          <p:cNvPr id="18" name="Rectangle: Rounded Corners 17">
            <a:extLst>
              <a:ext uri="{FF2B5EF4-FFF2-40B4-BE49-F238E27FC236}">
                <a16:creationId xmlns:a16="http://schemas.microsoft.com/office/drawing/2014/main" id="{590BE1AA-95AF-43A9-954A-A3E79A728521}"/>
              </a:ext>
            </a:extLst>
          </p:cNvPr>
          <p:cNvSpPr/>
          <p:nvPr/>
        </p:nvSpPr>
        <p:spPr>
          <a:xfrm>
            <a:off x="7214816" y="4287311"/>
            <a:ext cx="906689" cy="273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pic>
        <p:nvPicPr>
          <p:cNvPr id="20" name="Picture 19">
            <a:extLst>
              <a:ext uri="{FF2B5EF4-FFF2-40B4-BE49-F238E27FC236}">
                <a16:creationId xmlns:a16="http://schemas.microsoft.com/office/drawing/2014/main" id="{0A79E278-D5BD-742B-BF88-C0E91A8CEE9B}"/>
              </a:ext>
            </a:extLst>
          </p:cNvPr>
          <p:cNvPicPr>
            <a:picLocks noChangeAspect="1"/>
          </p:cNvPicPr>
          <p:nvPr/>
        </p:nvPicPr>
        <p:blipFill>
          <a:blip r:embed="rId6"/>
          <a:stretch>
            <a:fillRect/>
          </a:stretch>
        </p:blipFill>
        <p:spPr>
          <a:xfrm>
            <a:off x="540000" y="2422509"/>
            <a:ext cx="4236626" cy="3455614"/>
          </a:xfrm>
          <a:prstGeom prst="rect">
            <a:avLst/>
          </a:prstGeom>
        </p:spPr>
      </p:pic>
      <p:cxnSp>
        <p:nvCxnSpPr>
          <p:cNvPr id="21" name="Straight Arrow Connector 20">
            <a:extLst>
              <a:ext uri="{FF2B5EF4-FFF2-40B4-BE49-F238E27FC236}">
                <a16:creationId xmlns:a16="http://schemas.microsoft.com/office/drawing/2014/main" id="{4545AB64-B20A-E863-7ABA-53198735F8F7}"/>
              </a:ext>
            </a:extLst>
          </p:cNvPr>
          <p:cNvCxnSpPr>
            <a:cxnSpLocks/>
          </p:cNvCxnSpPr>
          <p:nvPr/>
        </p:nvCxnSpPr>
        <p:spPr>
          <a:xfrm flipH="1">
            <a:off x="1655112" y="2017838"/>
            <a:ext cx="3249668" cy="7922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175B051E-8FDE-350B-CB11-7D41DDF7FD6F}"/>
              </a:ext>
            </a:extLst>
          </p:cNvPr>
          <p:cNvCxnSpPr>
            <a:cxnSpLocks/>
          </p:cNvCxnSpPr>
          <p:nvPr/>
        </p:nvCxnSpPr>
        <p:spPr>
          <a:xfrm>
            <a:off x="1612900" y="3048574"/>
            <a:ext cx="42212" cy="4566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Rectangle: Rounded Corners 26">
            <a:extLst>
              <a:ext uri="{FF2B5EF4-FFF2-40B4-BE49-F238E27FC236}">
                <a16:creationId xmlns:a16="http://schemas.microsoft.com/office/drawing/2014/main" id="{E23DE15B-3418-D2F5-F10C-CF3DA7AA664D}"/>
              </a:ext>
            </a:extLst>
          </p:cNvPr>
          <p:cNvSpPr/>
          <p:nvPr/>
        </p:nvSpPr>
        <p:spPr>
          <a:xfrm>
            <a:off x="671740" y="3518036"/>
            <a:ext cx="13983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28" name="Straight Arrow Connector 27">
            <a:extLst>
              <a:ext uri="{FF2B5EF4-FFF2-40B4-BE49-F238E27FC236}">
                <a16:creationId xmlns:a16="http://schemas.microsoft.com/office/drawing/2014/main" id="{6E564CBD-0B1D-0213-9520-8A09EB07F7F0}"/>
              </a:ext>
            </a:extLst>
          </p:cNvPr>
          <p:cNvCxnSpPr>
            <a:cxnSpLocks/>
          </p:cNvCxnSpPr>
          <p:nvPr/>
        </p:nvCxnSpPr>
        <p:spPr>
          <a:xfrm>
            <a:off x="1462768" y="3833784"/>
            <a:ext cx="1121682" cy="13795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Rectangle: Rounded Corners 29">
            <a:extLst>
              <a:ext uri="{FF2B5EF4-FFF2-40B4-BE49-F238E27FC236}">
                <a16:creationId xmlns:a16="http://schemas.microsoft.com/office/drawing/2014/main" id="{B7F5CD23-D055-33E3-2089-A3EA205C4EA2}"/>
              </a:ext>
            </a:extLst>
          </p:cNvPr>
          <p:cNvSpPr/>
          <p:nvPr/>
        </p:nvSpPr>
        <p:spPr>
          <a:xfrm>
            <a:off x="2513240" y="5238698"/>
            <a:ext cx="1957160" cy="69220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31" name="Straight Arrow Connector 30">
            <a:extLst>
              <a:ext uri="{FF2B5EF4-FFF2-40B4-BE49-F238E27FC236}">
                <a16:creationId xmlns:a16="http://schemas.microsoft.com/office/drawing/2014/main" id="{BA182186-BAA6-D8BB-ACCB-DA54242A624B}"/>
              </a:ext>
            </a:extLst>
          </p:cNvPr>
          <p:cNvCxnSpPr>
            <a:cxnSpLocks/>
            <a:endCxn id="18" idx="1"/>
          </p:cNvCxnSpPr>
          <p:nvPr/>
        </p:nvCxnSpPr>
        <p:spPr>
          <a:xfrm flipV="1">
            <a:off x="4483409" y="4424107"/>
            <a:ext cx="2731407" cy="11606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17717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7E3B446-8F26-F86E-3D88-6C0B51B47B09}"/>
              </a:ext>
            </a:extLst>
          </p:cNvPr>
          <p:cNvPicPr>
            <a:picLocks noChangeAspect="1"/>
          </p:cNvPicPr>
          <p:nvPr/>
        </p:nvPicPr>
        <p:blipFill>
          <a:blip r:embed="rId3"/>
          <a:stretch>
            <a:fillRect/>
          </a:stretch>
        </p:blipFill>
        <p:spPr>
          <a:xfrm>
            <a:off x="7472855" y="473607"/>
            <a:ext cx="1905266" cy="476316"/>
          </a:xfrm>
          <a:prstGeom prst="rect">
            <a:avLst/>
          </a:prstGeom>
        </p:spPr>
      </p:pic>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A word about saving</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cxnSp>
        <p:nvCxnSpPr>
          <p:cNvPr id="8" name="Straight Arrow Connector 7">
            <a:extLst>
              <a:ext uri="{FF2B5EF4-FFF2-40B4-BE49-F238E27FC236}">
                <a16:creationId xmlns:a16="http://schemas.microsoft.com/office/drawing/2014/main" id="{E82D89F0-8631-AF82-B3B7-0F64B54EE1B5}"/>
              </a:ext>
            </a:extLst>
          </p:cNvPr>
          <p:cNvCxnSpPr>
            <a:cxnSpLocks/>
          </p:cNvCxnSpPr>
          <p:nvPr/>
        </p:nvCxnSpPr>
        <p:spPr>
          <a:xfrm flipV="1">
            <a:off x="7310930" y="702000"/>
            <a:ext cx="1643884" cy="44424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2A23A44E-76D4-4B17-19C7-6AB277A13A1C}"/>
              </a:ext>
            </a:extLst>
          </p:cNvPr>
          <p:cNvSpPr txBox="1"/>
          <p:nvPr/>
        </p:nvSpPr>
        <p:spPr>
          <a:xfrm>
            <a:off x="446164" y="990944"/>
            <a:ext cx="7026691" cy="3046475"/>
          </a:xfrm>
          <a:prstGeom prst="rect">
            <a:avLst/>
          </a:prstGeom>
          <a:noFill/>
        </p:spPr>
        <p:txBody>
          <a:bodyPr wrap="square">
            <a:spAutoFit/>
          </a:bodyPr>
          <a:lstStyle/>
          <a:p>
            <a:pPr marL="342900" indent="-342900">
              <a:lnSpc>
                <a:spcPct val="110000"/>
              </a:lnSpc>
              <a:buFont typeface="Arial" panose="020B0604020202020204" pitchFamily="34" charset="0"/>
              <a:buChar char="•"/>
            </a:pPr>
            <a:r>
              <a:rPr lang="nb-NO" sz="1600"/>
              <a:t>This </a:t>
            </a:r>
            <a:r>
              <a:rPr lang="nb-NO" sz="1600" err="1"/>
              <a:t>little</a:t>
            </a:r>
            <a:r>
              <a:rPr lang="nb-NO" sz="1600"/>
              <a:t> </a:t>
            </a:r>
            <a:r>
              <a:rPr lang="nb-NO" sz="1600" err="1"/>
              <a:t>orange</a:t>
            </a:r>
            <a:r>
              <a:rPr lang="nb-NO" sz="1600"/>
              <a:t> </a:t>
            </a:r>
            <a:r>
              <a:rPr lang="nb-NO" sz="1600" err="1"/>
              <a:t>dot</a:t>
            </a:r>
            <a:r>
              <a:rPr lang="nb-NO" sz="1600"/>
              <a:t> </a:t>
            </a:r>
            <a:r>
              <a:rPr lang="nb-NO" sz="1600" err="1"/>
              <a:t>means</a:t>
            </a:r>
            <a:r>
              <a:rPr lang="nb-NO" sz="1600"/>
              <a:t> </a:t>
            </a:r>
            <a:r>
              <a:rPr lang="nb-NO" sz="1600" err="1"/>
              <a:t>the</a:t>
            </a:r>
            <a:r>
              <a:rPr lang="nb-NO" sz="1600"/>
              <a:t> file/tab/</a:t>
            </a:r>
            <a:r>
              <a:rPr lang="nb-NO" sz="1600" err="1"/>
              <a:t>whatever</a:t>
            </a:r>
            <a:r>
              <a:rPr lang="nb-NO" sz="1600"/>
              <a:t> is not </a:t>
            </a:r>
            <a:r>
              <a:rPr lang="nb-NO" sz="1600" err="1"/>
              <a:t>saved</a:t>
            </a: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r>
              <a:rPr lang="nb-NO" sz="1600" err="1"/>
              <a:t>Use</a:t>
            </a:r>
            <a:r>
              <a:rPr lang="nb-NO" sz="1600"/>
              <a:t> </a:t>
            </a:r>
            <a:r>
              <a:rPr lang="nb-NO" sz="1600" err="1"/>
              <a:t>Ctrl+S</a:t>
            </a:r>
            <a:r>
              <a:rPr lang="nb-NO" sz="1600"/>
              <a:t> to save </a:t>
            </a:r>
            <a:r>
              <a:rPr lang="nb-NO" sz="1600" err="1"/>
              <a:t>the</a:t>
            </a:r>
            <a:r>
              <a:rPr lang="nb-NO" sz="1600"/>
              <a:t> </a:t>
            </a:r>
            <a:r>
              <a:rPr lang="nb-NO" sz="1600" err="1"/>
              <a:t>current</a:t>
            </a:r>
            <a:r>
              <a:rPr lang="nb-NO" sz="1600"/>
              <a:t> tab, or </a:t>
            </a:r>
            <a:r>
              <a:rPr lang="nb-NO" sz="1600" err="1"/>
              <a:t>click</a:t>
            </a:r>
            <a:r>
              <a:rPr lang="nb-NO" sz="1600"/>
              <a:t> </a:t>
            </a:r>
            <a:r>
              <a:rPr lang="nb-NO" sz="1600" err="1"/>
              <a:t>this</a:t>
            </a:r>
            <a:r>
              <a:rPr lang="nb-NO" sz="1600"/>
              <a:t> </a:t>
            </a:r>
            <a:r>
              <a:rPr lang="nb-NO" sz="1600" err="1"/>
              <a:t>icon</a:t>
            </a: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endParaRPr lang="nb-NO" sz="1600"/>
          </a:p>
          <a:p>
            <a:pPr marL="342900" indent="-342900">
              <a:lnSpc>
                <a:spcPct val="110000"/>
              </a:lnSpc>
              <a:buFont typeface="Arial" panose="020B0604020202020204" pitchFamily="34" charset="0"/>
              <a:buChar char="•"/>
            </a:pPr>
            <a:r>
              <a:rPr lang="nb-NO" sz="1600"/>
              <a:t>An </a:t>
            </a:r>
            <a:r>
              <a:rPr lang="nb-NO" sz="1600" err="1"/>
              <a:t>example</a:t>
            </a:r>
            <a:r>
              <a:rPr lang="nb-NO" sz="1600"/>
              <a:t>: </a:t>
            </a:r>
            <a:r>
              <a:rPr lang="nb-NO" sz="1600" err="1"/>
              <a:t>When</a:t>
            </a:r>
            <a:r>
              <a:rPr lang="nb-NO" sz="1600"/>
              <a:t> </a:t>
            </a:r>
            <a:r>
              <a:rPr lang="nb-NO" sz="1600" err="1"/>
              <a:t>you</a:t>
            </a:r>
            <a:r>
              <a:rPr lang="nb-NO" sz="1600"/>
              <a:t> run a </a:t>
            </a:r>
            <a:r>
              <a:rPr lang="nb-NO" sz="1600" err="1"/>
              <a:t>RESTCONF</a:t>
            </a:r>
            <a:r>
              <a:rPr lang="nb-NO" sz="1600"/>
              <a:t> </a:t>
            </a:r>
            <a:r>
              <a:rPr lang="nb-NO" sz="1600" err="1"/>
              <a:t>call</a:t>
            </a:r>
            <a:r>
              <a:rPr lang="nb-NO" sz="1600"/>
              <a:t> </a:t>
            </a:r>
            <a:r>
              <a:rPr lang="nb-NO" sz="1600" err="1"/>
              <a:t>with</a:t>
            </a:r>
            <a:r>
              <a:rPr lang="nb-NO" sz="1600"/>
              <a:t> variables from an </a:t>
            </a:r>
            <a:r>
              <a:rPr lang="nb-NO" sz="1600" err="1"/>
              <a:t>environment</a:t>
            </a:r>
            <a:r>
              <a:rPr lang="nb-NO" sz="1600"/>
              <a:t>, like </a:t>
            </a:r>
            <a:r>
              <a:rPr lang="nb-NO" sz="1600">
                <a:solidFill>
                  <a:schemeClr val="accent4">
                    <a:lumMod val="75000"/>
                  </a:schemeClr>
                </a:solidFill>
              </a:rPr>
              <a:t>{{host}}</a:t>
            </a:r>
            <a:r>
              <a:rPr lang="nb-NO" sz="1600"/>
              <a:t> or </a:t>
            </a:r>
            <a:r>
              <a:rPr lang="nb-NO" sz="1600">
                <a:solidFill>
                  <a:schemeClr val="accent4">
                    <a:lumMod val="75000"/>
                  </a:schemeClr>
                </a:solidFill>
              </a:rPr>
              <a:t>{{</a:t>
            </a:r>
            <a:r>
              <a:rPr lang="nb-NO" sz="1600" err="1">
                <a:solidFill>
                  <a:schemeClr val="accent4">
                    <a:lumMod val="75000"/>
                  </a:schemeClr>
                </a:solidFill>
              </a:rPr>
              <a:t>password</a:t>
            </a:r>
            <a:r>
              <a:rPr lang="nb-NO" sz="1600">
                <a:solidFill>
                  <a:schemeClr val="accent4">
                    <a:lumMod val="75000"/>
                  </a:schemeClr>
                </a:solidFill>
              </a:rPr>
              <a:t>}}</a:t>
            </a:r>
            <a:r>
              <a:rPr lang="nb-NO" sz="1600"/>
              <a:t> it </a:t>
            </a:r>
            <a:r>
              <a:rPr lang="nb-NO" sz="1600" err="1"/>
              <a:t>will</a:t>
            </a:r>
            <a:r>
              <a:rPr lang="nb-NO" sz="1600"/>
              <a:t> </a:t>
            </a:r>
            <a:r>
              <a:rPr lang="nb-NO" sz="1600" err="1"/>
              <a:t>use</a:t>
            </a:r>
            <a:r>
              <a:rPr lang="nb-NO" sz="1600"/>
              <a:t> </a:t>
            </a:r>
            <a:r>
              <a:rPr lang="nb-NO" sz="1600" err="1"/>
              <a:t>the</a:t>
            </a:r>
            <a:r>
              <a:rPr lang="nb-NO" sz="1600"/>
              <a:t> </a:t>
            </a:r>
            <a:r>
              <a:rPr lang="nb-NO" sz="1600" err="1"/>
              <a:t>value</a:t>
            </a:r>
            <a:r>
              <a:rPr lang="nb-NO" sz="1600"/>
              <a:t> from </a:t>
            </a:r>
            <a:r>
              <a:rPr lang="nb-NO" sz="1600" err="1"/>
              <a:t>your</a:t>
            </a:r>
            <a:r>
              <a:rPr lang="nb-NO" sz="1600"/>
              <a:t> </a:t>
            </a:r>
            <a:r>
              <a:rPr lang="nb-NO" sz="1600" err="1"/>
              <a:t>SAVED</a:t>
            </a:r>
            <a:r>
              <a:rPr lang="nb-NO" sz="1600"/>
              <a:t> file. So </a:t>
            </a:r>
            <a:r>
              <a:rPr lang="nb-NO" sz="1600" err="1"/>
              <a:t>if</a:t>
            </a:r>
            <a:r>
              <a:rPr lang="nb-NO" sz="1600"/>
              <a:t> </a:t>
            </a:r>
            <a:r>
              <a:rPr lang="nb-NO" sz="1600" err="1"/>
              <a:t>you</a:t>
            </a:r>
            <a:r>
              <a:rPr lang="nb-NO" sz="1600"/>
              <a:t> do </a:t>
            </a:r>
            <a:r>
              <a:rPr lang="nb-NO" sz="1600" err="1"/>
              <a:t>changes</a:t>
            </a:r>
            <a:r>
              <a:rPr lang="nb-NO" sz="1600"/>
              <a:t> in </a:t>
            </a:r>
            <a:r>
              <a:rPr lang="nb-NO" sz="1600" err="1"/>
              <a:t>the</a:t>
            </a:r>
            <a:r>
              <a:rPr lang="nb-NO" sz="1600"/>
              <a:t> </a:t>
            </a:r>
            <a:r>
              <a:rPr lang="nb-NO" sz="1600" err="1"/>
              <a:t>environment</a:t>
            </a:r>
            <a:r>
              <a:rPr lang="nb-NO" sz="1600"/>
              <a:t>, </a:t>
            </a:r>
            <a:r>
              <a:rPr lang="nb-NO" sz="1600" err="1"/>
              <a:t>remember</a:t>
            </a:r>
            <a:r>
              <a:rPr lang="nb-NO" sz="1600"/>
              <a:t> to save </a:t>
            </a:r>
            <a:r>
              <a:rPr lang="nb-NO" sz="1600" err="1"/>
              <a:t>the</a:t>
            </a:r>
            <a:r>
              <a:rPr lang="nb-NO" sz="1600"/>
              <a:t> tab</a:t>
            </a:r>
          </a:p>
        </p:txBody>
      </p:sp>
      <p:pic>
        <p:nvPicPr>
          <p:cNvPr id="19" name="Picture 18">
            <a:extLst>
              <a:ext uri="{FF2B5EF4-FFF2-40B4-BE49-F238E27FC236}">
                <a16:creationId xmlns:a16="http://schemas.microsoft.com/office/drawing/2014/main" id="{619274CC-3359-2D31-A0E4-75BFF9458757}"/>
              </a:ext>
            </a:extLst>
          </p:cNvPr>
          <p:cNvPicPr>
            <a:picLocks noChangeAspect="1"/>
          </p:cNvPicPr>
          <p:nvPr/>
        </p:nvPicPr>
        <p:blipFill>
          <a:blip r:embed="rId4"/>
          <a:stretch>
            <a:fillRect/>
          </a:stretch>
        </p:blipFill>
        <p:spPr>
          <a:xfrm>
            <a:off x="6365236" y="1813405"/>
            <a:ext cx="771633" cy="342948"/>
          </a:xfrm>
          <a:prstGeom prst="rect">
            <a:avLst/>
          </a:prstGeom>
        </p:spPr>
      </p:pic>
    </p:spTree>
    <p:extLst>
      <p:ext uri="{BB962C8B-B14F-4D97-AF65-F5344CB8AC3E}">
        <p14:creationId xmlns:p14="http://schemas.microsoft.com/office/powerpoint/2010/main" val="3597784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onfig</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6553006"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Create</a:t>
            </a:r>
            <a:r>
              <a:rPr lang="nb-NO" sz="1600"/>
              <a:t> </a:t>
            </a:r>
            <a:r>
              <a:rPr lang="nb-NO" sz="1600" err="1"/>
              <a:t>the</a:t>
            </a:r>
            <a:r>
              <a:rPr lang="nb-NO" sz="1600"/>
              <a:t> Postman </a:t>
            </a:r>
            <a:r>
              <a:rPr lang="nb-NO" sz="1600" err="1"/>
              <a:t>queries</a:t>
            </a:r>
            <a:r>
              <a:rPr lang="nb-NO" sz="1600"/>
              <a:t> </a:t>
            </a:r>
            <a:r>
              <a:rPr lang="nb-NO" sz="1600" err="1"/>
              <a:t>based</a:t>
            </a:r>
            <a:r>
              <a:rPr lang="nb-NO" sz="1600"/>
              <a:t> </a:t>
            </a:r>
            <a:r>
              <a:rPr lang="nb-NO" sz="1600" err="1"/>
              <a:t>on</a:t>
            </a:r>
            <a:r>
              <a:rPr lang="nb-NO" sz="1600"/>
              <a:t> </a:t>
            </a:r>
            <a:r>
              <a:rPr lang="nb-NO" sz="1600" err="1"/>
              <a:t>the</a:t>
            </a:r>
            <a:r>
              <a:rPr lang="nb-NO" sz="1600"/>
              <a:t> </a:t>
            </a:r>
            <a:r>
              <a:rPr lang="nb-NO" sz="1600" err="1"/>
              <a:t>information</a:t>
            </a:r>
            <a:r>
              <a:rPr lang="nb-NO" sz="1600"/>
              <a:t> </a:t>
            </a:r>
            <a:r>
              <a:rPr lang="nb-NO" sz="1600" err="1"/>
              <a:t>explored</a:t>
            </a:r>
            <a:r>
              <a:rPr lang="nb-NO" sz="1600"/>
              <a:t> from </a:t>
            </a:r>
            <a:r>
              <a:rPr lang="nb-NO" sz="1600" err="1"/>
              <a:t>YANG</a:t>
            </a:r>
            <a:r>
              <a:rPr lang="nb-NO" sz="1600"/>
              <a:t> Suite</a:t>
            </a:r>
          </a:p>
          <a:p>
            <a:pPr lvl="1">
              <a:lnSpc>
                <a:spcPct val="110000"/>
              </a:lnSpc>
            </a:pPr>
            <a:r>
              <a:rPr lang="nb-NO" sz="1400" err="1"/>
              <a:t>Restconf</a:t>
            </a:r>
            <a:r>
              <a:rPr lang="nb-NO" sz="1400"/>
              <a:t> </a:t>
            </a:r>
            <a:r>
              <a:rPr lang="nb-NO" sz="1400" err="1"/>
              <a:t>path</a:t>
            </a:r>
            <a:r>
              <a:rPr lang="nb-NO" sz="1400"/>
              <a:t>: </a:t>
            </a:r>
            <a:r>
              <a:rPr lang="nb-NO" sz="1400" err="1"/>
              <a:t>https</a:t>
            </a:r>
            <a:r>
              <a:rPr lang="nb-NO" sz="1400"/>
              <a:t>://{{host}}/</a:t>
            </a:r>
            <a:r>
              <a:rPr lang="nb-NO" sz="1400" err="1"/>
              <a:t>restconf</a:t>
            </a:r>
            <a:r>
              <a:rPr lang="nb-NO" sz="1400"/>
              <a:t>/data/</a:t>
            </a:r>
          </a:p>
          <a:p>
            <a:pPr lvl="1">
              <a:lnSpc>
                <a:spcPct val="110000"/>
              </a:lnSpc>
            </a:pPr>
            <a:r>
              <a:rPr lang="nb-NO" sz="1400" err="1"/>
              <a:t>YANG-module</a:t>
            </a:r>
            <a:r>
              <a:rPr lang="nb-NO" sz="1400"/>
              <a:t>: Cisco-IOS-</a:t>
            </a:r>
            <a:r>
              <a:rPr lang="nb-NO" sz="1400" err="1"/>
              <a:t>XE</a:t>
            </a:r>
            <a:r>
              <a:rPr lang="nb-NO" sz="1400"/>
              <a:t>-native</a:t>
            </a:r>
          </a:p>
          <a:p>
            <a:pPr lvl="1">
              <a:lnSpc>
                <a:spcPct val="110000"/>
              </a:lnSpc>
            </a:pPr>
            <a:r>
              <a:rPr lang="nb-NO" sz="1400" err="1"/>
              <a:t>Xpath</a:t>
            </a:r>
            <a:r>
              <a:rPr lang="nb-NO" sz="1400"/>
              <a:t>: native</a:t>
            </a:r>
          </a:p>
          <a:p>
            <a:pPr lvl="1">
              <a:lnSpc>
                <a:spcPct val="110000"/>
              </a:lnSpc>
            </a:pPr>
            <a:r>
              <a:rPr lang="nb-NO" sz="1400" err="1"/>
              <a:t>Combined</a:t>
            </a:r>
            <a:r>
              <a:rPr lang="nb-NO" sz="1400"/>
              <a:t> </a:t>
            </a:r>
            <a:r>
              <a:rPr lang="nb-NO" sz="1400" err="1"/>
              <a:t>request</a:t>
            </a:r>
            <a:r>
              <a:rPr lang="nb-NO" sz="1400"/>
              <a:t> </a:t>
            </a:r>
            <a:r>
              <a:rPr lang="nb-NO" sz="1400" err="1"/>
              <a:t>path</a:t>
            </a:r>
            <a:r>
              <a:rPr lang="nb-NO" sz="1400"/>
              <a:t> for </a:t>
            </a:r>
            <a:r>
              <a:rPr lang="nb-NO" sz="1400" err="1"/>
              <a:t>copy-paste</a:t>
            </a:r>
            <a:r>
              <a:rPr lang="nb-NO" sz="1400"/>
              <a:t>: </a:t>
            </a:r>
          </a:p>
        </p:txBody>
      </p:sp>
      <p:pic>
        <p:nvPicPr>
          <p:cNvPr id="16" name="Picture 15">
            <a:extLst>
              <a:ext uri="{FF2B5EF4-FFF2-40B4-BE49-F238E27FC236}">
                <a16:creationId xmlns:a16="http://schemas.microsoft.com/office/drawing/2014/main" id="{9EC9C4B6-6713-57DC-CDF7-4AB82213FA0E}"/>
              </a:ext>
            </a:extLst>
          </p:cNvPr>
          <p:cNvPicPr>
            <a:picLocks noChangeAspect="1"/>
          </p:cNvPicPr>
          <p:nvPr/>
        </p:nvPicPr>
        <p:blipFill>
          <a:blip r:embed="rId3"/>
          <a:stretch>
            <a:fillRect/>
          </a:stretch>
        </p:blipFill>
        <p:spPr>
          <a:xfrm>
            <a:off x="6678986" y="1519490"/>
            <a:ext cx="4649414" cy="1169710"/>
          </a:xfrm>
          <a:prstGeom prst="rect">
            <a:avLst/>
          </a:prstGeom>
        </p:spPr>
      </p:pic>
      <p:pic>
        <p:nvPicPr>
          <p:cNvPr id="20" name="Picture 19">
            <a:extLst>
              <a:ext uri="{FF2B5EF4-FFF2-40B4-BE49-F238E27FC236}">
                <a16:creationId xmlns:a16="http://schemas.microsoft.com/office/drawing/2014/main" id="{8A5E579A-7D44-0A7C-58BD-5B6F159E42F0}"/>
              </a:ext>
            </a:extLst>
          </p:cNvPr>
          <p:cNvPicPr>
            <a:picLocks noChangeAspect="1"/>
          </p:cNvPicPr>
          <p:nvPr/>
        </p:nvPicPr>
        <p:blipFill>
          <a:blip r:embed="rId4"/>
          <a:stretch>
            <a:fillRect/>
          </a:stretch>
        </p:blipFill>
        <p:spPr>
          <a:xfrm>
            <a:off x="990000" y="3536157"/>
            <a:ext cx="4871050" cy="804475"/>
          </a:xfrm>
          <a:prstGeom prst="rect">
            <a:avLst/>
          </a:prstGeom>
        </p:spPr>
      </p:pic>
      <p:pic>
        <p:nvPicPr>
          <p:cNvPr id="24" name="Picture 23">
            <a:extLst>
              <a:ext uri="{FF2B5EF4-FFF2-40B4-BE49-F238E27FC236}">
                <a16:creationId xmlns:a16="http://schemas.microsoft.com/office/drawing/2014/main" id="{6FE53B6D-961A-2176-C25C-3CDF0070DE87}"/>
              </a:ext>
            </a:extLst>
          </p:cNvPr>
          <p:cNvPicPr>
            <a:picLocks noChangeAspect="1"/>
          </p:cNvPicPr>
          <p:nvPr/>
        </p:nvPicPr>
        <p:blipFill>
          <a:blip r:embed="rId5"/>
          <a:stretch>
            <a:fillRect/>
          </a:stretch>
        </p:blipFill>
        <p:spPr>
          <a:xfrm>
            <a:off x="990001" y="4419798"/>
            <a:ext cx="4871050" cy="1466202"/>
          </a:xfrm>
          <a:prstGeom prst="rect">
            <a:avLst/>
          </a:prstGeom>
        </p:spPr>
      </p:pic>
      <p:cxnSp>
        <p:nvCxnSpPr>
          <p:cNvPr id="2" name="Straight Arrow Connector 1">
            <a:extLst>
              <a:ext uri="{FF2B5EF4-FFF2-40B4-BE49-F238E27FC236}">
                <a16:creationId xmlns:a16="http://schemas.microsoft.com/office/drawing/2014/main" id="{F3838632-C318-389B-A421-99F75FBD93F5}"/>
              </a:ext>
            </a:extLst>
          </p:cNvPr>
          <p:cNvCxnSpPr>
            <a:cxnSpLocks/>
          </p:cNvCxnSpPr>
          <p:nvPr/>
        </p:nvCxnSpPr>
        <p:spPr>
          <a:xfrm flipH="1">
            <a:off x="4514850" y="1647719"/>
            <a:ext cx="3808640" cy="656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Rectangle: Rounded Corners 4">
            <a:extLst>
              <a:ext uri="{FF2B5EF4-FFF2-40B4-BE49-F238E27FC236}">
                <a16:creationId xmlns:a16="http://schemas.microsoft.com/office/drawing/2014/main" id="{BF490AA0-638A-A481-74F9-137557083419}"/>
              </a:ext>
            </a:extLst>
          </p:cNvPr>
          <p:cNvSpPr/>
          <p:nvPr/>
        </p:nvSpPr>
        <p:spPr>
          <a:xfrm>
            <a:off x="8323490" y="1506121"/>
            <a:ext cx="13983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8" name="Rectangle: Rounded Corners 7">
            <a:extLst>
              <a:ext uri="{FF2B5EF4-FFF2-40B4-BE49-F238E27FC236}">
                <a16:creationId xmlns:a16="http://schemas.microsoft.com/office/drawing/2014/main" id="{4F5C001A-329A-5C97-3A36-A4A152C0B18D}"/>
              </a:ext>
            </a:extLst>
          </p:cNvPr>
          <p:cNvSpPr/>
          <p:nvPr/>
        </p:nvSpPr>
        <p:spPr>
          <a:xfrm>
            <a:off x="8304513" y="1946471"/>
            <a:ext cx="13983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9" name="Straight Arrow Connector 8">
            <a:extLst>
              <a:ext uri="{FF2B5EF4-FFF2-40B4-BE49-F238E27FC236}">
                <a16:creationId xmlns:a16="http://schemas.microsoft.com/office/drawing/2014/main" id="{A0C3E323-BE57-68A1-017B-F0AE6914118C}"/>
              </a:ext>
            </a:extLst>
          </p:cNvPr>
          <p:cNvCxnSpPr>
            <a:cxnSpLocks/>
          </p:cNvCxnSpPr>
          <p:nvPr/>
        </p:nvCxnSpPr>
        <p:spPr>
          <a:xfrm flipH="1">
            <a:off x="2487540" y="2114608"/>
            <a:ext cx="5816973" cy="5469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1" name="The distance between the headline and the start of the body copy is always constant.…">
            <a:extLst>
              <a:ext uri="{FF2B5EF4-FFF2-40B4-BE49-F238E27FC236}">
                <a16:creationId xmlns:a16="http://schemas.microsoft.com/office/drawing/2014/main" id="{52D1236E-4802-CEC2-BD4D-A6CAA7DD4F85}"/>
              </a:ext>
            </a:extLst>
          </p:cNvPr>
          <p:cNvSpPr txBox="1">
            <a:spLocks/>
          </p:cNvSpPr>
          <p:nvPr/>
        </p:nvSpPr>
        <p:spPr bwMode="gray">
          <a:xfrm>
            <a:off x="10436750" y="625322"/>
            <a:ext cx="1562100" cy="684538"/>
          </a:xfrm>
          <a:prstGeom prst="rect">
            <a:avLst/>
          </a:prstGeom>
        </p:spPr>
        <p:txBody>
          <a:bodyPr vert="horz" lIns="0" tIns="180000" rIns="0" bIns="180000" rtlCol="0">
            <a:normAutofit fontScale="70000" lnSpcReduction="2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Use</a:t>
            </a:r>
            <a:r>
              <a:rPr lang="nb-NO" sz="1600"/>
              <a:t> </a:t>
            </a:r>
            <a:r>
              <a:rPr lang="nb-NO" sz="1600" err="1"/>
              <a:t>without</a:t>
            </a:r>
            <a:r>
              <a:rPr lang="nb-NO" sz="1600"/>
              <a:t> </a:t>
            </a:r>
            <a:r>
              <a:rPr lang="nb-NO" sz="1600" err="1"/>
              <a:t>the</a:t>
            </a:r>
            <a:r>
              <a:rPr lang="nb-NO" sz="1600"/>
              <a:t> forward </a:t>
            </a:r>
            <a:r>
              <a:rPr lang="nb-NO" sz="1600" err="1"/>
              <a:t>slash</a:t>
            </a:r>
            <a:r>
              <a:rPr lang="nb-NO" sz="1600"/>
              <a:t> (/)</a:t>
            </a:r>
          </a:p>
        </p:txBody>
      </p:sp>
      <p:cxnSp>
        <p:nvCxnSpPr>
          <p:cNvPr id="12" name="Straight Arrow Connector 11">
            <a:extLst>
              <a:ext uri="{FF2B5EF4-FFF2-40B4-BE49-F238E27FC236}">
                <a16:creationId xmlns:a16="http://schemas.microsoft.com/office/drawing/2014/main" id="{77C1C8D9-11E6-27F5-83C3-19339006CADF}"/>
              </a:ext>
            </a:extLst>
          </p:cNvPr>
          <p:cNvCxnSpPr>
            <a:cxnSpLocks/>
          </p:cNvCxnSpPr>
          <p:nvPr/>
        </p:nvCxnSpPr>
        <p:spPr>
          <a:xfrm flipH="1">
            <a:off x="9721850" y="1135860"/>
            <a:ext cx="978823" cy="8497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8E3DB78A-889B-FE8A-A870-262BE8307440}"/>
              </a:ext>
            </a:extLst>
          </p:cNvPr>
          <p:cNvPicPr>
            <a:picLocks noChangeAspect="1"/>
          </p:cNvPicPr>
          <p:nvPr/>
        </p:nvPicPr>
        <p:blipFill>
          <a:blip r:embed="rId6"/>
          <a:stretch>
            <a:fillRect/>
          </a:stretch>
        </p:blipFill>
        <p:spPr>
          <a:xfrm>
            <a:off x="6203950" y="4532133"/>
            <a:ext cx="5924408" cy="1456920"/>
          </a:xfrm>
          <a:prstGeom prst="rect">
            <a:avLst/>
          </a:prstGeom>
        </p:spPr>
      </p:pic>
      <p:sp>
        <p:nvSpPr>
          <p:cNvPr id="7" name="TextBox 6">
            <a:extLst>
              <a:ext uri="{FF2B5EF4-FFF2-40B4-BE49-F238E27FC236}">
                <a16:creationId xmlns:a16="http://schemas.microsoft.com/office/drawing/2014/main" id="{4F090534-31BD-8690-581B-B812DD40DD52}"/>
              </a:ext>
            </a:extLst>
          </p:cNvPr>
          <p:cNvSpPr txBox="1"/>
          <p:nvPr/>
        </p:nvSpPr>
        <p:spPr>
          <a:xfrm>
            <a:off x="1230477" y="3129005"/>
            <a:ext cx="5162568" cy="284245"/>
          </a:xfrm>
          <a:prstGeom prst="rect">
            <a:avLst/>
          </a:prstGeom>
          <a:solidFill>
            <a:srgbClr val="212121"/>
          </a:solidFill>
        </p:spPr>
        <p:txBody>
          <a:bodyPr wrap="square">
            <a:spAutoFit/>
          </a:bodyPr>
          <a:lstStyle/>
          <a:p>
            <a:pPr marL="0" lvl="1" indent="-97200">
              <a:lnSpc>
                <a:spcPct val="110000"/>
              </a:lnSpc>
            </a:pPr>
            <a:r>
              <a:rPr lang="nb-NO" sz="1200" err="1">
                <a:solidFill>
                  <a:srgbClr val="FFF7F2"/>
                </a:solidFill>
                <a:latin typeface="Consolas" panose="020B0609020204030204" pitchFamily="49" charset="0"/>
                <a:ea typeface="+mn-ea"/>
              </a:rPr>
              <a:t>https</a:t>
            </a:r>
            <a:r>
              <a:rPr lang="nb-NO" sz="1200">
                <a:solidFill>
                  <a:srgbClr val="FFF7F2"/>
                </a:solidFill>
                <a:latin typeface="Consolas" panose="020B0609020204030204" pitchFamily="49" charset="0"/>
                <a:ea typeface="+mn-ea"/>
              </a:rPr>
              <a:t>://</a:t>
            </a:r>
            <a:r>
              <a:rPr lang="nb-NO" sz="1200">
                <a:solidFill>
                  <a:srgbClr val="F27900"/>
                </a:solidFill>
                <a:latin typeface="Consolas" panose="020B0609020204030204" pitchFamily="49" charset="0"/>
                <a:ea typeface="+mn-ea"/>
              </a:rPr>
              <a:t>{{host}}</a:t>
            </a:r>
            <a:r>
              <a:rPr lang="nb-NO" sz="1200">
                <a:solidFill>
                  <a:srgbClr val="FFF7F2"/>
                </a:solidFill>
                <a:latin typeface="Consolas" panose="020B0609020204030204" pitchFamily="49" charset="0"/>
                <a:ea typeface="+mn-ea"/>
              </a:rPr>
              <a:t>/</a:t>
            </a:r>
            <a:r>
              <a:rPr lang="nb-NO" sz="1200" err="1">
                <a:solidFill>
                  <a:srgbClr val="FFF7F2"/>
                </a:solidFill>
                <a:latin typeface="Consolas" panose="020B0609020204030204" pitchFamily="49" charset="0"/>
                <a:ea typeface="+mn-ea"/>
              </a:rPr>
              <a:t>restconf</a:t>
            </a:r>
            <a:r>
              <a:rPr lang="nb-NO" sz="1200">
                <a:solidFill>
                  <a:srgbClr val="FFF7F2"/>
                </a:solidFill>
                <a:latin typeface="Consolas" panose="020B0609020204030204" pitchFamily="49" charset="0"/>
                <a:ea typeface="+mn-ea"/>
              </a:rPr>
              <a:t>/data/</a:t>
            </a:r>
            <a:r>
              <a:rPr lang="nb-NO" sz="1200" err="1">
                <a:solidFill>
                  <a:srgbClr val="FFF7F2"/>
                </a:solidFill>
                <a:latin typeface="Consolas" panose="020B0609020204030204" pitchFamily="49" charset="0"/>
                <a:ea typeface="+mn-ea"/>
              </a:rPr>
              <a:t>Cisco-IOS-XE-native:native</a:t>
            </a:r>
            <a:endParaRPr lang="nb-NO" sz="1200">
              <a:solidFill>
                <a:srgbClr val="FFF7F2"/>
              </a:solidFill>
              <a:latin typeface="Consolas" panose="020B0609020204030204" pitchFamily="49" charset="0"/>
              <a:ea typeface="+mn-ea"/>
            </a:endParaRPr>
          </a:p>
        </p:txBody>
      </p:sp>
    </p:spTree>
    <p:extLst>
      <p:ext uri="{BB962C8B-B14F-4D97-AF65-F5344CB8AC3E}">
        <p14:creationId xmlns:p14="http://schemas.microsoft.com/office/powerpoint/2010/main" val="197343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4B80D8D-28CA-A753-5C59-71D512055FD0}"/>
              </a:ext>
            </a:extLst>
          </p:cNvPr>
          <p:cNvPicPr>
            <a:picLocks noChangeAspect="1"/>
          </p:cNvPicPr>
          <p:nvPr/>
        </p:nvPicPr>
        <p:blipFill rotWithShape="1">
          <a:blip r:embed="rId3"/>
          <a:srcRect l="49873" t="14983" r="6997" b="60260"/>
          <a:stretch/>
        </p:blipFill>
        <p:spPr>
          <a:xfrm>
            <a:off x="7170041" y="736888"/>
            <a:ext cx="5020371" cy="1715579"/>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Get AP summary</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6553006"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reate</a:t>
            </a:r>
            <a:r>
              <a:rPr lang="nb-NO" sz="1600" dirty="0"/>
              <a:t> </a:t>
            </a:r>
            <a:r>
              <a:rPr lang="nb-NO" sz="1600" dirty="0" err="1"/>
              <a:t>the</a:t>
            </a:r>
            <a:r>
              <a:rPr lang="nb-NO" sz="1600" dirty="0"/>
              <a:t> Postman </a:t>
            </a:r>
            <a:r>
              <a:rPr lang="nb-NO" sz="1600" dirty="0" err="1"/>
              <a:t>queries</a:t>
            </a:r>
            <a:r>
              <a:rPr lang="nb-NO" sz="1600" dirty="0"/>
              <a:t> </a:t>
            </a:r>
            <a:r>
              <a:rPr lang="nb-NO" sz="1600" dirty="0" err="1"/>
              <a:t>based</a:t>
            </a:r>
            <a:r>
              <a:rPr lang="nb-NO" sz="1600" dirty="0"/>
              <a:t> </a:t>
            </a:r>
            <a:r>
              <a:rPr lang="nb-NO" sz="1600" dirty="0" err="1"/>
              <a:t>on</a:t>
            </a:r>
            <a:r>
              <a:rPr lang="nb-NO" sz="1600" dirty="0"/>
              <a:t> </a:t>
            </a:r>
            <a:r>
              <a:rPr lang="nb-NO" sz="1600" dirty="0" err="1"/>
              <a:t>the</a:t>
            </a:r>
            <a:r>
              <a:rPr lang="nb-NO" sz="1600" dirty="0"/>
              <a:t> </a:t>
            </a:r>
            <a:r>
              <a:rPr lang="nb-NO" sz="1600" dirty="0" err="1"/>
              <a:t>information</a:t>
            </a:r>
            <a:r>
              <a:rPr lang="nb-NO" sz="1600" dirty="0"/>
              <a:t> </a:t>
            </a:r>
            <a:r>
              <a:rPr lang="nb-NO" sz="1600" dirty="0" err="1"/>
              <a:t>explored</a:t>
            </a:r>
            <a:r>
              <a:rPr lang="nb-NO" sz="1600" dirty="0"/>
              <a:t> from </a:t>
            </a:r>
            <a:r>
              <a:rPr lang="nb-NO" sz="1600" dirty="0" err="1"/>
              <a:t>YANG</a:t>
            </a:r>
            <a:r>
              <a:rPr lang="nb-NO" sz="1600" dirty="0"/>
              <a:t> Suite</a:t>
            </a:r>
          </a:p>
          <a:p>
            <a:pPr lvl="1">
              <a:lnSpc>
                <a:spcPct val="110000"/>
              </a:lnSpc>
            </a:pPr>
            <a:r>
              <a:rPr lang="nb-NO" sz="1400" dirty="0" err="1"/>
              <a:t>Restconf</a:t>
            </a:r>
            <a:r>
              <a:rPr lang="nb-NO" sz="1400" dirty="0"/>
              <a:t> </a:t>
            </a:r>
            <a:r>
              <a:rPr lang="nb-NO" sz="1400" dirty="0" err="1"/>
              <a:t>path</a:t>
            </a:r>
            <a:r>
              <a:rPr lang="nb-NO" sz="1400" dirty="0"/>
              <a:t>: </a:t>
            </a:r>
            <a:r>
              <a:rPr lang="nb-NO" sz="1400" dirty="0" err="1"/>
              <a:t>https</a:t>
            </a:r>
            <a:r>
              <a:rPr lang="nb-NO" sz="1400" dirty="0"/>
              <a:t>://{{host}}/</a:t>
            </a:r>
            <a:r>
              <a:rPr lang="nb-NO" sz="1400" dirty="0" err="1"/>
              <a:t>restconf</a:t>
            </a:r>
            <a:r>
              <a:rPr lang="nb-NO" sz="1400" dirty="0"/>
              <a:t>/data/</a:t>
            </a:r>
          </a:p>
          <a:p>
            <a:pPr lvl="1">
              <a:lnSpc>
                <a:spcPct val="110000"/>
              </a:lnSpc>
            </a:pPr>
            <a:r>
              <a:rPr lang="nb-NO" sz="1400" dirty="0" err="1"/>
              <a:t>YANG-module</a:t>
            </a:r>
            <a:r>
              <a:rPr lang="nb-NO" sz="1400" dirty="0"/>
              <a:t>: Cisco-IOS-</a:t>
            </a:r>
            <a:r>
              <a:rPr lang="nb-NO" sz="1400" dirty="0" err="1"/>
              <a:t>XE</a:t>
            </a:r>
            <a:r>
              <a:rPr lang="nb-NO" sz="1400" dirty="0"/>
              <a:t>-</a:t>
            </a:r>
            <a:r>
              <a:rPr lang="nb-NO" sz="1400" dirty="0" err="1"/>
              <a:t>wireless</a:t>
            </a:r>
            <a:r>
              <a:rPr lang="nb-NO" sz="1400" dirty="0"/>
              <a:t>-</a:t>
            </a:r>
            <a:r>
              <a:rPr lang="nb-NO" sz="1400" dirty="0" err="1"/>
              <a:t>access</a:t>
            </a:r>
            <a:r>
              <a:rPr lang="nb-NO" sz="1400" dirty="0"/>
              <a:t>-point-</a:t>
            </a:r>
            <a:r>
              <a:rPr lang="nb-NO" sz="1400" dirty="0" err="1"/>
              <a:t>oper</a:t>
            </a:r>
            <a:endParaRPr lang="nb-NO" sz="1400" dirty="0"/>
          </a:p>
          <a:p>
            <a:pPr lvl="1">
              <a:lnSpc>
                <a:spcPct val="110000"/>
              </a:lnSpc>
            </a:pPr>
            <a:r>
              <a:rPr lang="nb-NO" sz="1400" dirty="0" err="1"/>
              <a:t>Xpath</a:t>
            </a:r>
            <a:r>
              <a:rPr lang="nb-NO" sz="1400" dirty="0"/>
              <a:t>: </a:t>
            </a:r>
            <a:r>
              <a:rPr lang="nb-NO" sz="1400" dirty="0" err="1"/>
              <a:t>access</a:t>
            </a:r>
            <a:r>
              <a:rPr lang="nb-NO" sz="1400" dirty="0"/>
              <a:t>-point-</a:t>
            </a:r>
            <a:r>
              <a:rPr lang="nb-NO" sz="1400" dirty="0" err="1"/>
              <a:t>oper</a:t>
            </a:r>
            <a:r>
              <a:rPr lang="nb-NO" sz="1400" dirty="0"/>
              <a:t>-data/</a:t>
            </a:r>
            <a:r>
              <a:rPr lang="nb-NO" sz="1400" dirty="0" err="1"/>
              <a:t>capwap</a:t>
            </a:r>
            <a:r>
              <a:rPr lang="nb-NO" sz="1400" dirty="0"/>
              <a:t>-data</a:t>
            </a:r>
          </a:p>
          <a:p>
            <a:pPr lvl="1">
              <a:lnSpc>
                <a:spcPct val="110000"/>
              </a:lnSpc>
            </a:pPr>
            <a:r>
              <a:rPr lang="nb-NO" sz="1400" dirty="0" err="1"/>
              <a:t>Combined</a:t>
            </a:r>
            <a:r>
              <a:rPr lang="nb-NO" sz="1400" dirty="0"/>
              <a:t> </a:t>
            </a:r>
            <a:r>
              <a:rPr lang="nb-NO" sz="1400" dirty="0" err="1"/>
              <a:t>request</a:t>
            </a:r>
            <a:r>
              <a:rPr lang="nb-NO" sz="1400" dirty="0"/>
              <a:t> </a:t>
            </a:r>
            <a:r>
              <a:rPr lang="nb-NO" sz="1400" dirty="0" err="1"/>
              <a:t>path</a:t>
            </a:r>
            <a:r>
              <a:rPr lang="nb-NO" sz="1400" dirty="0"/>
              <a:t> for </a:t>
            </a:r>
            <a:r>
              <a:rPr lang="nb-NO" sz="1400" dirty="0" err="1"/>
              <a:t>copy-paste</a:t>
            </a:r>
            <a:r>
              <a:rPr lang="nb-NO" sz="1400" dirty="0"/>
              <a:t>:</a:t>
            </a:r>
          </a:p>
          <a:p>
            <a:pPr lvl="1">
              <a:lnSpc>
                <a:spcPct val="110000"/>
              </a:lnSpc>
            </a:pPr>
            <a:endParaRPr lang="nb-NO" sz="1400" dirty="0"/>
          </a:p>
        </p:txBody>
      </p:sp>
      <p:cxnSp>
        <p:nvCxnSpPr>
          <p:cNvPr id="8" name="Straight Arrow Connector 7">
            <a:extLst>
              <a:ext uri="{FF2B5EF4-FFF2-40B4-BE49-F238E27FC236}">
                <a16:creationId xmlns:a16="http://schemas.microsoft.com/office/drawing/2014/main" id="{6DB23AA1-8A0B-5B86-3A9C-F1363D6B2A91}"/>
              </a:ext>
            </a:extLst>
          </p:cNvPr>
          <p:cNvCxnSpPr>
            <a:cxnSpLocks/>
          </p:cNvCxnSpPr>
          <p:nvPr/>
        </p:nvCxnSpPr>
        <p:spPr>
          <a:xfrm flipH="1">
            <a:off x="6330950" y="1647719"/>
            <a:ext cx="1992540" cy="656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EA9522FE-046D-6C60-1C30-3D9CC75D9B9F}"/>
              </a:ext>
            </a:extLst>
          </p:cNvPr>
          <p:cNvSpPr/>
          <p:nvPr/>
        </p:nvSpPr>
        <p:spPr>
          <a:xfrm>
            <a:off x="8323490" y="1506121"/>
            <a:ext cx="26429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5737FA8F-D1D5-BE7D-F9C3-7B6CD30F3BC9}"/>
              </a:ext>
            </a:extLst>
          </p:cNvPr>
          <p:cNvSpPr/>
          <p:nvPr/>
        </p:nvSpPr>
        <p:spPr>
          <a:xfrm>
            <a:off x="8304512" y="1946471"/>
            <a:ext cx="23888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1" name="Straight Arrow Connector 10">
            <a:extLst>
              <a:ext uri="{FF2B5EF4-FFF2-40B4-BE49-F238E27FC236}">
                <a16:creationId xmlns:a16="http://schemas.microsoft.com/office/drawing/2014/main" id="{48D8B29F-B432-E37A-0E38-022A27E4C0AB}"/>
              </a:ext>
            </a:extLst>
          </p:cNvPr>
          <p:cNvCxnSpPr>
            <a:cxnSpLocks/>
          </p:cNvCxnSpPr>
          <p:nvPr/>
        </p:nvCxnSpPr>
        <p:spPr>
          <a:xfrm flipH="1">
            <a:off x="5251450" y="2114608"/>
            <a:ext cx="3053063" cy="5469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A356CE13-1D38-7645-880F-A5DCBC74F3D1}"/>
              </a:ext>
            </a:extLst>
          </p:cNvPr>
          <p:cNvPicPr>
            <a:picLocks noChangeAspect="1"/>
          </p:cNvPicPr>
          <p:nvPr/>
        </p:nvPicPr>
        <p:blipFill>
          <a:blip r:embed="rId4"/>
          <a:stretch>
            <a:fillRect/>
          </a:stretch>
        </p:blipFill>
        <p:spPr>
          <a:xfrm>
            <a:off x="92026" y="3565351"/>
            <a:ext cx="1279386" cy="1184449"/>
          </a:xfrm>
          <a:prstGeom prst="rect">
            <a:avLst/>
          </a:prstGeom>
        </p:spPr>
      </p:pic>
      <p:pic>
        <p:nvPicPr>
          <p:cNvPr id="20" name="Picture 19">
            <a:extLst>
              <a:ext uri="{FF2B5EF4-FFF2-40B4-BE49-F238E27FC236}">
                <a16:creationId xmlns:a16="http://schemas.microsoft.com/office/drawing/2014/main" id="{69901157-AF83-E86B-B56A-DEF711529082}"/>
              </a:ext>
            </a:extLst>
          </p:cNvPr>
          <p:cNvPicPr>
            <a:picLocks noChangeAspect="1"/>
          </p:cNvPicPr>
          <p:nvPr/>
        </p:nvPicPr>
        <p:blipFill>
          <a:blip r:embed="rId5"/>
          <a:stretch>
            <a:fillRect/>
          </a:stretch>
        </p:blipFill>
        <p:spPr>
          <a:xfrm>
            <a:off x="1635547" y="3565351"/>
            <a:ext cx="2923753" cy="591027"/>
          </a:xfrm>
          <a:prstGeom prst="rect">
            <a:avLst/>
          </a:prstGeom>
        </p:spPr>
      </p:pic>
      <p:pic>
        <p:nvPicPr>
          <p:cNvPr id="22" name="Picture 21">
            <a:extLst>
              <a:ext uri="{FF2B5EF4-FFF2-40B4-BE49-F238E27FC236}">
                <a16:creationId xmlns:a16="http://schemas.microsoft.com/office/drawing/2014/main" id="{149DD14F-5045-F81E-96FA-0A9B4B309FF8}"/>
              </a:ext>
            </a:extLst>
          </p:cNvPr>
          <p:cNvPicPr>
            <a:picLocks noChangeAspect="1"/>
          </p:cNvPicPr>
          <p:nvPr/>
        </p:nvPicPr>
        <p:blipFill>
          <a:blip r:embed="rId6"/>
          <a:stretch>
            <a:fillRect/>
          </a:stretch>
        </p:blipFill>
        <p:spPr>
          <a:xfrm>
            <a:off x="5404422" y="3565351"/>
            <a:ext cx="1891728" cy="346576"/>
          </a:xfrm>
          <a:prstGeom prst="rect">
            <a:avLst/>
          </a:prstGeom>
        </p:spPr>
      </p:pic>
      <p:cxnSp>
        <p:nvCxnSpPr>
          <p:cNvPr id="23" name="Straight Arrow Connector 22">
            <a:extLst>
              <a:ext uri="{FF2B5EF4-FFF2-40B4-BE49-F238E27FC236}">
                <a16:creationId xmlns:a16="http://schemas.microsoft.com/office/drawing/2014/main" id="{E688358A-2472-8643-1ECF-1FAB3B17AEA4}"/>
              </a:ext>
            </a:extLst>
          </p:cNvPr>
          <p:cNvCxnSpPr>
            <a:cxnSpLocks/>
          </p:cNvCxnSpPr>
          <p:nvPr/>
        </p:nvCxnSpPr>
        <p:spPr>
          <a:xfrm flipV="1">
            <a:off x="895350" y="3738639"/>
            <a:ext cx="2857500" cy="9015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34096284-9148-45DA-E801-137CB0846677}"/>
              </a:ext>
            </a:extLst>
          </p:cNvPr>
          <p:cNvCxnSpPr>
            <a:cxnSpLocks/>
          </p:cNvCxnSpPr>
          <p:nvPr/>
        </p:nvCxnSpPr>
        <p:spPr>
          <a:xfrm flipH="1">
            <a:off x="895350" y="3760382"/>
            <a:ext cx="387350" cy="829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39D92218-74E7-6BA5-D3CE-E67955A4490A}"/>
              </a:ext>
            </a:extLst>
          </p:cNvPr>
          <p:cNvCxnSpPr>
            <a:cxnSpLocks/>
            <a:endCxn id="22" idx="1"/>
          </p:cNvCxnSpPr>
          <p:nvPr/>
        </p:nvCxnSpPr>
        <p:spPr>
          <a:xfrm>
            <a:off x="4349750" y="3671482"/>
            <a:ext cx="1054672" cy="6715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2" name="Picture 31">
            <a:extLst>
              <a:ext uri="{FF2B5EF4-FFF2-40B4-BE49-F238E27FC236}">
                <a16:creationId xmlns:a16="http://schemas.microsoft.com/office/drawing/2014/main" id="{F8DA2683-BDFE-F449-57CB-F72B8877350B}"/>
              </a:ext>
            </a:extLst>
          </p:cNvPr>
          <p:cNvPicPr>
            <a:picLocks noChangeAspect="1"/>
          </p:cNvPicPr>
          <p:nvPr/>
        </p:nvPicPr>
        <p:blipFill>
          <a:blip r:embed="rId7"/>
          <a:stretch>
            <a:fillRect/>
          </a:stretch>
        </p:blipFill>
        <p:spPr>
          <a:xfrm>
            <a:off x="1635547" y="4176687"/>
            <a:ext cx="7640116" cy="514422"/>
          </a:xfrm>
          <a:prstGeom prst="rect">
            <a:avLst/>
          </a:prstGeom>
        </p:spPr>
      </p:pic>
      <p:pic>
        <p:nvPicPr>
          <p:cNvPr id="34" name="Picture 33">
            <a:extLst>
              <a:ext uri="{FF2B5EF4-FFF2-40B4-BE49-F238E27FC236}">
                <a16:creationId xmlns:a16="http://schemas.microsoft.com/office/drawing/2014/main" id="{E734843C-18F0-BB37-5A4F-3FEF0381F50C}"/>
              </a:ext>
            </a:extLst>
          </p:cNvPr>
          <p:cNvPicPr>
            <a:picLocks noChangeAspect="1"/>
          </p:cNvPicPr>
          <p:nvPr/>
        </p:nvPicPr>
        <p:blipFill rotWithShape="1">
          <a:blip r:embed="rId8"/>
          <a:srcRect b="10813"/>
          <a:stretch/>
        </p:blipFill>
        <p:spPr>
          <a:xfrm>
            <a:off x="1629706" y="4711358"/>
            <a:ext cx="7645957" cy="1361071"/>
          </a:xfrm>
          <a:prstGeom prst="rect">
            <a:avLst/>
          </a:prstGeom>
        </p:spPr>
      </p:pic>
      <p:sp>
        <p:nvSpPr>
          <p:cNvPr id="2" name="TextBox 1">
            <a:extLst>
              <a:ext uri="{FF2B5EF4-FFF2-40B4-BE49-F238E27FC236}">
                <a16:creationId xmlns:a16="http://schemas.microsoft.com/office/drawing/2014/main" id="{2B83DADA-15F3-5234-8E88-49597CC00B96}"/>
              </a:ext>
            </a:extLst>
          </p:cNvPr>
          <p:cNvSpPr txBox="1"/>
          <p:nvPr/>
        </p:nvSpPr>
        <p:spPr>
          <a:xfrm>
            <a:off x="1230477" y="3129005"/>
            <a:ext cx="9081924" cy="284245"/>
          </a:xfrm>
          <a:prstGeom prst="rect">
            <a:avLst/>
          </a:prstGeom>
          <a:solidFill>
            <a:srgbClr val="212121"/>
          </a:solidFill>
        </p:spPr>
        <p:txBody>
          <a:bodyPr wrap="square">
            <a:spAutoFit/>
          </a:body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data/</a:t>
            </a:r>
            <a:r>
              <a:rPr lang="nb-NO" sz="1200" dirty="0" err="1">
                <a:solidFill>
                  <a:srgbClr val="FFF7F2"/>
                </a:solidFill>
                <a:latin typeface="Consolas" panose="020B0609020204030204" pitchFamily="49" charset="0"/>
                <a:ea typeface="+mn-ea"/>
              </a:rPr>
              <a:t>Cisco-IOS-XE-wireless-access-point-oper:access-point-oper-data</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capwap</a:t>
            </a:r>
            <a:r>
              <a:rPr lang="nb-NO" sz="1200" dirty="0">
                <a:solidFill>
                  <a:srgbClr val="FFF7F2"/>
                </a:solidFill>
                <a:latin typeface="Consolas" panose="020B0609020204030204" pitchFamily="49" charset="0"/>
                <a:ea typeface="+mn-ea"/>
              </a:rPr>
              <a:t>-data</a:t>
            </a:r>
          </a:p>
        </p:txBody>
      </p:sp>
    </p:spTree>
    <p:extLst>
      <p:ext uri="{BB962C8B-B14F-4D97-AF65-F5344CB8AC3E}">
        <p14:creationId xmlns:p14="http://schemas.microsoft.com/office/powerpoint/2010/main" val="39351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712A047-6D55-93B2-8073-B289E19D75BD}"/>
              </a:ext>
            </a:extLst>
          </p:cNvPr>
          <p:cNvPicPr/>
          <p:nvPr/>
        </p:nvPicPr>
        <p:blipFill rotWithShape="1">
          <a:blip r:embed="rId3"/>
          <a:srcRect t="9522"/>
          <a:stretch/>
        </p:blipFill>
        <p:spPr>
          <a:xfrm>
            <a:off x="211441" y="3446894"/>
            <a:ext cx="10263891" cy="1245755"/>
          </a:xfrm>
          <a:prstGeom prst="rect">
            <a:avLst/>
          </a:prstGeom>
        </p:spPr>
      </p:pic>
      <p:pic>
        <p:nvPicPr>
          <p:cNvPr id="2" name="Picture 1">
            <a:extLst>
              <a:ext uri="{FF2B5EF4-FFF2-40B4-BE49-F238E27FC236}">
                <a16:creationId xmlns:a16="http://schemas.microsoft.com/office/drawing/2014/main" id="{D8CDA3AC-6649-E659-7206-5824A1C01BD1}"/>
              </a:ext>
            </a:extLst>
          </p:cNvPr>
          <p:cNvPicPr>
            <a:picLocks noChangeAspect="1"/>
          </p:cNvPicPr>
          <p:nvPr/>
        </p:nvPicPr>
        <p:blipFill rotWithShape="1">
          <a:blip r:embed="rId4"/>
          <a:srcRect l="50392" t="16826" r="9078" b="54853"/>
          <a:stretch/>
        </p:blipFill>
        <p:spPr>
          <a:xfrm>
            <a:off x="6960094" y="906344"/>
            <a:ext cx="4761511" cy="177593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client summary</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6553006" cy="26602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err="1"/>
              <a:t>Create</a:t>
            </a:r>
            <a:r>
              <a:rPr lang="nb-NO" sz="1600" dirty="0"/>
              <a:t> </a:t>
            </a:r>
            <a:r>
              <a:rPr lang="nb-NO" sz="1600" dirty="0" err="1"/>
              <a:t>the</a:t>
            </a:r>
            <a:r>
              <a:rPr lang="nb-NO" sz="1600" dirty="0"/>
              <a:t> Postman </a:t>
            </a:r>
            <a:r>
              <a:rPr lang="nb-NO" sz="1600" dirty="0" err="1"/>
              <a:t>queries</a:t>
            </a:r>
            <a:r>
              <a:rPr lang="nb-NO" sz="1600" dirty="0"/>
              <a:t> </a:t>
            </a:r>
            <a:r>
              <a:rPr lang="nb-NO" sz="1600" dirty="0" err="1"/>
              <a:t>based</a:t>
            </a:r>
            <a:r>
              <a:rPr lang="nb-NO" sz="1600" dirty="0"/>
              <a:t> </a:t>
            </a:r>
            <a:r>
              <a:rPr lang="nb-NO" sz="1600" dirty="0" err="1"/>
              <a:t>on</a:t>
            </a:r>
            <a:r>
              <a:rPr lang="nb-NO" sz="1600" dirty="0"/>
              <a:t> </a:t>
            </a:r>
            <a:r>
              <a:rPr lang="nb-NO" sz="1600" dirty="0" err="1"/>
              <a:t>the</a:t>
            </a:r>
            <a:r>
              <a:rPr lang="nb-NO" sz="1600" dirty="0"/>
              <a:t> </a:t>
            </a:r>
            <a:r>
              <a:rPr lang="nb-NO" sz="1600" dirty="0" err="1"/>
              <a:t>information</a:t>
            </a:r>
            <a:r>
              <a:rPr lang="nb-NO" sz="1600" dirty="0"/>
              <a:t> </a:t>
            </a:r>
            <a:r>
              <a:rPr lang="nb-NO" sz="1600" dirty="0" err="1"/>
              <a:t>explored</a:t>
            </a:r>
            <a:r>
              <a:rPr lang="nb-NO" sz="1600" dirty="0"/>
              <a:t> from </a:t>
            </a:r>
            <a:r>
              <a:rPr lang="nb-NO" sz="1600" dirty="0" err="1"/>
              <a:t>YANG</a:t>
            </a:r>
            <a:r>
              <a:rPr lang="nb-NO" sz="1600" dirty="0"/>
              <a:t> Suite</a:t>
            </a:r>
          </a:p>
          <a:p>
            <a:pPr lvl="1">
              <a:lnSpc>
                <a:spcPct val="110000"/>
              </a:lnSpc>
            </a:pPr>
            <a:r>
              <a:rPr lang="nb-NO" sz="1400" dirty="0" err="1"/>
              <a:t>Restconf</a:t>
            </a:r>
            <a:r>
              <a:rPr lang="nb-NO" sz="1400" dirty="0"/>
              <a:t> </a:t>
            </a:r>
            <a:r>
              <a:rPr lang="nb-NO" sz="1400" dirty="0" err="1"/>
              <a:t>path</a:t>
            </a:r>
            <a:r>
              <a:rPr lang="nb-NO" sz="1400" dirty="0"/>
              <a:t>: </a:t>
            </a:r>
            <a:r>
              <a:rPr lang="nb-NO" sz="1400" dirty="0" err="1"/>
              <a:t>https</a:t>
            </a:r>
            <a:r>
              <a:rPr lang="nb-NO" sz="1400" dirty="0"/>
              <a:t>://{{host}}/</a:t>
            </a:r>
            <a:r>
              <a:rPr lang="nb-NO" sz="1400" dirty="0" err="1"/>
              <a:t>restconf</a:t>
            </a:r>
            <a:r>
              <a:rPr lang="nb-NO" sz="1400" dirty="0"/>
              <a:t>/data/</a:t>
            </a:r>
          </a:p>
          <a:p>
            <a:pPr lvl="1">
              <a:lnSpc>
                <a:spcPct val="110000"/>
              </a:lnSpc>
            </a:pPr>
            <a:r>
              <a:rPr lang="nb-NO" sz="1400" dirty="0" err="1"/>
              <a:t>YANG-module</a:t>
            </a:r>
            <a:r>
              <a:rPr lang="nb-NO" sz="1400" dirty="0"/>
              <a:t>: Cisco-IOS-</a:t>
            </a:r>
            <a:r>
              <a:rPr lang="nb-NO" sz="1400" dirty="0" err="1"/>
              <a:t>XE</a:t>
            </a:r>
            <a:r>
              <a:rPr lang="nb-NO" sz="1400" dirty="0"/>
              <a:t>-</a:t>
            </a:r>
            <a:r>
              <a:rPr lang="nb-NO" sz="1400" dirty="0" err="1"/>
              <a:t>wireless-client-oper</a:t>
            </a:r>
            <a:endParaRPr lang="nb-NO" sz="1400" dirty="0"/>
          </a:p>
          <a:p>
            <a:pPr lvl="1">
              <a:lnSpc>
                <a:spcPct val="110000"/>
              </a:lnSpc>
            </a:pPr>
            <a:r>
              <a:rPr lang="nb-NO" sz="1400" dirty="0" err="1"/>
              <a:t>Xpath</a:t>
            </a:r>
            <a:r>
              <a:rPr lang="nb-NO" sz="1400" dirty="0"/>
              <a:t>: </a:t>
            </a:r>
            <a:r>
              <a:rPr lang="nb-NO" sz="1400" dirty="0" err="1"/>
              <a:t>client</a:t>
            </a:r>
            <a:r>
              <a:rPr lang="nb-NO" sz="1400" dirty="0"/>
              <a:t>-</a:t>
            </a:r>
            <a:r>
              <a:rPr lang="nb-NO" sz="1400" dirty="0" err="1"/>
              <a:t>oper</a:t>
            </a:r>
            <a:r>
              <a:rPr lang="nb-NO" sz="1400" dirty="0"/>
              <a:t>-data/</a:t>
            </a:r>
            <a:r>
              <a:rPr lang="nb-NO" sz="1400" dirty="0" err="1"/>
              <a:t>shared</a:t>
            </a:r>
            <a:r>
              <a:rPr lang="nb-NO" sz="1400" dirty="0"/>
              <a:t>-</a:t>
            </a:r>
            <a:r>
              <a:rPr lang="nb-NO" sz="1400" dirty="0" err="1"/>
              <a:t>oper</a:t>
            </a:r>
            <a:r>
              <a:rPr lang="nb-NO" sz="1400" dirty="0"/>
              <a:t>-data</a:t>
            </a:r>
          </a:p>
          <a:p>
            <a:pPr lvl="1">
              <a:lnSpc>
                <a:spcPct val="110000"/>
              </a:lnSpc>
            </a:pPr>
            <a:r>
              <a:rPr lang="nb-NO" sz="1400" dirty="0" err="1"/>
              <a:t>Combined</a:t>
            </a:r>
            <a:r>
              <a:rPr lang="nb-NO" sz="1400" dirty="0"/>
              <a:t> </a:t>
            </a:r>
            <a:r>
              <a:rPr lang="nb-NO" sz="1400" dirty="0" err="1"/>
              <a:t>request</a:t>
            </a:r>
            <a:r>
              <a:rPr lang="nb-NO" sz="1400" dirty="0"/>
              <a:t> </a:t>
            </a:r>
            <a:r>
              <a:rPr lang="nb-NO" sz="1400" dirty="0" err="1"/>
              <a:t>path</a:t>
            </a:r>
            <a:r>
              <a:rPr lang="nb-NO" sz="1400" dirty="0"/>
              <a:t> for </a:t>
            </a:r>
            <a:r>
              <a:rPr lang="nb-NO" sz="1400" dirty="0" err="1"/>
              <a:t>copy-paste</a:t>
            </a:r>
            <a:r>
              <a:rPr lang="nb-NO" sz="1400" dirty="0"/>
              <a:t>:</a:t>
            </a:r>
          </a:p>
          <a:p>
            <a:pPr lvl="1">
              <a:lnSpc>
                <a:spcPct val="110000"/>
              </a:lnSpc>
            </a:pPr>
            <a:endParaRPr lang="nb-NO" sz="1400" dirty="0"/>
          </a:p>
          <a:p>
            <a:pPr lvl="1">
              <a:lnSpc>
                <a:spcPct val="110000"/>
              </a:lnSpc>
            </a:pPr>
            <a:endParaRPr lang="nb-NO" sz="1400" dirty="0"/>
          </a:p>
        </p:txBody>
      </p:sp>
      <p:cxnSp>
        <p:nvCxnSpPr>
          <p:cNvPr id="8" name="Straight Arrow Connector 7">
            <a:extLst>
              <a:ext uri="{FF2B5EF4-FFF2-40B4-BE49-F238E27FC236}">
                <a16:creationId xmlns:a16="http://schemas.microsoft.com/office/drawing/2014/main" id="{6DB23AA1-8A0B-5B86-3A9C-F1363D6B2A91}"/>
              </a:ext>
            </a:extLst>
          </p:cNvPr>
          <p:cNvCxnSpPr>
            <a:cxnSpLocks/>
          </p:cNvCxnSpPr>
          <p:nvPr/>
        </p:nvCxnSpPr>
        <p:spPr>
          <a:xfrm flipH="1">
            <a:off x="5695950" y="1647719"/>
            <a:ext cx="2627540" cy="6565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Rounded Corners 8">
            <a:extLst>
              <a:ext uri="{FF2B5EF4-FFF2-40B4-BE49-F238E27FC236}">
                <a16:creationId xmlns:a16="http://schemas.microsoft.com/office/drawing/2014/main" id="{EA9522FE-046D-6C60-1C30-3D9CC75D9B9F}"/>
              </a:ext>
            </a:extLst>
          </p:cNvPr>
          <p:cNvSpPr/>
          <p:nvPr/>
        </p:nvSpPr>
        <p:spPr>
          <a:xfrm>
            <a:off x="8323490" y="1506121"/>
            <a:ext cx="2249260"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5737FA8F-D1D5-BE7D-F9C3-7B6CD30F3BC9}"/>
              </a:ext>
            </a:extLst>
          </p:cNvPr>
          <p:cNvSpPr/>
          <p:nvPr/>
        </p:nvSpPr>
        <p:spPr>
          <a:xfrm>
            <a:off x="8304512" y="1946471"/>
            <a:ext cx="2388887"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11" name="Straight Arrow Connector 10">
            <a:extLst>
              <a:ext uri="{FF2B5EF4-FFF2-40B4-BE49-F238E27FC236}">
                <a16:creationId xmlns:a16="http://schemas.microsoft.com/office/drawing/2014/main" id="{48D8B29F-B432-E37A-0E38-022A27E4C0AB}"/>
              </a:ext>
            </a:extLst>
          </p:cNvPr>
          <p:cNvCxnSpPr>
            <a:cxnSpLocks/>
          </p:cNvCxnSpPr>
          <p:nvPr/>
        </p:nvCxnSpPr>
        <p:spPr>
          <a:xfrm flipH="1">
            <a:off x="5251450" y="2114608"/>
            <a:ext cx="3053063" cy="5469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Left Brace 23">
            <a:extLst>
              <a:ext uri="{FF2B5EF4-FFF2-40B4-BE49-F238E27FC236}">
                <a16:creationId xmlns:a16="http://schemas.microsoft.com/office/drawing/2014/main" id="{54106520-7F2D-C319-1F88-9EA7642B935A}"/>
              </a:ext>
            </a:extLst>
          </p:cNvPr>
          <p:cNvSpPr/>
          <p:nvPr/>
        </p:nvSpPr>
        <p:spPr>
          <a:xfrm rot="5400000" flipH="1">
            <a:off x="3049418" y="3369074"/>
            <a:ext cx="396019" cy="2357043"/>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5" name="Left Brace 24">
            <a:extLst>
              <a:ext uri="{FF2B5EF4-FFF2-40B4-BE49-F238E27FC236}">
                <a16:creationId xmlns:a16="http://schemas.microsoft.com/office/drawing/2014/main" id="{64682E0C-7F56-1050-7FC1-CE0C576E093D}"/>
              </a:ext>
            </a:extLst>
          </p:cNvPr>
          <p:cNvSpPr/>
          <p:nvPr/>
        </p:nvSpPr>
        <p:spPr>
          <a:xfrm rot="5400000" flipH="1">
            <a:off x="5609374" y="3166162"/>
            <a:ext cx="396019" cy="2762867"/>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7" name="Left Brace 26">
            <a:extLst>
              <a:ext uri="{FF2B5EF4-FFF2-40B4-BE49-F238E27FC236}">
                <a16:creationId xmlns:a16="http://schemas.microsoft.com/office/drawing/2014/main" id="{A102DBCC-132A-48BD-5804-1EF6F75E96E2}"/>
              </a:ext>
            </a:extLst>
          </p:cNvPr>
          <p:cNvSpPr/>
          <p:nvPr/>
        </p:nvSpPr>
        <p:spPr>
          <a:xfrm rot="5400000" flipH="1">
            <a:off x="8431949" y="3110232"/>
            <a:ext cx="396019" cy="2882281"/>
          </a:xfrm>
          <a:prstGeom prst="leftBrac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8" name="TextBox 27">
            <a:extLst>
              <a:ext uri="{FF2B5EF4-FFF2-40B4-BE49-F238E27FC236}">
                <a16:creationId xmlns:a16="http://schemas.microsoft.com/office/drawing/2014/main" id="{3F8B869B-8A47-76AC-CE67-9FFEB127D972}"/>
              </a:ext>
            </a:extLst>
          </p:cNvPr>
          <p:cNvSpPr txBox="1"/>
          <p:nvPr/>
        </p:nvSpPr>
        <p:spPr>
          <a:xfrm>
            <a:off x="2006600" y="4739255"/>
            <a:ext cx="2508249" cy="324210"/>
          </a:xfrm>
          <a:prstGeom prst="rect">
            <a:avLst/>
          </a:prstGeom>
          <a:noFill/>
        </p:spPr>
        <p:txBody>
          <a:bodyPr wrap="none" lIns="90000" tIns="46800" rIns="90000" bIns="46800" rtlCol="0">
            <a:noAutofit/>
          </a:bodyPr>
          <a:lstStyle/>
          <a:p>
            <a:pPr algn="ctr"/>
            <a:r>
              <a:rPr lang="nb-NO" err="1">
                <a:solidFill>
                  <a:schemeClr val="accent1"/>
                </a:solidFill>
              </a:rPr>
              <a:t>RESTCONF</a:t>
            </a:r>
            <a:r>
              <a:rPr lang="nb-NO">
                <a:solidFill>
                  <a:schemeClr val="accent1"/>
                </a:solidFill>
              </a:rPr>
              <a:t> </a:t>
            </a:r>
            <a:r>
              <a:rPr lang="nb-NO" err="1">
                <a:solidFill>
                  <a:schemeClr val="accent1"/>
                </a:solidFill>
              </a:rPr>
              <a:t>path</a:t>
            </a:r>
            <a:endParaRPr lang="nb-NO">
              <a:solidFill>
                <a:schemeClr val="accent1"/>
              </a:solidFill>
            </a:endParaRPr>
          </a:p>
        </p:txBody>
      </p:sp>
      <p:sp>
        <p:nvSpPr>
          <p:cNvPr id="33" name="TextBox 32">
            <a:extLst>
              <a:ext uri="{FF2B5EF4-FFF2-40B4-BE49-F238E27FC236}">
                <a16:creationId xmlns:a16="http://schemas.microsoft.com/office/drawing/2014/main" id="{57157685-BEA4-F630-D38E-D16BBD7E9ED5}"/>
              </a:ext>
            </a:extLst>
          </p:cNvPr>
          <p:cNvSpPr txBox="1"/>
          <p:nvPr/>
        </p:nvSpPr>
        <p:spPr>
          <a:xfrm>
            <a:off x="4845050" y="4739255"/>
            <a:ext cx="1879600" cy="324210"/>
          </a:xfrm>
          <a:prstGeom prst="rect">
            <a:avLst/>
          </a:prstGeom>
          <a:noFill/>
        </p:spPr>
        <p:txBody>
          <a:bodyPr wrap="none" lIns="90000" tIns="46800" rIns="90000" bIns="46800" rtlCol="0">
            <a:noAutofit/>
          </a:bodyPr>
          <a:lstStyle/>
          <a:p>
            <a:pPr algn="ctr"/>
            <a:r>
              <a:rPr lang="nb-NO" err="1">
                <a:solidFill>
                  <a:schemeClr val="accent1"/>
                </a:solidFill>
              </a:rPr>
              <a:t>YANG</a:t>
            </a:r>
            <a:r>
              <a:rPr lang="nb-NO">
                <a:solidFill>
                  <a:schemeClr val="accent1"/>
                </a:solidFill>
              </a:rPr>
              <a:t> </a:t>
            </a:r>
            <a:r>
              <a:rPr lang="nb-NO" err="1">
                <a:solidFill>
                  <a:schemeClr val="accent1"/>
                </a:solidFill>
              </a:rPr>
              <a:t>module</a:t>
            </a:r>
            <a:endParaRPr lang="nb-NO">
              <a:solidFill>
                <a:schemeClr val="accent1"/>
              </a:solidFill>
            </a:endParaRPr>
          </a:p>
        </p:txBody>
      </p:sp>
      <p:sp>
        <p:nvSpPr>
          <p:cNvPr id="35" name="TextBox 34">
            <a:extLst>
              <a:ext uri="{FF2B5EF4-FFF2-40B4-BE49-F238E27FC236}">
                <a16:creationId xmlns:a16="http://schemas.microsoft.com/office/drawing/2014/main" id="{E33A3144-AB76-D665-5D7F-A55982D79C24}"/>
              </a:ext>
            </a:extLst>
          </p:cNvPr>
          <p:cNvSpPr txBox="1"/>
          <p:nvPr/>
        </p:nvSpPr>
        <p:spPr>
          <a:xfrm>
            <a:off x="8075705" y="4739255"/>
            <a:ext cx="1113051" cy="396019"/>
          </a:xfrm>
          <a:prstGeom prst="rect">
            <a:avLst/>
          </a:prstGeom>
          <a:noFill/>
        </p:spPr>
        <p:txBody>
          <a:bodyPr wrap="none" lIns="90000" tIns="46800" rIns="90000" bIns="46800" rtlCol="0">
            <a:noAutofit/>
          </a:bodyPr>
          <a:lstStyle/>
          <a:p>
            <a:pPr algn="ctr"/>
            <a:r>
              <a:rPr lang="nb-NO" err="1">
                <a:solidFill>
                  <a:schemeClr val="accent1"/>
                </a:solidFill>
              </a:rPr>
              <a:t>Xpath</a:t>
            </a:r>
            <a:endParaRPr lang="nb-NO">
              <a:solidFill>
                <a:schemeClr val="accent1"/>
              </a:solidFill>
            </a:endParaRPr>
          </a:p>
        </p:txBody>
      </p:sp>
      <p:sp>
        <p:nvSpPr>
          <p:cNvPr id="37" name="The distance between the headline and the start of the body copy is always constant.…">
            <a:extLst>
              <a:ext uri="{FF2B5EF4-FFF2-40B4-BE49-F238E27FC236}">
                <a16:creationId xmlns:a16="http://schemas.microsoft.com/office/drawing/2014/main" id="{1005F7BD-A479-5551-3A94-06DB67A1E752}"/>
              </a:ext>
            </a:extLst>
          </p:cNvPr>
          <p:cNvSpPr txBox="1">
            <a:spLocks/>
          </p:cNvSpPr>
          <p:nvPr/>
        </p:nvSpPr>
        <p:spPr bwMode="gray">
          <a:xfrm>
            <a:off x="540000" y="4889500"/>
            <a:ext cx="7764512" cy="108903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If </a:t>
            </a:r>
            <a:r>
              <a:rPr lang="nb-NO" sz="1600" dirty="0" err="1"/>
              <a:t>no</a:t>
            </a:r>
            <a:r>
              <a:rPr lang="nb-NO" sz="1600" dirty="0"/>
              <a:t> </a:t>
            </a:r>
            <a:r>
              <a:rPr lang="nb-NO" sz="1600" dirty="0" err="1"/>
              <a:t>users</a:t>
            </a:r>
            <a:r>
              <a:rPr lang="nb-NO" sz="1600" dirty="0"/>
              <a:t> </a:t>
            </a:r>
            <a:r>
              <a:rPr lang="nb-NO" sz="1600" dirty="0" err="1"/>
              <a:t>are</a:t>
            </a:r>
            <a:r>
              <a:rPr lang="nb-NO" sz="1600" dirty="0"/>
              <a:t> </a:t>
            </a:r>
            <a:r>
              <a:rPr lang="nb-NO" sz="1600" dirty="0" err="1"/>
              <a:t>connected</a:t>
            </a:r>
            <a:r>
              <a:rPr lang="nb-NO" sz="1600" dirty="0"/>
              <a:t>, </a:t>
            </a:r>
            <a:r>
              <a:rPr lang="nb-NO" sz="1600" dirty="0" err="1"/>
              <a:t>the</a:t>
            </a:r>
            <a:r>
              <a:rPr lang="nb-NO" sz="1600" dirty="0"/>
              <a:t> </a:t>
            </a:r>
            <a:r>
              <a:rPr lang="nb-NO" sz="1600" dirty="0" err="1"/>
              <a:t>return</a:t>
            </a:r>
            <a:r>
              <a:rPr lang="nb-NO" sz="1600" dirty="0"/>
              <a:t> is "No Content" (status </a:t>
            </a:r>
            <a:r>
              <a:rPr lang="nb-NO" sz="1600" dirty="0" err="1"/>
              <a:t>code</a:t>
            </a:r>
            <a:r>
              <a:rPr lang="nb-NO" sz="1600" dirty="0"/>
              <a:t> 204)</a:t>
            </a:r>
            <a:endParaRPr lang="nb-NO" sz="1400" dirty="0"/>
          </a:p>
        </p:txBody>
      </p:sp>
      <p:pic>
        <p:nvPicPr>
          <p:cNvPr id="39" name="Picture 38">
            <a:extLst>
              <a:ext uri="{FF2B5EF4-FFF2-40B4-BE49-F238E27FC236}">
                <a16:creationId xmlns:a16="http://schemas.microsoft.com/office/drawing/2014/main" id="{1FFC585D-72E7-C0AA-12D8-79321C7135B1}"/>
              </a:ext>
            </a:extLst>
          </p:cNvPr>
          <p:cNvPicPr>
            <a:picLocks noChangeAspect="1"/>
          </p:cNvPicPr>
          <p:nvPr/>
        </p:nvPicPr>
        <p:blipFill>
          <a:blip r:embed="rId5"/>
          <a:stretch>
            <a:fillRect/>
          </a:stretch>
        </p:blipFill>
        <p:spPr>
          <a:xfrm>
            <a:off x="786111" y="5332728"/>
            <a:ext cx="7537379" cy="704714"/>
          </a:xfrm>
          <a:prstGeom prst="rect">
            <a:avLst/>
          </a:prstGeom>
        </p:spPr>
      </p:pic>
      <p:sp>
        <p:nvSpPr>
          <p:cNvPr id="7" name="TextBox 6">
            <a:extLst>
              <a:ext uri="{FF2B5EF4-FFF2-40B4-BE49-F238E27FC236}">
                <a16:creationId xmlns:a16="http://schemas.microsoft.com/office/drawing/2014/main" id="{08779A14-B513-76C3-05B0-4E0AAAF6B644}"/>
              </a:ext>
            </a:extLst>
          </p:cNvPr>
          <p:cNvSpPr txBox="1"/>
          <p:nvPr/>
        </p:nvSpPr>
        <p:spPr>
          <a:xfrm>
            <a:off x="1230477" y="3129005"/>
            <a:ext cx="9081924" cy="284245"/>
          </a:xfrm>
          <a:prstGeom prst="rect">
            <a:avLst/>
          </a:prstGeom>
          <a:solidFill>
            <a:srgbClr val="212121"/>
          </a:solidFill>
        </p:spPr>
        <p:txBody>
          <a:bodyPr wrap="square">
            <a:spAutoFit/>
          </a:bodyPr>
          <a:lstStyle/>
          <a:p>
            <a:pPr marL="0" lvl="1" indent="-97200">
              <a:lnSpc>
                <a:spcPct val="110000"/>
              </a:lnSpc>
            </a:pPr>
            <a:r>
              <a:rPr lang="nb-NO" sz="1200" dirty="0" err="1">
                <a:solidFill>
                  <a:srgbClr val="FFF7F2"/>
                </a:solidFill>
                <a:latin typeface="Consolas" panose="020B0609020204030204" pitchFamily="49" charset="0"/>
                <a:ea typeface="+mn-ea"/>
              </a:rPr>
              <a:t>https</a:t>
            </a:r>
            <a:r>
              <a:rPr lang="nb-NO" sz="1200" dirty="0">
                <a:solidFill>
                  <a:srgbClr val="FFF7F2"/>
                </a:solidFill>
                <a:latin typeface="Consolas" panose="020B0609020204030204" pitchFamily="49" charset="0"/>
                <a:ea typeface="+mn-ea"/>
              </a:rPr>
              <a:t>://</a:t>
            </a:r>
            <a:r>
              <a:rPr lang="nb-NO" sz="1200" dirty="0">
                <a:solidFill>
                  <a:srgbClr val="F27900"/>
                </a:solidFill>
                <a:latin typeface="Consolas" panose="020B0609020204030204" pitchFamily="49" charset="0"/>
                <a:ea typeface="+mn-ea"/>
              </a:rPr>
              <a:t>{{host}}</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restconf</a:t>
            </a:r>
            <a:r>
              <a:rPr lang="nb-NO" sz="1200" dirty="0">
                <a:solidFill>
                  <a:srgbClr val="FFF7F2"/>
                </a:solidFill>
                <a:latin typeface="Consolas" panose="020B0609020204030204" pitchFamily="49" charset="0"/>
                <a:ea typeface="+mn-ea"/>
              </a:rPr>
              <a:t>/data/</a:t>
            </a:r>
            <a:r>
              <a:rPr lang="nb-NO" sz="1200" dirty="0" err="1">
                <a:solidFill>
                  <a:srgbClr val="FFF7F2"/>
                </a:solidFill>
                <a:latin typeface="Consolas" panose="020B0609020204030204" pitchFamily="49" charset="0"/>
                <a:ea typeface="+mn-ea"/>
              </a:rPr>
              <a:t>Cisco-IOS-XE-wireless-client-oper:client-oper-data</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shared</a:t>
            </a:r>
            <a:r>
              <a:rPr lang="nb-NO" sz="1200" dirty="0">
                <a:solidFill>
                  <a:srgbClr val="FFF7F2"/>
                </a:solidFill>
                <a:latin typeface="Consolas" panose="020B0609020204030204" pitchFamily="49" charset="0"/>
                <a:ea typeface="+mn-ea"/>
              </a:rPr>
              <a:t>-</a:t>
            </a:r>
            <a:r>
              <a:rPr lang="nb-NO" sz="1200" dirty="0" err="1">
                <a:solidFill>
                  <a:srgbClr val="FFF7F2"/>
                </a:solidFill>
                <a:latin typeface="Consolas" panose="020B0609020204030204" pitchFamily="49" charset="0"/>
                <a:ea typeface="+mn-ea"/>
              </a:rPr>
              <a:t>oper</a:t>
            </a:r>
            <a:r>
              <a:rPr lang="nb-NO" sz="1200" dirty="0">
                <a:solidFill>
                  <a:srgbClr val="FFF7F2"/>
                </a:solidFill>
                <a:latin typeface="Consolas" panose="020B0609020204030204" pitchFamily="49" charset="0"/>
                <a:ea typeface="+mn-ea"/>
              </a:rPr>
              <a:t>-data</a:t>
            </a:r>
          </a:p>
        </p:txBody>
      </p:sp>
    </p:spTree>
    <p:extLst>
      <p:ext uri="{BB962C8B-B14F-4D97-AF65-F5344CB8AC3E}">
        <p14:creationId xmlns:p14="http://schemas.microsoft.com/office/powerpoint/2010/main" val="1721478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A5A0F25-9526-EBB3-A04F-5EB28C9A446E}"/>
              </a:ext>
            </a:extLst>
          </p:cNvPr>
          <p:cNvPicPr>
            <a:picLocks noChangeAspect="1"/>
          </p:cNvPicPr>
          <p:nvPr/>
        </p:nvPicPr>
        <p:blipFill>
          <a:blip r:embed="rId3"/>
          <a:stretch>
            <a:fillRect/>
          </a:stretch>
        </p:blipFill>
        <p:spPr>
          <a:xfrm>
            <a:off x="2705100" y="1456463"/>
            <a:ext cx="2038227" cy="174393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Output to Python</a:t>
            </a:r>
          </a:p>
        </p:txBody>
      </p:sp>
      <p:sp>
        <p:nvSpPr>
          <p:cNvPr id="3" name="Footer Placeholder 6">
            <a:extLst>
              <a:ext uri="{FF2B5EF4-FFF2-40B4-BE49-F238E27FC236}">
                <a16:creationId xmlns:a16="http://schemas.microsoft.com/office/drawing/2014/main" id="{8270A7FD-253D-34C1-5FC1-AB0F8546747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06D484B0-8A03-2AA5-1C90-502CFFA0A0A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
        <p:nvSpPr>
          <p:cNvPr id="6" name="The distance between the headline and the start of the body copy is always constant.…">
            <a:extLst>
              <a:ext uri="{FF2B5EF4-FFF2-40B4-BE49-F238E27FC236}">
                <a16:creationId xmlns:a16="http://schemas.microsoft.com/office/drawing/2014/main" id="{0D4648DA-4B5B-6E10-A6B4-1C4D081CE994}"/>
              </a:ext>
            </a:extLst>
          </p:cNvPr>
          <p:cNvSpPr txBox="1">
            <a:spLocks/>
          </p:cNvSpPr>
          <p:nvPr/>
        </p:nvSpPr>
        <p:spPr bwMode="gray">
          <a:xfrm>
            <a:off x="540000" y="972000"/>
            <a:ext cx="10839200"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a:t>
            </a:r>
            <a:r>
              <a:rPr lang="nb-NO" sz="1600" err="1"/>
              <a:t>can</a:t>
            </a:r>
            <a:r>
              <a:rPr lang="nb-NO" sz="1600"/>
              <a:t> output </a:t>
            </a:r>
            <a:r>
              <a:rPr lang="nb-NO" sz="1600" err="1"/>
              <a:t>the</a:t>
            </a:r>
            <a:r>
              <a:rPr lang="nb-NO" sz="1600"/>
              <a:t> </a:t>
            </a:r>
            <a:r>
              <a:rPr lang="nb-NO" sz="1600" err="1"/>
              <a:t>RESTCONF</a:t>
            </a:r>
            <a:r>
              <a:rPr lang="nb-NO" sz="1600"/>
              <a:t> </a:t>
            </a:r>
            <a:r>
              <a:rPr lang="nb-NO" sz="1600" err="1"/>
              <a:t>call</a:t>
            </a:r>
            <a:r>
              <a:rPr lang="nb-NO" sz="1600"/>
              <a:t> as </a:t>
            </a:r>
            <a:r>
              <a:rPr lang="nb-NO" sz="1600" err="1"/>
              <a:t>various</a:t>
            </a:r>
            <a:r>
              <a:rPr lang="nb-NO" sz="1600"/>
              <a:t> </a:t>
            </a:r>
            <a:r>
              <a:rPr lang="nb-NO" sz="1600" err="1"/>
              <a:t>code</a:t>
            </a:r>
            <a:r>
              <a:rPr lang="nb-NO" sz="1600"/>
              <a:t> </a:t>
            </a:r>
            <a:r>
              <a:rPr lang="nb-NO" sz="1600" err="1"/>
              <a:t>snippets</a:t>
            </a:r>
            <a:r>
              <a:rPr lang="nb-NO" sz="1600"/>
              <a:t> by </a:t>
            </a:r>
            <a:r>
              <a:rPr lang="nb-NO" sz="1600" err="1"/>
              <a:t>clicking</a:t>
            </a:r>
            <a:r>
              <a:rPr lang="nb-NO" sz="1600"/>
              <a:t> </a:t>
            </a:r>
            <a:r>
              <a:rPr lang="nb-NO" sz="1600" err="1"/>
              <a:t>the</a:t>
            </a:r>
            <a:r>
              <a:rPr lang="nb-NO" sz="1600"/>
              <a:t> "Code" </a:t>
            </a:r>
            <a:r>
              <a:rPr lang="nb-NO" sz="1600" err="1"/>
              <a:t>button</a:t>
            </a:r>
            <a:endParaRPr lang="nb-NO" sz="16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200"/>
          </a:p>
          <a:p>
            <a:pPr>
              <a:lnSpc>
                <a:spcPct val="110000"/>
              </a:lnSpc>
            </a:pPr>
            <a:endParaRPr lang="nb-NO" sz="1600"/>
          </a:p>
          <a:p>
            <a:pPr>
              <a:lnSpc>
                <a:spcPct val="110000"/>
              </a:lnSpc>
            </a:pPr>
            <a:r>
              <a:rPr lang="nb-NO" sz="1600"/>
              <a:t>This </a:t>
            </a:r>
            <a:r>
              <a:rPr lang="nb-NO" sz="1600" err="1"/>
              <a:t>can</a:t>
            </a:r>
            <a:r>
              <a:rPr lang="nb-NO" sz="1600"/>
              <a:t> be used in </a:t>
            </a:r>
            <a:r>
              <a:rPr lang="nb-NO" sz="1600" err="1"/>
              <a:t>your</a:t>
            </a:r>
            <a:r>
              <a:rPr lang="nb-NO" sz="1600"/>
              <a:t> </a:t>
            </a:r>
            <a:r>
              <a:rPr lang="nb-NO" sz="1600" err="1"/>
              <a:t>favorite</a:t>
            </a:r>
            <a:r>
              <a:rPr lang="nb-NO" sz="1600"/>
              <a:t> Python editor, or just run it to test</a:t>
            </a:r>
          </a:p>
        </p:txBody>
      </p:sp>
      <p:pic>
        <p:nvPicPr>
          <p:cNvPr id="5" name="Picture 4">
            <a:extLst>
              <a:ext uri="{FF2B5EF4-FFF2-40B4-BE49-F238E27FC236}">
                <a16:creationId xmlns:a16="http://schemas.microsoft.com/office/drawing/2014/main" id="{7D6069A2-9501-2300-BD28-8209D040D610}"/>
              </a:ext>
            </a:extLst>
          </p:cNvPr>
          <p:cNvPicPr>
            <a:picLocks noChangeAspect="1"/>
          </p:cNvPicPr>
          <p:nvPr/>
        </p:nvPicPr>
        <p:blipFill>
          <a:blip r:embed="rId4"/>
          <a:stretch>
            <a:fillRect/>
          </a:stretch>
        </p:blipFill>
        <p:spPr>
          <a:xfrm>
            <a:off x="540000" y="1512000"/>
            <a:ext cx="1396750" cy="1487726"/>
          </a:xfrm>
          <a:prstGeom prst="rect">
            <a:avLst/>
          </a:prstGeom>
        </p:spPr>
      </p:pic>
      <p:sp>
        <p:nvSpPr>
          <p:cNvPr id="7" name="Rectangle: Rounded Corners 6">
            <a:extLst>
              <a:ext uri="{FF2B5EF4-FFF2-40B4-BE49-F238E27FC236}">
                <a16:creationId xmlns:a16="http://schemas.microsoft.com/office/drawing/2014/main" id="{B250CD7F-4F1F-032D-232F-76216BBC57FA}"/>
              </a:ext>
            </a:extLst>
          </p:cNvPr>
          <p:cNvSpPr/>
          <p:nvPr/>
        </p:nvSpPr>
        <p:spPr>
          <a:xfrm>
            <a:off x="1643363" y="2215578"/>
            <a:ext cx="344188" cy="31574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B1874FD3-F563-97BC-FDE6-AC4BDAED6CF9}"/>
              </a:ext>
            </a:extLst>
          </p:cNvPr>
          <p:cNvCxnSpPr>
            <a:cxnSpLocks/>
            <a:stCxn id="7" idx="3"/>
          </p:cNvCxnSpPr>
          <p:nvPr/>
        </p:nvCxnSpPr>
        <p:spPr>
          <a:xfrm>
            <a:off x="1987551" y="2373452"/>
            <a:ext cx="927099" cy="62627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127C00FE-471B-0958-D5D3-5F812F0489F6}"/>
              </a:ext>
            </a:extLst>
          </p:cNvPr>
          <p:cNvPicPr>
            <a:picLocks noChangeAspect="1"/>
          </p:cNvPicPr>
          <p:nvPr/>
        </p:nvPicPr>
        <p:blipFill>
          <a:blip r:embed="rId5"/>
          <a:stretch>
            <a:fillRect/>
          </a:stretch>
        </p:blipFill>
        <p:spPr>
          <a:xfrm>
            <a:off x="6016743" y="1456463"/>
            <a:ext cx="1728126" cy="1682287"/>
          </a:xfrm>
          <a:prstGeom prst="rect">
            <a:avLst/>
          </a:prstGeom>
        </p:spPr>
      </p:pic>
      <p:cxnSp>
        <p:nvCxnSpPr>
          <p:cNvPr id="16" name="Straight Arrow Connector 15">
            <a:extLst>
              <a:ext uri="{FF2B5EF4-FFF2-40B4-BE49-F238E27FC236}">
                <a16:creationId xmlns:a16="http://schemas.microsoft.com/office/drawing/2014/main" id="{AC1557EC-4A73-6D5E-CC6D-62931451DEA2}"/>
              </a:ext>
            </a:extLst>
          </p:cNvPr>
          <p:cNvCxnSpPr>
            <a:cxnSpLocks/>
          </p:cNvCxnSpPr>
          <p:nvPr/>
        </p:nvCxnSpPr>
        <p:spPr>
          <a:xfrm flipV="1">
            <a:off x="3683000" y="2373452"/>
            <a:ext cx="2333743" cy="577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359151E5-029A-999E-26AE-1377CE51CE7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11520" y="3742150"/>
            <a:ext cx="6801823" cy="2316033"/>
          </a:xfrm>
          <a:prstGeom prst="rect">
            <a:avLst/>
          </a:prstGeom>
        </p:spPr>
      </p:pic>
      <p:cxnSp>
        <p:nvCxnSpPr>
          <p:cNvPr id="21" name="Straight Arrow Connector 20">
            <a:extLst>
              <a:ext uri="{FF2B5EF4-FFF2-40B4-BE49-F238E27FC236}">
                <a16:creationId xmlns:a16="http://schemas.microsoft.com/office/drawing/2014/main" id="{F2921D8A-B823-857B-75BD-14275745C8CB}"/>
              </a:ext>
            </a:extLst>
          </p:cNvPr>
          <p:cNvCxnSpPr>
            <a:cxnSpLocks/>
          </p:cNvCxnSpPr>
          <p:nvPr/>
        </p:nvCxnSpPr>
        <p:spPr>
          <a:xfrm flipH="1" flipV="1">
            <a:off x="6616700" y="5207000"/>
            <a:ext cx="1365250" cy="3810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267E66C1-AFF1-F625-4563-8C222B7AF09A}"/>
              </a:ext>
            </a:extLst>
          </p:cNvPr>
          <p:cNvCxnSpPr>
            <a:cxnSpLocks/>
          </p:cNvCxnSpPr>
          <p:nvPr/>
        </p:nvCxnSpPr>
        <p:spPr>
          <a:xfrm flipH="1">
            <a:off x="4984225" y="3810000"/>
            <a:ext cx="2900638" cy="11436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7" name="The distance between the headline and the start of the body copy is always constant.…">
            <a:extLst>
              <a:ext uri="{FF2B5EF4-FFF2-40B4-BE49-F238E27FC236}">
                <a16:creationId xmlns:a16="http://schemas.microsoft.com/office/drawing/2014/main" id="{9F9FC0F1-3DB9-11A0-0582-2A41985BC798}"/>
              </a:ext>
            </a:extLst>
          </p:cNvPr>
          <p:cNvSpPr txBox="1">
            <a:spLocks/>
          </p:cNvSpPr>
          <p:nvPr/>
        </p:nvSpPr>
        <p:spPr bwMode="gray">
          <a:xfrm>
            <a:off x="7884863" y="3470663"/>
            <a:ext cx="4219747" cy="1099118"/>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You</a:t>
            </a:r>
            <a:r>
              <a:rPr lang="nb-NO" sz="1600"/>
              <a:t> </a:t>
            </a:r>
            <a:r>
              <a:rPr lang="nb-NO" sz="1600" err="1"/>
              <a:t>get</a:t>
            </a:r>
            <a:r>
              <a:rPr lang="nb-NO" sz="1600"/>
              <a:t> </a:t>
            </a:r>
            <a:r>
              <a:rPr lang="nb-NO" sz="1600" err="1"/>
              <a:t>this</a:t>
            </a:r>
            <a:r>
              <a:rPr lang="nb-NO" sz="1600"/>
              <a:t> by hovering </a:t>
            </a:r>
            <a:r>
              <a:rPr lang="nb-NO" sz="1600" err="1"/>
              <a:t>the</a:t>
            </a:r>
            <a:r>
              <a:rPr lang="nb-NO" sz="1600"/>
              <a:t> </a:t>
            </a:r>
            <a:r>
              <a:rPr lang="nb-NO" sz="1600" err="1"/>
              <a:t>mouse</a:t>
            </a:r>
            <a:r>
              <a:rPr lang="nb-NO" sz="1600"/>
              <a:t> over </a:t>
            </a:r>
            <a:r>
              <a:rPr lang="nb-NO" sz="1600" err="1"/>
              <a:t>the</a:t>
            </a:r>
            <a:r>
              <a:rPr lang="nb-NO" sz="1600"/>
              <a:t> **** </a:t>
            </a:r>
            <a:r>
              <a:rPr lang="nb-NO" sz="1600" err="1"/>
              <a:t>text</a:t>
            </a:r>
            <a:r>
              <a:rPr lang="nb-NO" sz="1600"/>
              <a:t> in </a:t>
            </a:r>
            <a:r>
              <a:rPr lang="nb-NO" sz="1600" err="1"/>
              <a:t>the</a:t>
            </a:r>
            <a:r>
              <a:rPr lang="nb-NO" sz="1600"/>
              <a:t> Code </a:t>
            </a:r>
            <a:r>
              <a:rPr lang="nb-NO" sz="1600" err="1"/>
              <a:t>snippet</a:t>
            </a:r>
            <a:endParaRPr lang="nb-NO" sz="1600"/>
          </a:p>
        </p:txBody>
      </p:sp>
      <p:pic>
        <p:nvPicPr>
          <p:cNvPr id="30" name="Picture 29">
            <a:extLst>
              <a:ext uri="{FF2B5EF4-FFF2-40B4-BE49-F238E27FC236}">
                <a16:creationId xmlns:a16="http://schemas.microsoft.com/office/drawing/2014/main" id="{9DCA5A58-5D56-1568-3249-932C89E09859}"/>
              </a:ext>
            </a:extLst>
          </p:cNvPr>
          <p:cNvPicPr>
            <a:picLocks noChangeAspect="1"/>
          </p:cNvPicPr>
          <p:nvPr/>
        </p:nvPicPr>
        <p:blipFill>
          <a:blip r:embed="rId7"/>
          <a:stretch>
            <a:fillRect/>
          </a:stretch>
        </p:blipFill>
        <p:spPr>
          <a:xfrm>
            <a:off x="9100535" y="4185413"/>
            <a:ext cx="2333743" cy="1099118"/>
          </a:xfrm>
          <a:prstGeom prst="rect">
            <a:avLst/>
          </a:prstGeom>
        </p:spPr>
      </p:pic>
      <p:sp>
        <p:nvSpPr>
          <p:cNvPr id="32" name="The distance between the headline and the start of the body copy is always constant.…">
            <a:extLst>
              <a:ext uri="{FF2B5EF4-FFF2-40B4-BE49-F238E27FC236}">
                <a16:creationId xmlns:a16="http://schemas.microsoft.com/office/drawing/2014/main" id="{7441BED7-411B-F94C-B861-6678777A050F}"/>
              </a:ext>
            </a:extLst>
          </p:cNvPr>
          <p:cNvSpPr txBox="1">
            <a:spLocks/>
          </p:cNvSpPr>
          <p:nvPr/>
        </p:nvSpPr>
        <p:spPr bwMode="gray">
          <a:xfrm>
            <a:off x="7970666" y="5288144"/>
            <a:ext cx="4219747" cy="95965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Add</a:t>
            </a:r>
            <a:r>
              <a:rPr lang="nb-NO" sz="1600"/>
              <a:t> "</a:t>
            </a:r>
            <a:r>
              <a:rPr lang="nb-NO" sz="1600" err="1"/>
              <a:t>verify</a:t>
            </a:r>
            <a:r>
              <a:rPr lang="nb-NO" sz="1600"/>
              <a:t>= False" to skip </a:t>
            </a:r>
            <a:r>
              <a:rPr lang="nb-NO" sz="1600" err="1"/>
              <a:t>certificate</a:t>
            </a:r>
            <a:r>
              <a:rPr lang="nb-NO" sz="1600"/>
              <a:t> </a:t>
            </a:r>
            <a:r>
              <a:rPr lang="nb-NO" sz="1600" err="1"/>
              <a:t>checking</a:t>
            </a:r>
            <a:r>
              <a:rPr lang="nb-NO" sz="1600"/>
              <a:t> </a:t>
            </a:r>
            <a:r>
              <a:rPr lang="nb-NO" sz="1600" err="1"/>
              <a:t>on</a:t>
            </a:r>
            <a:r>
              <a:rPr lang="nb-NO" sz="1600"/>
              <a:t> </a:t>
            </a:r>
            <a:r>
              <a:rPr lang="nb-NO" sz="1600" err="1"/>
              <a:t>the</a:t>
            </a:r>
            <a:r>
              <a:rPr lang="nb-NO" sz="1600"/>
              <a:t> host</a:t>
            </a:r>
          </a:p>
        </p:txBody>
      </p:sp>
    </p:spTree>
    <p:extLst>
      <p:ext uri="{BB962C8B-B14F-4D97-AF65-F5344CB8AC3E}">
        <p14:creationId xmlns:p14="http://schemas.microsoft.com/office/powerpoint/2010/main" val="20429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6553006" cy="4838400"/>
          </a:xfrm>
        </p:spPr>
        <p:txBody>
          <a:bodyPr>
            <a:normAutofit/>
          </a:bodyPr>
          <a:lstStyle/>
          <a:p>
            <a:pPr>
              <a:lnSpc>
                <a:spcPct val="110000"/>
              </a:lnSpc>
            </a:pPr>
            <a:r>
              <a:rPr lang="nb-NO" sz="1600"/>
              <a:t>In </a:t>
            </a:r>
            <a:r>
              <a:rPr lang="nb-NO" sz="1600" err="1"/>
              <a:t>this</a:t>
            </a:r>
            <a:r>
              <a:rPr lang="nb-NO" sz="1600"/>
              <a:t> lab </a:t>
            </a:r>
            <a:r>
              <a:rPr lang="nb-NO" sz="1600" err="1"/>
              <a:t>we</a:t>
            </a:r>
            <a:r>
              <a:rPr lang="nb-NO" sz="1600"/>
              <a:t> </a:t>
            </a:r>
            <a:r>
              <a:rPr lang="nb-NO" sz="1600" err="1"/>
              <a:t>will</a:t>
            </a:r>
            <a:r>
              <a:rPr lang="nb-NO" sz="1600"/>
              <a:t> </a:t>
            </a:r>
            <a:r>
              <a:rPr lang="nb-NO" sz="1600" err="1"/>
              <a:t>use</a:t>
            </a:r>
            <a:r>
              <a:rPr lang="nb-NO" sz="1600"/>
              <a:t> </a:t>
            </a:r>
            <a:r>
              <a:rPr lang="nb-NO" sz="1600" err="1"/>
              <a:t>C9800</a:t>
            </a:r>
            <a:r>
              <a:rPr lang="nb-NO" sz="1600"/>
              <a:t>-L </a:t>
            </a:r>
            <a:r>
              <a:rPr lang="nb-NO" sz="1600" err="1"/>
              <a:t>running</a:t>
            </a:r>
            <a:r>
              <a:rPr lang="nb-NO" sz="1600"/>
              <a:t> </a:t>
            </a:r>
            <a:r>
              <a:rPr lang="nb-NO" sz="1600" err="1"/>
              <a:t>on</a:t>
            </a:r>
            <a:r>
              <a:rPr lang="nb-NO" sz="1600"/>
              <a:t> </a:t>
            </a:r>
            <a:r>
              <a:rPr lang="nb-NO" sz="1600" err="1"/>
              <a:t>VirtualBox</a:t>
            </a:r>
            <a:endParaRPr lang="nb-NO" sz="1600"/>
          </a:p>
          <a:p>
            <a:pPr>
              <a:lnSpc>
                <a:spcPct val="110000"/>
              </a:lnSpc>
            </a:pPr>
            <a:r>
              <a:rPr lang="nb-NO" sz="1600"/>
              <a:t>If </a:t>
            </a:r>
            <a:r>
              <a:rPr lang="nb-NO" sz="1600" err="1"/>
              <a:t>you</a:t>
            </a:r>
            <a:r>
              <a:rPr lang="nb-NO" sz="1600"/>
              <a:t> have time or </a:t>
            </a:r>
            <a:r>
              <a:rPr lang="nb-NO" sz="1600" err="1"/>
              <a:t>want</a:t>
            </a:r>
            <a:r>
              <a:rPr lang="nb-NO" sz="1600"/>
              <a:t> to do it later, </a:t>
            </a:r>
            <a:r>
              <a:rPr lang="nb-NO" sz="1600" err="1"/>
              <a:t>you</a:t>
            </a:r>
            <a:r>
              <a:rPr lang="nb-NO" sz="1600"/>
              <a:t> </a:t>
            </a:r>
            <a:r>
              <a:rPr lang="nb-NO" sz="1600" err="1"/>
              <a:t>can</a:t>
            </a:r>
            <a:r>
              <a:rPr lang="nb-NO" sz="1600"/>
              <a:t> </a:t>
            </a:r>
            <a:r>
              <a:rPr lang="nb-NO" sz="1600" err="1"/>
              <a:t>also</a:t>
            </a:r>
            <a:r>
              <a:rPr lang="nb-NO" sz="1600"/>
              <a:t> test </a:t>
            </a:r>
            <a:r>
              <a:rPr lang="nb-NO" sz="1600" err="1"/>
              <a:t>against</a:t>
            </a:r>
            <a:r>
              <a:rPr lang="nb-NO" sz="1600"/>
              <a:t> an </a:t>
            </a:r>
            <a:r>
              <a:rPr lang="nb-NO" sz="1600" err="1"/>
              <a:t>always-on</a:t>
            </a:r>
            <a:r>
              <a:rPr lang="nb-NO" sz="1600"/>
              <a:t> or on-</a:t>
            </a:r>
            <a:r>
              <a:rPr lang="nb-NO" sz="1600" err="1"/>
              <a:t>demand</a:t>
            </a:r>
            <a:r>
              <a:rPr lang="nb-NO" sz="1600"/>
              <a:t> Cisco IOS </a:t>
            </a:r>
            <a:r>
              <a:rPr lang="nb-NO" sz="1600" err="1"/>
              <a:t>XE</a:t>
            </a:r>
            <a:r>
              <a:rPr lang="nb-NO" sz="1600"/>
              <a:t> </a:t>
            </a:r>
            <a:r>
              <a:rPr lang="nb-NO" sz="1600" err="1"/>
              <a:t>device</a:t>
            </a:r>
            <a:r>
              <a:rPr lang="nb-NO" sz="1600"/>
              <a:t> at Cisco </a:t>
            </a:r>
            <a:r>
              <a:rPr lang="nb-NO" sz="1600" err="1"/>
              <a:t>DevNet</a:t>
            </a:r>
            <a:r>
              <a:rPr lang="nb-NO" sz="1600"/>
              <a:t> Sandbox</a:t>
            </a:r>
          </a:p>
          <a:p>
            <a:pPr>
              <a:lnSpc>
                <a:spcPct val="110000"/>
              </a:lnSpc>
            </a:pPr>
            <a:r>
              <a:rPr lang="nb-NO" sz="1200">
                <a:hlinkClick r:id="rId3"/>
              </a:rPr>
              <a:t>https://developer.cisco.com/learning/labs/intro-dnac-api/authentication/</a:t>
            </a:r>
            <a:endParaRPr lang="nb-NO" sz="1200"/>
          </a:p>
          <a:p>
            <a:pPr>
              <a:lnSpc>
                <a:spcPct val="110000"/>
              </a:lnSpc>
            </a:pPr>
            <a:r>
              <a:rPr lang="nb-NO" sz="1600"/>
              <a:t>Some </a:t>
            </a:r>
            <a:r>
              <a:rPr lang="nb-NO" sz="1600" err="1"/>
              <a:t>always-on</a:t>
            </a:r>
            <a:r>
              <a:rPr lang="nb-NO" sz="1600"/>
              <a:t> (RO) labs</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r>
              <a:rPr lang="nb-NO" sz="1600" err="1"/>
              <a:t>Some</a:t>
            </a:r>
            <a:r>
              <a:rPr lang="nb-NO" sz="1600"/>
              <a:t> reservable (</a:t>
            </a:r>
            <a:r>
              <a:rPr lang="nb-NO" sz="1600" err="1"/>
              <a:t>RW</a:t>
            </a:r>
            <a:r>
              <a:rPr lang="nb-NO" sz="1600"/>
              <a:t>) lab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sing Cisco </a:t>
            </a:r>
            <a:r>
              <a:rPr lang="en-GB" err="1"/>
              <a:t>DevNet</a:t>
            </a:r>
            <a:r>
              <a:rPr lang="en-GB"/>
              <a:t> Sandbox (optional)</a:t>
            </a:r>
          </a:p>
        </p:txBody>
      </p:sp>
      <p:pic>
        <p:nvPicPr>
          <p:cNvPr id="3" name="Picture 2">
            <a:extLst>
              <a:ext uri="{FF2B5EF4-FFF2-40B4-BE49-F238E27FC236}">
                <a16:creationId xmlns:a16="http://schemas.microsoft.com/office/drawing/2014/main" id="{DB5CD4E5-3BE7-7364-A4E7-78C03845C8B7}"/>
              </a:ext>
            </a:extLst>
          </p:cNvPr>
          <p:cNvPicPr>
            <a:picLocks noChangeAspect="1"/>
          </p:cNvPicPr>
          <p:nvPr/>
        </p:nvPicPr>
        <p:blipFill>
          <a:blip r:embed="rId4"/>
          <a:stretch>
            <a:fillRect/>
          </a:stretch>
        </p:blipFill>
        <p:spPr>
          <a:xfrm>
            <a:off x="7093006" y="2001313"/>
            <a:ext cx="4034013" cy="3703274"/>
          </a:xfrm>
          <a:prstGeom prst="rect">
            <a:avLst/>
          </a:prstGeom>
        </p:spPr>
      </p:pic>
      <p:sp>
        <p:nvSpPr>
          <p:cNvPr id="2" name="Footer Placeholder 6">
            <a:extLst>
              <a:ext uri="{FF2B5EF4-FFF2-40B4-BE49-F238E27FC236}">
                <a16:creationId xmlns:a16="http://schemas.microsoft.com/office/drawing/2014/main" id="{AA8EBD60-876B-4C2E-3F6C-4465FF45566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6BCF03F3-FFDE-2EB5-7559-E2592BF25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pic>
        <p:nvPicPr>
          <p:cNvPr id="5" name="Picture 4">
            <a:extLst>
              <a:ext uri="{FF2B5EF4-FFF2-40B4-BE49-F238E27FC236}">
                <a16:creationId xmlns:a16="http://schemas.microsoft.com/office/drawing/2014/main" id="{B8E71810-4EDE-0AEC-C566-A7C61933617F}"/>
              </a:ext>
            </a:extLst>
          </p:cNvPr>
          <p:cNvPicPr>
            <a:picLocks noChangeAspect="1"/>
          </p:cNvPicPr>
          <p:nvPr/>
        </p:nvPicPr>
        <p:blipFill>
          <a:blip r:embed="rId5"/>
          <a:stretch>
            <a:fillRect/>
          </a:stretch>
        </p:blipFill>
        <p:spPr>
          <a:xfrm>
            <a:off x="540001" y="3132766"/>
            <a:ext cx="6472502" cy="1167896"/>
          </a:xfrm>
          <a:prstGeom prst="rect">
            <a:avLst/>
          </a:prstGeom>
        </p:spPr>
      </p:pic>
      <p:pic>
        <p:nvPicPr>
          <p:cNvPr id="8" name="Picture 7">
            <a:extLst>
              <a:ext uri="{FF2B5EF4-FFF2-40B4-BE49-F238E27FC236}">
                <a16:creationId xmlns:a16="http://schemas.microsoft.com/office/drawing/2014/main" id="{38535E0A-82FC-5025-B447-3260C3BD6DAA}"/>
              </a:ext>
            </a:extLst>
          </p:cNvPr>
          <p:cNvPicPr>
            <a:picLocks noChangeAspect="1"/>
          </p:cNvPicPr>
          <p:nvPr/>
        </p:nvPicPr>
        <p:blipFill>
          <a:blip r:embed="rId6"/>
          <a:stretch>
            <a:fillRect/>
          </a:stretch>
        </p:blipFill>
        <p:spPr>
          <a:xfrm>
            <a:off x="540001" y="4752943"/>
            <a:ext cx="6472502" cy="1174585"/>
          </a:xfrm>
          <a:prstGeom prst="rect">
            <a:avLst/>
          </a:prstGeom>
        </p:spPr>
      </p:pic>
    </p:spTree>
    <p:extLst>
      <p:ext uri="{BB962C8B-B14F-4D97-AF65-F5344CB8AC3E}">
        <p14:creationId xmlns:p14="http://schemas.microsoft.com/office/powerpoint/2010/main" val="291921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143750" cy="4838400"/>
          </a:xfrm>
        </p:spPr>
        <p:txBody>
          <a:bodyPr>
            <a:normAutofit/>
          </a:bodyPr>
          <a:lstStyle/>
          <a:p>
            <a:pPr>
              <a:lnSpc>
                <a:spcPct val="110000"/>
              </a:lnSpc>
            </a:pPr>
            <a:r>
              <a:rPr lang="nb-NO" sz="1600" dirty="0"/>
              <a:t>This </a:t>
            </a:r>
            <a:r>
              <a:rPr lang="nb-NO" sz="1600" dirty="0" err="1"/>
              <a:t>section</a:t>
            </a:r>
            <a:r>
              <a:rPr lang="nb-NO" sz="1600" dirty="0"/>
              <a:t> is </a:t>
            </a:r>
            <a:r>
              <a:rPr lang="nb-NO" sz="1600" dirty="0" err="1"/>
              <a:t>unfortunately</a:t>
            </a:r>
            <a:r>
              <a:rPr lang="nb-NO" sz="1600" dirty="0"/>
              <a:t> not </a:t>
            </a:r>
            <a:r>
              <a:rPr lang="nb-NO" sz="1600" dirty="0" err="1"/>
              <a:t>finished</a:t>
            </a:r>
            <a:r>
              <a:rPr lang="nb-NO" sz="1600" dirty="0"/>
              <a:t> </a:t>
            </a:r>
            <a:r>
              <a:rPr lang="nb-NO" sz="1600" dirty="0" err="1"/>
              <a:t>yet</a:t>
            </a:r>
            <a:endParaRPr lang="nb-NO" sz="1600" dirty="0"/>
          </a:p>
          <a:p>
            <a:pPr>
              <a:lnSpc>
                <a:spcPct val="110000"/>
              </a:lnSpc>
            </a:pPr>
            <a:r>
              <a:rPr lang="nb-NO" sz="1600" dirty="0" err="1"/>
              <a:t>You</a:t>
            </a:r>
            <a:r>
              <a:rPr lang="nb-NO" sz="1600" dirty="0"/>
              <a:t> </a:t>
            </a:r>
            <a:r>
              <a:rPr lang="nb-NO" sz="1600" dirty="0" err="1"/>
              <a:t>may</a:t>
            </a:r>
            <a:r>
              <a:rPr lang="nb-NO" sz="1600" dirty="0"/>
              <a:t> </a:t>
            </a:r>
            <a:r>
              <a:rPr lang="nb-NO" sz="1600" dirty="0" err="1"/>
              <a:t>download</a:t>
            </a:r>
            <a:r>
              <a:rPr lang="nb-NO" sz="1600" dirty="0"/>
              <a:t> </a:t>
            </a:r>
            <a:r>
              <a:rPr lang="nb-NO" sz="1600" dirty="0" err="1"/>
              <a:t>the</a:t>
            </a:r>
            <a:r>
              <a:rPr lang="nb-NO" sz="1600" dirty="0"/>
              <a:t> </a:t>
            </a:r>
            <a:r>
              <a:rPr lang="nb-NO" sz="1600" dirty="0" err="1"/>
              <a:t>updated</a:t>
            </a:r>
            <a:r>
              <a:rPr lang="nb-NO" sz="1600" dirty="0"/>
              <a:t> guide at a later stage, from </a:t>
            </a:r>
            <a:r>
              <a:rPr lang="nb-NO" sz="1600" dirty="0" err="1">
                <a:hlinkClick r:id="rId3"/>
              </a:rPr>
              <a:t>https</a:t>
            </a:r>
            <a:r>
              <a:rPr lang="nb-NO" sz="1600" dirty="0">
                <a:hlinkClick r:id="rId3"/>
              </a:rPr>
              <a:t>://</a:t>
            </a:r>
            <a:r>
              <a:rPr lang="nb-NO" sz="1600" dirty="0" err="1">
                <a:hlinkClick r:id="rId3"/>
              </a:rPr>
              <a:t>github.com</a:t>
            </a:r>
            <a:r>
              <a:rPr lang="nb-NO" sz="1600" dirty="0">
                <a:hlinkClick r:id="rId3"/>
              </a:rPr>
              <a:t>/</a:t>
            </a:r>
            <a:r>
              <a:rPr lang="nb-NO" sz="1600" dirty="0" err="1">
                <a:hlinkClick r:id="rId3"/>
              </a:rPr>
              <a:t>akoksrud</a:t>
            </a:r>
            <a:r>
              <a:rPr lang="nb-NO" sz="1600">
                <a:hlinkClick r:id="rId3"/>
              </a:rPr>
              <a:t>/wifi-automation</a:t>
            </a:r>
            <a:endParaRPr lang="nb-NO" sz="1600"/>
          </a:p>
          <a:p>
            <a:pPr>
              <a:lnSpc>
                <a:spcPct val="110000"/>
              </a:lnSpc>
            </a:pPr>
            <a:r>
              <a:rPr lang="nb-NO" sz="1600"/>
              <a:t>To test this on your own, here is a starting point:</a:t>
            </a:r>
            <a:br>
              <a:rPr lang="nb-NO" sz="1600"/>
            </a:br>
            <a:r>
              <a:rPr lang="nb-NO" sz="1200">
                <a:hlinkClick r:id="rId4"/>
              </a:rPr>
              <a:t>https://developer.arubanetworks.com/hpe-aruba-networking-central/docs/postman-collection</a:t>
            </a:r>
            <a:endParaRPr lang="nb-NO" sz="10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Testing Aruba APIs (optional)</a:t>
            </a:r>
          </a:p>
        </p:txBody>
      </p:sp>
      <p:sp>
        <p:nvSpPr>
          <p:cNvPr id="2" name="Footer Placeholder 6">
            <a:extLst>
              <a:ext uri="{FF2B5EF4-FFF2-40B4-BE49-F238E27FC236}">
                <a16:creationId xmlns:a16="http://schemas.microsoft.com/office/drawing/2014/main" id="{AA8EBD60-876B-4C2E-3F6C-4465FF45566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6BCF03F3-FFDE-2EB5-7559-E2592BF25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161379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7842000" cy="4838400"/>
          </a:xfrm>
        </p:spPr>
        <p:txBody>
          <a:bodyPr>
            <a:normAutofit/>
          </a:bodyPr>
          <a:lstStyle/>
          <a:p>
            <a:pPr>
              <a:lnSpc>
                <a:spcPct val="110000"/>
              </a:lnSpc>
            </a:pPr>
            <a:r>
              <a:rPr lang="nb-NO" sz="1600" dirty="0"/>
              <a:t>This </a:t>
            </a:r>
            <a:r>
              <a:rPr lang="nb-NO" sz="1600" dirty="0" err="1"/>
              <a:t>section</a:t>
            </a:r>
            <a:r>
              <a:rPr lang="nb-NO" sz="1600" dirty="0"/>
              <a:t> is </a:t>
            </a:r>
            <a:r>
              <a:rPr lang="nb-NO" sz="1600" dirty="0" err="1"/>
              <a:t>unfortunately</a:t>
            </a:r>
            <a:r>
              <a:rPr lang="nb-NO" sz="1600" dirty="0"/>
              <a:t> not </a:t>
            </a:r>
            <a:r>
              <a:rPr lang="nb-NO" sz="1600" dirty="0" err="1"/>
              <a:t>finished</a:t>
            </a:r>
            <a:r>
              <a:rPr lang="nb-NO" sz="1600" dirty="0"/>
              <a:t> </a:t>
            </a:r>
            <a:r>
              <a:rPr lang="nb-NO" sz="1600" dirty="0" err="1"/>
              <a:t>yet</a:t>
            </a:r>
            <a:endParaRPr lang="nb-NO" sz="1600" dirty="0"/>
          </a:p>
          <a:p>
            <a:pPr>
              <a:lnSpc>
                <a:spcPct val="110000"/>
              </a:lnSpc>
            </a:pPr>
            <a:r>
              <a:rPr lang="nb-NO" sz="1600" dirty="0" err="1"/>
              <a:t>You</a:t>
            </a:r>
            <a:r>
              <a:rPr lang="nb-NO" sz="1600" dirty="0"/>
              <a:t> </a:t>
            </a:r>
            <a:r>
              <a:rPr lang="nb-NO" sz="1600" dirty="0" err="1"/>
              <a:t>may</a:t>
            </a:r>
            <a:r>
              <a:rPr lang="nb-NO" sz="1600" dirty="0"/>
              <a:t> </a:t>
            </a:r>
            <a:r>
              <a:rPr lang="nb-NO" sz="1600" dirty="0" err="1"/>
              <a:t>download</a:t>
            </a:r>
            <a:r>
              <a:rPr lang="nb-NO" sz="1600" dirty="0"/>
              <a:t> </a:t>
            </a:r>
            <a:r>
              <a:rPr lang="nb-NO" sz="1600" dirty="0" err="1"/>
              <a:t>the</a:t>
            </a:r>
            <a:r>
              <a:rPr lang="nb-NO" sz="1600" dirty="0"/>
              <a:t> </a:t>
            </a:r>
            <a:r>
              <a:rPr lang="nb-NO" sz="1600" dirty="0" err="1"/>
              <a:t>updated</a:t>
            </a:r>
            <a:r>
              <a:rPr lang="nb-NO" sz="1600" dirty="0"/>
              <a:t> guide at a later stage, from </a:t>
            </a:r>
            <a:r>
              <a:rPr lang="nb-NO" sz="1600" dirty="0" err="1">
                <a:hlinkClick r:id="rId3"/>
              </a:rPr>
              <a:t>https</a:t>
            </a:r>
            <a:r>
              <a:rPr lang="nb-NO" sz="1600" dirty="0">
                <a:hlinkClick r:id="rId3"/>
              </a:rPr>
              <a:t>://</a:t>
            </a:r>
            <a:r>
              <a:rPr lang="nb-NO" sz="1600" dirty="0" err="1">
                <a:hlinkClick r:id="rId3"/>
              </a:rPr>
              <a:t>github.com</a:t>
            </a:r>
            <a:r>
              <a:rPr lang="nb-NO" sz="1600" dirty="0">
                <a:hlinkClick r:id="rId3"/>
              </a:rPr>
              <a:t>/</a:t>
            </a:r>
            <a:r>
              <a:rPr lang="nb-NO" sz="1600" dirty="0" err="1">
                <a:hlinkClick r:id="rId3"/>
              </a:rPr>
              <a:t>akoksrud</a:t>
            </a:r>
            <a:r>
              <a:rPr lang="nb-NO" sz="1600">
                <a:hlinkClick r:id="rId3"/>
              </a:rPr>
              <a:t>/wifi-automation</a:t>
            </a:r>
            <a:endParaRPr lang="nb-NO" sz="1600"/>
          </a:p>
          <a:p>
            <a:pPr>
              <a:lnSpc>
                <a:spcPct val="110000"/>
              </a:lnSpc>
            </a:pPr>
            <a:r>
              <a:rPr lang="nb-NO" sz="1600"/>
              <a:t>To test this on your own, here is a starting point: </a:t>
            </a:r>
            <a:r>
              <a:rPr lang="nb-NO" sz="1200">
                <a:hlinkClick r:id="rId4"/>
              </a:rPr>
              <a:t>https://developer.cisco.com/meraki/api-v1/getting-started/#getting-started</a:t>
            </a:r>
            <a:endParaRPr lang="nb-NO" sz="1200"/>
          </a:p>
          <a:p>
            <a:pPr>
              <a:lnSpc>
                <a:spcPct val="110000"/>
              </a:lnSpc>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6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Testing Meraki APIs (optional)</a:t>
            </a:r>
          </a:p>
        </p:txBody>
      </p:sp>
      <p:sp>
        <p:nvSpPr>
          <p:cNvPr id="2" name="Footer Placeholder 6">
            <a:extLst>
              <a:ext uri="{FF2B5EF4-FFF2-40B4-BE49-F238E27FC236}">
                <a16:creationId xmlns:a16="http://schemas.microsoft.com/office/drawing/2014/main" id="{AA8EBD60-876B-4C2E-3F6C-4465FF45566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6BCF03F3-FFDE-2EB5-7559-E2592BF25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2863027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434753"/>
          </a:xfrm>
        </p:spPr>
        <p:txBody>
          <a:bodyPr/>
          <a:lstStyle/>
          <a:p>
            <a:r>
              <a:rPr lang="nb-NO"/>
              <a:t>In </a:t>
            </a:r>
            <a:r>
              <a:rPr lang="nb-NO" err="1"/>
              <a:t>scope</a:t>
            </a:r>
            <a:endParaRPr lang="nb-NO"/>
          </a:p>
          <a:p>
            <a:pPr lvl="1"/>
            <a:r>
              <a:rPr lang="nb-NO" err="1"/>
              <a:t>Getting</a:t>
            </a:r>
            <a:r>
              <a:rPr lang="nb-NO"/>
              <a:t> </a:t>
            </a:r>
            <a:r>
              <a:rPr lang="nb-NO" err="1"/>
              <a:t>started</a:t>
            </a:r>
            <a:r>
              <a:rPr lang="nb-NO"/>
              <a:t> </a:t>
            </a:r>
            <a:r>
              <a:rPr lang="nb-NO" err="1"/>
              <a:t>with</a:t>
            </a:r>
            <a:r>
              <a:rPr lang="nb-NO"/>
              <a:t> </a:t>
            </a:r>
            <a:r>
              <a:rPr lang="nb-NO" err="1"/>
              <a:t>various</a:t>
            </a:r>
            <a:r>
              <a:rPr lang="nb-NO"/>
              <a:t> systems/</a:t>
            </a:r>
            <a:r>
              <a:rPr lang="nb-NO" err="1"/>
              <a:t>languages</a:t>
            </a:r>
            <a:r>
              <a:rPr lang="nb-NO"/>
              <a:t>/</a:t>
            </a:r>
            <a:r>
              <a:rPr lang="nb-NO" err="1"/>
              <a:t>solutions</a:t>
            </a:r>
            <a:r>
              <a:rPr lang="nb-NO"/>
              <a:t> for lab purposes</a:t>
            </a:r>
          </a:p>
          <a:p>
            <a:pPr lvl="1"/>
            <a:r>
              <a:rPr lang="nb-NO" err="1"/>
              <a:t>Get</a:t>
            </a:r>
            <a:r>
              <a:rPr lang="nb-NO"/>
              <a:t> a lab </a:t>
            </a:r>
            <a:r>
              <a:rPr lang="nb-NO" err="1"/>
              <a:t>environment</a:t>
            </a:r>
            <a:r>
              <a:rPr lang="nb-NO"/>
              <a:t> up and </a:t>
            </a:r>
            <a:r>
              <a:rPr lang="nb-NO" err="1"/>
              <a:t>running</a:t>
            </a:r>
            <a:r>
              <a:rPr lang="nb-NO"/>
              <a:t> </a:t>
            </a:r>
            <a:r>
              <a:rPr lang="nb-NO" err="1"/>
              <a:t>on</a:t>
            </a:r>
            <a:r>
              <a:rPr lang="nb-NO"/>
              <a:t> </a:t>
            </a:r>
            <a:r>
              <a:rPr lang="nb-NO" err="1"/>
              <a:t>your</a:t>
            </a:r>
            <a:r>
              <a:rPr lang="nb-NO"/>
              <a:t> </a:t>
            </a:r>
            <a:r>
              <a:rPr lang="nb-NO" err="1"/>
              <a:t>own</a:t>
            </a:r>
            <a:r>
              <a:rPr lang="nb-NO"/>
              <a:t> laptop</a:t>
            </a:r>
          </a:p>
          <a:p>
            <a:pPr lvl="1"/>
            <a:r>
              <a:rPr lang="nb-NO" err="1"/>
              <a:t>Some</a:t>
            </a:r>
            <a:r>
              <a:rPr lang="nb-NO"/>
              <a:t> </a:t>
            </a:r>
            <a:r>
              <a:rPr lang="nb-NO" err="1"/>
              <a:t>nice</a:t>
            </a:r>
            <a:r>
              <a:rPr lang="nb-NO"/>
              <a:t> </a:t>
            </a:r>
            <a:r>
              <a:rPr lang="nb-NO" err="1"/>
              <a:t>examples</a:t>
            </a:r>
            <a:r>
              <a:rPr lang="nb-NO"/>
              <a:t> to </a:t>
            </a:r>
            <a:r>
              <a:rPr lang="nb-NO" err="1"/>
              <a:t>try</a:t>
            </a:r>
            <a:r>
              <a:rPr lang="nb-NO"/>
              <a:t> </a:t>
            </a:r>
            <a:r>
              <a:rPr lang="nb-NO" err="1"/>
              <a:t>various</a:t>
            </a:r>
            <a:r>
              <a:rPr lang="nb-NO"/>
              <a:t> </a:t>
            </a:r>
            <a:r>
              <a:rPr lang="nb-NO" err="1"/>
              <a:t>aspects</a:t>
            </a:r>
            <a:r>
              <a:rPr lang="nb-NO"/>
              <a:t> </a:t>
            </a:r>
            <a:r>
              <a:rPr lang="nb-NO" err="1"/>
              <a:t>of</a:t>
            </a:r>
            <a:r>
              <a:rPr lang="nb-NO"/>
              <a:t> </a:t>
            </a:r>
            <a:r>
              <a:rPr lang="nb-NO" err="1"/>
              <a:t>automation</a:t>
            </a:r>
            <a:endParaRPr lang="nb-NO"/>
          </a:p>
          <a:p>
            <a:pPr lvl="1"/>
            <a:r>
              <a:rPr lang="nb-NO" err="1"/>
              <a:t>Inspiring</a:t>
            </a:r>
            <a:r>
              <a:rPr lang="nb-NO"/>
              <a:t> </a:t>
            </a:r>
            <a:r>
              <a:rPr lang="nb-NO" err="1"/>
              <a:t>you</a:t>
            </a:r>
            <a:r>
              <a:rPr lang="nb-NO"/>
              <a:t> to </a:t>
            </a:r>
            <a:r>
              <a:rPr lang="nb-NO" err="1"/>
              <a:t>explore</a:t>
            </a:r>
            <a:r>
              <a:rPr lang="nb-NO"/>
              <a:t> </a:t>
            </a:r>
            <a:r>
              <a:rPr lang="nb-NO" err="1"/>
              <a:t>deeper</a:t>
            </a:r>
            <a:r>
              <a:rPr lang="nb-NO"/>
              <a:t> </a:t>
            </a:r>
            <a:r>
              <a:rPr lang="nb-NO" err="1"/>
              <a:t>on</a:t>
            </a:r>
            <a:r>
              <a:rPr lang="nb-NO"/>
              <a:t> </a:t>
            </a:r>
            <a:r>
              <a:rPr lang="nb-NO" err="1"/>
              <a:t>your</a:t>
            </a:r>
            <a:r>
              <a:rPr lang="nb-NO"/>
              <a:t> </a:t>
            </a:r>
            <a:r>
              <a:rPr lang="nb-NO" err="1"/>
              <a:t>own</a:t>
            </a:r>
            <a:endParaRPr lang="nb-NO"/>
          </a:p>
          <a:p>
            <a:r>
              <a:rPr lang="nb-NO"/>
              <a:t>Out </a:t>
            </a:r>
            <a:r>
              <a:rPr lang="nb-NO" err="1"/>
              <a:t>of</a:t>
            </a:r>
            <a:r>
              <a:rPr lang="nb-NO"/>
              <a:t> </a:t>
            </a:r>
            <a:r>
              <a:rPr lang="nb-NO" err="1"/>
              <a:t>scope</a:t>
            </a:r>
            <a:r>
              <a:rPr lang="nb-NO"/>
              <a:t> </a:t>
            </a:r>
            <a:r>
              <a:rPr lang="nb-NO" err="1"/>
              <a:t>topics</a:t>
            </a:r>
            <a:endParaRPr lang="nb-NO"/>
          </a:p>
          <a:p>
            <a:pPr lvl="1"/>
            <a:r>
              <a:rPr lang="nb-NO" err="1"/>
              <a:t>Git</a:t>
            </a:r>
            <a:endParaRPr lang="nb-NO"/>
          </a:p>
          <a:p>
            <a:pPr lvl="1"/>
            <a:r>
              <a:rPr lang="nb-NO"/>
              <a:t>Learning </a:t>
            </a:r>
            <a:r>
              <a:rPr lang="nb-NO" err="1"/>
              <a:t>the</a:t>
            </a:r>
            <a:r>
              <a:rPr lang="nb-NO"/>
              <a:t> </a:t>
            </a:r>
            <a:r>
              <a:rPr lang="nb-NO" err="1"/>
              <a:t>languages</a:t>
            </a:r>
            <a:r>
              <a:rPr lang="nb-NO"/>
              <a:t> (</a:t>
            </a:r>
            <a:r>
              <a:rPr lang="nb-NO" err="1"/>
              <a:t>Ansible</a:t>
            </a:r>
            <a:r>
              <a:rPr lang="nb-NO"/>
              <a:t>, Python, </a:t>
            </a:r>
            <a:r>
              <a:rPr lang="nb-NO" err="1"/>
              <a:t>InfluxQL</a:t>
            </a:r>
            <a:r>
              <a:rPr lang="nb-NO"/>
              <a:t>, </a:t>
            </a:r>
            <a:r>
              <a:rPr lang="nb-NO" err="1"/>
              <a:t>etc</a:t>
            </a:r>
            <a:r>
              <a:rPr lang="nb-NO"/>
              <a:t>)</a:t>
            </a:r>
          </a:p>
          <a:p>
            <a:pPr lvl="1"/>
            <a:r>
              <a:rPr lang="nb-NO"/>
              <a:t>Learning Linux</a:t>
            </a:r>
          </a:p>
          <a:p>
            <a:pPr lvl="1"/>
            <a:r>
              <a:rPr lang="nb-NO" err="1"/>
              <a:t>Deploying</a:t>
            </a:r>
            <a:r>
              <a:rPr lang="nb-NO"/>
              <a:t> </a:t>
            </a:r>
            <a:r>
              <a:rPr lang="nb-NO" err="1"/>
              <a:t>the</a:t>
            </a:r>
            <a:r>
              <a:rPr lang="nb-NO"/>
              <a:t> systems for </a:t>
            </a:r>
            <a:r>
              <a:rPr lang="nb-NO" err="1"/>
              <a:t>production</a:t>
            </a:r>
            <a:r>
              <a:rPr lang="nb-NO"/>
              <a:t> </a:t>
            </a:r>
            <a:r>
              <a:rPr lang="nb-NO" err="1"/>
              <a:t>use</a:t>
            </a:r>
            <a:endParaRPr lang="nb-NO"/>
          </a:p>
          <a:p>
            <a:pPr lvl="1"/>
            <a:endParaRPr lang="nb-NO"/>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6553006" cy="4838400"/>
          </a:xfrm>
        </p:spPr>
        <p:txBody>
          <a:bodyPr>
            <a:normAutofit/>
          </a:bodyPr>
          <a:lstStyle/>
          <a:p>
            <a:pPr>
              <a:lnSpc>
                <a:spcPct val="110000"/>
              </a:lnSpc>
            </a:pPr>
            <a:r>
              <a:rPr lang="nb-NO" sz="1600" dirty="0"/>
              <a:t>This </a:t>
            </a:r>
            <a:r>
              <a:rPr lang="nb-NO" sz="1600" dirty="0" err="1"/>
              <a:t>section</a:t>
            </a:r>
            <a:r>
              <a:rPr lang="nb-NO" sz="1600" dirty="0"/>
              <a:t> is </a:t>
            </a:r>
            <a:r>
              <a:rPr lang="nb-NO" sz="1600" dirty="0" err="1"/>
              <a:t>unfortunately</a:t>
            </a:r>
            <a:r>
              <a:rPr lang="nb-NO" sz="1600" dirty="0"/>
              <a:t> not </a:t>
            </a:r>
            <a:r>
              <a:rPr lang="nb-NO" sz="1600" dirty="0" err="1"/>
              <a:t>finished</a:t>
            </a:r>
            <a:r>
              <a:rPr lang="nb-NO" sz="1600" dirty="0"/>
              <a:t> </a:t>
            </a:r>
            <a:r>
              <a:rPr lang="nb-NO" sz="1600" dirty="0" err="1"/>
              <a:t>yet</a:t>
            </a:r>
            <a:endParaRPr lang="nb-NO" sz="1600" dirty="0"/>
          </a:p>
          <a:p>
            <a:pPr>
              <a:lnSpc>
                <a:spcPct val="110000"/>
              </a:lnSpc>
            </a:pPr>
            <a:r>
              <a:rPr lang="nb-NO" sz="1600" dirty="0" err="1"/>
              <a:t>You</a:t>
            </a:r>
            <a:r>
              <a:rPr lang="nb-NO" sz="1600" dirty="0"/>
              <a:t> </a:t>
            </a:r>
            <a:r>
              <a:rPr lang="nb-NO" sz="1600" dirty="0" err="1"/>
              <a:t>may</a:t>
            </a:r>
            <a:r>
              <a:rPr lang="nb-NO" sz="1600" dirty="0"/>
              <a:t> </a:t>
            </a:r>
            <a:r>
              <a:rPr lang="nb-NO" sz="1600" dirty="0" err="1"/>
              <a:t>download</a:t>
            </a:r>
            <a:r>
              <a:rPr lang="nb-NO" sz="1600" dirty="0"/>
              <a:t> </a:t>
            </a:r>
            <a:r>
              <a:rPr lang="nb-NO" sz="1600" dirty="0" err="1"/>
              <a:t>the</a:t>
            </a:r>
            <a:r>
              <a:rPr lang="nb-NO" sz="1600" dirty="0"/>
              <a:t> </a:t>
            </a:r>
            <a:r>
              <a:rPr lang="nb-NO" sz="1600" dirty="0" err="1"/>
              <a:t>updated</a:t>
            </a:r>
            <a:r>
              <a:rPr lang="nb-NO" sz="1600" dirty="0"/>
              <a:t> guide at a later stage, from </a:t>
            </a:r>
            <a:r>
              <a:rPr lang="nb-NO" sz="1600" dirty="0" err="1">
                <a:hlinkClick r:id="rId3"/>
              </a:rPr>
              <a:t>https</a:t>
            </a:r>
            <a:r>
              <a:rPr lang="nb-NO" sz="1600" dirty="0">
                <a:hlinkClick r:id="rId3"/>
              </a:rPr>
              <a:t>://</a:t>
            </a:r>
            <a:r>
              <a:rPr lang="nb-NO" sz="1600" dirty="0" err="1">
                <a:hlinkClick r:id="rId3"/>
              </a:rPr>
              <a:t>github.com</a:t>
            </a:r>
            <a:r>
              <a:rPr lang="nb-NO" sz="1600" dirty="0">
                <a:hlinkClick r:id="rId3"/>
              </a:rPr>
              <a:t>/</a:t>
            </a:r>
            <a:r>
              <a:rPr lang="nb-NO" sz="1600" dirty="0" err="1">
                <a:hlinkClick r:id="rId3"/>
              </a:rPr>
              <a:t>akoksrud</a:t>
            </a:r>
            <a:r>
              <a:rPr lang="nb-NO" sz="1600">
                <a:hlinkClick r:id="rId3"/>
              </a:rPr>
              <a:t>/wifi-automation</a:t>
            </a:r>
            <a:endParaRPr lang="nb-NO" sz="1600"/>
          </a:p>
          <a:p>
            <a:pPr>
              <a:lnSpc>
                <a:spcPct val="110000"/>
              </a:lnSpc>
            </a:pPr>
            <a:r>
              <a:rPr lang="nb-NO" sz="1600"/>
              <a:t>To test this on your own, here is a starting point:</a:t>
            </a:r>
            <a:br>
              <a:rPr lang="nb-NO" sz="1600"/>
            </a:br>
            <a:r>
              <a:rPr lang="nb-NO" sz="1200">
                <a:hlinkClick r:id="rId4"/>
              </a:rPr>
              <a:t>https://www.mist.com/documentation/using-postman/</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Testing MIST APIs (optional)</a:t>
            </a:r>
          </a:p>
        </p:txBody>
      </p:sp>
      <p:sp>
        <p:nvSpPr>
          <p:cNvPr id="2" name="Footer Placeholder 6">
            <a:extLst>
              <a:ext uri="{FF2B5EF4-FFF2-40B4-BE49-F238E27FC236}">
                <a16:creationId xmlns:a16="http://schemas.microsoft.com/office/drawing/2014/main" id="{AA8EBD60-876B-4C2E-3F6C-4465FF45566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6" name="Footer Placeholder 6">
            <a:extLst>
              <a:ext uri="{FF2B5EF4-FFF2-40B4-BE49-F238E27FC236}">
                <a16:creationId xmlns:a16="http://schemas.microsoft.com/office/drawing/2014/main" id="{6BCF03F3-FFDE-2EB5-7559-E2592BF25E0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8: Explore Postman</a:t>
            </a:r>
          </a:p>
        </p:txBody>
      </p:sp>
    </p:spTree>
    <p:extLst>
      <p:ext uri="{BB962C8B-B14F-4D97-AF65-F5344CB8AC3E}">
        <p14:creationId xmlns:p14="http://schemas.microsoft.com/office/powerpoint/2010/main" val="264341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In </a:t>
            </a:r>
            <a:r>
              <a:rPr lang="nb-NO" sz="1600" err="1"/>
              <a:t>this</a:t>
            </a:r>
            <a:r>
              <a:rPr lang="nb-NO" sz="1600"/>
              <a:t> </a:t>
            </a:r>
            <a:r>
              <a:rPr lang="nb-NO" sz="1600" err="1"/>
              <a:t>exercise</a:t>
            </a:r>
            <a:r>
              <a:rPr lang="nb-NO" sz="1600"/>
              <a:t> </a:t>
            </a:r>
            <a:r>
              <a:rPr lang="nb-NO" sz="1600" err="1"/>
              <a:t>we</a:t>
            </a:r>
            <a:r>
              <a:rPr lang="nb-NO" sz="1600"/>
              <a:t> </a:t>
            </a:r>
            <a:r>
              <a:rPr lang="nb-NO" sz="1600" err="1"/>
              <a:t>will</a:t>
            </a:r>
            <a:endParaRPr lang="nb-NO" sz="1600"/>
          </a:p>
          <a:p>
            <a:pPr lvl="1">
              <a:lnSpc>
                <a:spcPct val="110000"/>
              </a:lnSpc>
            </a:pPr>
            <a:r>
              <a:rPr lang="nb-NO" sz="1400" err="1"/>
              <a:t>Create</a:t>
            </a:r>
            <a:r>
              <a:rPr lang="nb-NO" sz="1400"/>
              <a:t> a </a:t>
            </a:r>
            <a:r>
              <a:rPr lang="nb-NO" sz="1400" err="1"/>
              <a:t>new</a:t>
            </a:r>
            <a:r>
              <a:rPr lang="nb-NO" sz="1400"/>
              <a:t> </a:t>
            </a:r>
            <a:r>
              <a:rPr lang="nb-NO" sz="1400" err="1"/>
              <a:t>python</a:t>
            </a:r>
            <a:r>
              <a:rPr lang="nb-NO" sz="1400"/>
              <a:t> </a:t>
            </a:r>
            <a:r>
              <a:rPr lang="nb-NO" sz="1400" err="1"/>
              <a:t>virtual</a:t>
            </a:r>
            <a:r>
              <a:rPr lang="nb-NO" sz="1400"/>
              <a:t> </a:t>
            </a:r>
            <a:r>
              <a:rPr lang="nb-NO" sz="1400" err="1"/>
              <a:t>environment</a:t>
            </a:r>
            <a:r>
              <a:rPr lang="nb-NO" sz="1400"/>
              <a:t> (</a:t>
            </a:r>
            <a:r>
              <a:rPr lang="nb-NO" sz="1400" err="1"/>
              <a:t>venv</a:t>
            </a:r>
            <a:r>
              <a:rPr lang="nb-NO" sz="1400"/>
              <a:t>) for </a:t>
            </a:r>
            <a:r>
              <a:rPr lang="nb-NO" sz="1400" err="1"/>
              <a:t>python</a:t>
            </a:r>
            <a:r>
              <a:rPr lang="nb-NO" sz="1400"/>
              <a:t> lab-</a:t>
            </a:r>
            <a:r>
              <a:rPr lang="nb-NO" sz="1400" err="1"/>
              <a:t>work</a:t>
            </a:r>
            <a:endParaRPr lang="nb-NO" sz="1400"/>
          </a:p>
          <a:p>
            <a:pPr lvl="1">
              <a:lnSpc>
                <a:spcPct val="110000"/>
              </a:lnSpc>
            </a:pPr>
            <a:r>
              <a:rPr lang="nb-NO" sz="1400"/>
              <a:t>Connect </a:t>
            </a:r>
            <a:r>
              <a:rPr lang="nb-NO" sz="1400" err="1"/>
              <a:t>VS</a:t>
            </a:r>
            <a:r>
              <a:rPr lang="nb-NO" sz="1400"/>
              <a:t> Code to </a:t>
            </a:r>
            <a:r>
              <a:rPr lang="nb-NO" sz="1400" err="1"/>
              <a:t>the</a:t>
            </a:r>
            <a:r>
              <a:rPr lang="nb-NO" sz="1400"/>
              <a:t> </a:t>
            </a:r>
            <a:r>
              <a:rPr lang="nb-NO" sz="1400" err="1"/>
              <a:t>Ubuntu</a:t>
            </a:r>
            <a:r>
              <a:rPr lang="nb-NO" sz="1400"/>
              <a:t> server</a:t>
            </a:r>
          </a:p>
          <a:p>
            <a:pPr lvl="1">
              <a:lnSpc>
                <a:spcPct val="110000"/>
              </a:lnSpc>
            </a:pPr>
            <a:r>
              <a:rPr lang="nb-NO" sz="1400" err="1"/>
              <a:t>Create</a:t>
            </a:r>
            <a:r>
              <a:rPr lang="nb-NO" sz="1400"/>
              <a:t> a Python script </a:t>
            </a:r>
            <a:r>
              <a:rPr lang="nb-NO" sz="1400" err="1"/>
              <a:t>that</a:t>
            </a:r>
            <a:endParaRPr lang="nb-NO" sz="1400"/>
          </a:p>
          <a:p>
            <a:pPr lvl="2">
              <a:lnSpc>
                <a:spcPct val="110000"/>
              </a:lnSpc>
            </a:pPr>
            <a:r>
              <a:rPr lang="nb-NO" sz="1200"/>
              <a:t>Connects to </a:t>
            </a:r>
            <a:r>
              <a:rPr lang="nb-NO" sz="1200" err="1"/>
              <a:t>the</a:t>
            </a:r>
            <a:r>
              <a:rPr lang="nb-NO" sz="1200"/>
              <a:t> </a:t>
            </a:r>
            <a:r>
              <a:rPr lang="nb-NO" sz="1200" err="1"/>
              <a:t>WLC</a:t>
            </a:r>
            <a:r>
              <a:rPr lang="nb-NO" sz="1200"/>
              <a:t> </a:t>
            </a:r>
            <a:r>
              <a:rPr lang="nb-NO" sz="1200" err="1"/>
              <a:t>using</a:t>
            </a:r>
            <a:r>
              <a:rPr lang="nb-NO" sz="1200"/>
              <a:t> </a:t>
            </a:r>
            <a:r>
              <a:rPr lang="nb-NO" sz="1200" err="1"/>
              <a:t>RESTCONF</a:t>
            </a:r>
            <a:endParaRPr lang="nb-NO" sz="1200"/>
          </a:p>
          <a:p>
            <a:pPr lvl="2">
              <a:lnSpc>
                <a:spcPct val="110000"/>
              </a:lnSpc>
            </a:pPr>
            <a:r>
              <a:rPr lang="nb-NO" sz="1200" err="1"/>
              <a:t>Gets</a:t>
            </a:r>
            <a:r>
              <a:rPr lang="nb-NO" sz="1200"/>
              <a:t> a </a:t>
            </a:r>
            <a:r>
              <a:rPr lang="nb-NO" sz="1200" err="1"/>
              <a:t>table</a:t>
            </a:r>
            <a:r>
              <a:rPr lang="nb-NO" sz="1200"/>
              <a:t> </a:t>
            </a:r>
            <a:r>
              <a:rPr lang="nb-NO" sz="1200" err="1"/>
              <a:t>of</a:t>
            </a:r>
            <a:r>
              <a:rPr lang="nb-NO" sz="1200"/>
              <a:t> </a:t>
            </a:r>
            <a:r>
              <a:rPr lang="nb-NO" sz="1200" err="1"/>
              <a:t>currently</a:t>
            </a:r>
            <a:r>
              <a:rPr lang="nb-NO" sz="1200"/>
              <a:t> </a:t>
            </a:r>
            <a:r>
              <a:rPr lang="nb-NO" sz="1200" err="1"/>
              <a:t>connected</a:t>
            </a:r>
            <a:r>
              <a:rPr lang="nb-NO" sz="1200"/>
              <a:t> </a:t>
            </a:r>
            <a:r>
              <a:rPr lang="nb-NO" sz="1200" err="1"/>
              <a:t>APs</a:t>
            </a:r>
            <a:r>
              <a:rPr lang="nb-NO" sz="1200"/>
              <a:t> </a:t>
            </a:r>
            <a:r>
              <a:rPr lang="nb-NO" sz="1200" err="1"/>
              <a:t>on</a:t>
            </a:r>
            <a:r>
              <a:rPr lang="nb-NO" sz="1200"/>
              <a:t> </a:t>
            </a:r>
            <a:r>
              <a:rPr lang="nb-NO" sz="1200" err="1"/>
              <a:t>the</a:t>
            </a:r>
            <a:r>
              <a:rPr lang="nb-NO" sz="1200"/>
              <a:t> </a:t>
            </a:r>
            <a:r>
              <a:rPr lang="nb-NO" sz="1200" err="1"/>
              <a:t>WLC</a:t>
            </a:r>
            <a:endParaRPr lang="nb-NO" sz="1200"/>
          </a:p>
          <a:p>
            <a:pPr lvl="2">
              <a:lnSpc>
                <a:spcPct val="110000"/>
              </a:lnSpc>
            </a:pPr>
            <a:r>
              <a:rPr lang="nb-NO" sz="1200"/>
              <a:t>Saves </a:t>
            </a:r>
            <a:r>
              <a:rPr lang="nb-NO" sz="1200" err="1"/>
              <a:t>the</a:t>
            </a:r>
            <a:r>
              <a:rPr lang="nb-NO" sz="1200"/>
              <a:t> AP list as an Excel file</a:t>
            </a: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fr-FR" dirty="0" err="1"/>
              <a:t>Lab</a:t>
            </a:r>
            <a:r>
              <a:rPr lang="fr-FR" dirty="0"/>
              <a:t> </a:t>
            </a:r>
            <a:r>
              <a:rPr lang="fr-FR" dirty="0" err="1"/>
              <a:t>exercise</a:t>
            </a:r>
            <a:r>
              <a:rPr lang="fr-FR" dirty="0"/>
              <a:t> #9: Explore Python automation</a:t>
            </a:r>
            <a:endParaRPr lang="en-GB" dirty="0"/>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Tree>
    <p:extLst>
      <p:ext uri="{BB962C8B-B14F-4D97-AF65-F5344CB8AC3E}">
        <p14:creationId xmlns:p14="http://schemas.microsoft.com/office/powerpoint/2010/main" val="215665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a:t>Python </a:t>
            </a:r>
            <a:r>
              <a:rPr lang="nb-NO" sz="1600" err="1"/>
              <a:t>venv</a:t>
            </a:r>
            <a:r>
              <a:rPr lang="nb-NO" sz="1600"/>
              <a:t> for </a:t>
            </a:r>
            <a:r>
              <a:rPr lang="nb-NO" sz="1600" err="1"/>
              <a:t>python</a:t>
            </a:r>
            <a:r>
              <a:rPr lang="nb-NO" sz="1600"/>
              <a:t> files (not </a:t>
            </a:r>
            <a:r>
              <a:rPr lang="nb-NO" sz="1600" err="1"/>
              <a:t>neccessarily</a:t>
            </a:r>
            <a:r>
              <a:rPr lang="nb-NO" sz="1600"/>
              <a:t> </a:t>
            </a:r>
            <a:r>
              <a:rPr lang="nb-NO" sz="1600" err="1"/>
              <a:t>the</a:t>
            </a:r>
            <a:r>
              <a:rPr lang="nb-NO" sz="1600"/>
              <a:t> same as for </a:t>
            </a:r>
            <a:r>
              <a:rPr lang="nb-NO" sz="1600" err="1"/>
              <a:t>ansible</a:t>
            </a:r>
            <a:r>
              <a:rPr lang="nb-NO" sz="1600"/>
              <a:t>)</a:t>
            </a:r>
          </a:p>
          <a:p>
            <a:pPr>
              <a:lnSpc>
                <a:spcPct val="110000"/>
              </a:lnSpc>
            </a:pPr>
            <a:r>
              <a:rPr lang="nb-NO" sz="1600" err="1"/>
              <a:t>Deactivate</a:t>
            </a:r>
            <a:r>
              <a:rPr lang="nb-NO" sz="1600"/>
              <a:t> </a:t>
            </a:r>
            <a:r>
              <a:rPr lang="nb-NO" sz="1600" err="1"/>
              <a:t>the</a:t>
            </a:r>
            <a:r>
              <a:rPr lang="nb-NO" sz="1600"/>
              <a:t> </a:t>
            </a:r>
            <a:r>
              <a:rPr lang="nb-NO" sz="1600" err="1"/>
              <a:t>Ansible</a:t>
            </a:r>
            <a:r>
              <a:rPr lang="nb-NO" sz="1600"/>
              <a:t> </a:t>
            </a:r>
            <a:r>
              <a:rPr lang="nb-NO" sz="1600" err="1"/>
              <a:t>venv</a:t>
            </a:r>
            <a:r>
              <a:rPr lang="nb-NO" sz="1600"/>
              <a:t> </a:t>
            </a:r>
            <a:r>
              <a:rPr lang="nb-NO" sz="1600" err="1"/>
              <a:t>if</a:t>
            </a:r>
            <a:r>
              <a:rPr lang="nb-NO" sz="1600"/>
              <a:t> </a:t>
            </a:r>
            <a:r>
              <a:rPr lang="nb-NO" sz="1600" err="1"/>
              <a:t>applicable</a:t>
            </a:r>
            <a:endParaRPr lang="nb-NO" sz="1600"/>
          </a:p>
          <a:p>
            <a:pPr>
              <a:lnSpc>
                <a:spcPct val="110000"/>
              </a:lnSpc>
            </a:pPr>
            <a:r>
              <a:rPr lang="nb-NO" sz="1600" err="1"/>
              <a:t>Create</a:t>
            </a:r>
            <a:r>
              <a:rPr lang="nb-NO" sz="1600"/>
              <a:t> a </a:t>
            </a:r>
            <a:r>
              <a:rPr lang="nb-NO" sz="1600" err="1"/>
              <a:t>new</a:t>
            </a:r>
            <a:r>
              <a:rPr lang="nb-NO" sz="1600"/>
              <a:t> </a:t>
            </a:r>
            <a:r>
              <a:rPr lang="nb-NO" sz="1600" err="1"/>
              <a:t>venv</a:t>
            </a:r>
            <a:r>
              <a:rPr lang="nb-NO" sz="1600"/>
              <a:t> for </a:t>
            </a:r>
            <a:r>
              <a:rPr lang="nb-NO" sz="1600" err="1"/>
              <a:t>python</a:t>
            </a:r>
            <a:r>
              <a:rPr lang="nb-NO" sz="1600"/>
              <a:t> lab </a:t>
            </a:r>
            <a:r>
              <a:rPr lang="nb-NO" sz="1600" err="1"/>
              <a:t>work</a:t>
            </a:r>
            <a:endParaRPr lang="nb-NO" sz="1600"/>
          </a:p>
          <a:p>
            <a:pPr marL="0" indent="0">
              <a:lnSpc>
                <a:spcPct val="110000"/>
              </a:lnSpc>
              <a:buNone/>
            </a:pPr>
            <a:endParaRPr lang="nb-NO" sz="1000"/>
          </a:p>
          <a:p>
            <a:pPr lvl="1">
              <a:lnSpc>
                <a:spcPct val="110000"/>
              </a:lnSpc>
            </a:pP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Python </a:t>
            </a:r>
            <a:r>
              <a:rPr lang="en-GB" err="1"/>
              <a:t>venv</a:t>
            </a:r>
            <a:endParaRPr lang="en-GB"/>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2" name="TextBox 1">
            <a:extLst>
              <a:ext uri="{FF2B5EF4-FFF2-40B4-BE49-F238E27FC236}">
                <a16:creationId xmlns:a16="http://schemas.microsoft.com/office/drawing/2014/main" id="{7B30180C-1AF7-3423-09FF-F63A1E2874D5}"/>
              </a:ext>
            </a:extLst>
          </p:cNvPr>
          <p:cNvSpPr txBox="1"/>
          <p:nvPr/>
        </p:nvSpPr>
        <p:spPr>
          <a:xfrm>
            <a:off x="720000" y="2262963"/>
            <a:ext cx="11283761" cy="1682192"/>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err="1">
                <a:solidFill>
                  <a:srgbClr val="6D6D6D"/>
                </a:solidFill>
                <a:latin typeface="Consolas" panose="020B0609020204030204" pitchFamily="49" charset="0"/>
              </a:rPr>
              <a:t>Lab5_Ansible-gather_facts</a:t>
            </a:r>
            <a:r>
              <a:rPr lang="fr-FR" sz="1050">
                <a:solidFill>
                  <a:srgbClr val="EEE8D5"/>
                </a:solidFill>
                <a:latin typeface="Consolas" panose="020B0609020204030204" pitchFamily="49" charset="0"/>
              </a:rPr>
              <a:t>$ cd ~</a:t>
            </a:r>
          </a:p>
          <a:p>
            <a:pPr lvl="1"/>
            <a:r>
              <a:rPr lang="fr-FR" sz="1050">
                <a:solidFill>
                  <a:srgbClr val="EEE8D5"/>
                </a:solidFill>
                <a:latin typeface="Consolas" panose="020B0609020204030204" pitchFamily="49" charset="0"/>
              </a:rPr>
              <a:t>(ansible-</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eactivate</a:t>
            </a:r>
            <a:endParaRPr lang="fr-FR" sz="1050">
              <a:solidFill>
                <a:srgbClr val="EEE8D5"/>
              </a:solidFill>
              <a:latin typeface="Consolas" panose="020B0609020204030204" pitchFamily="49" charset="0"/>
            </a:endParaRPr>
          </a:p>
          <a:p>
            <a:pPr lvl="1"/>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mkdir</a:t>
            </a:r>
            <a:r>
              <a:rPr lang="fr-FR" sz="1050">
                <a:solidFill>
                  <a:srgbClr val="EEE8D5"/>
                </a:solidFill>
                <a:latin typeface="Consolas" panose="020B0609020204030204" pitchFamily="49" charset="0"/>
              </a:rPr>
              <a:t>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endParaRPr lang="fr-FR" sz="1050">
              <a:solidFill>
                <a:srgbClr val="EEE8D5"/>
              </a:solidFill>
              <a:latin typeface="Consolas" panose="020B0609020204030204" pitchFamily="49" charset="0"/>
            </a:endParaRPr>
          </a:p>
          <a:p>
            <a:pPr lvl="1"/>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ython3</a:t>
            </a:r>
            <a:r>
              <a:rPr lang="fr-FR" sz="1050">
                <a:solidFill>
                  <a:srgbClr val="EEE8D5"/>
                </a:solidFill>
                <a:latin typeface="Consolas" panose="020B0609020204030204" pitchFamily="49" charset="0"/>
              </a:rPr>
              <a:t> -m </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endParaRPr lang="fr-FR" sz="1050">
              <a:solidFill>
                <a:srgbClr val="EEE8D5"/>
              </a:solidFill>
              <a:latin typeface="Consolas" panose="020B0609020204030204" pitchFamily="49" charset="0"/>
            </a:endParaRPr>
          </a:p>
          <a:p>
            <a:pPr lvl="1"/>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source ./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bin/</a:t>
            </a:r>
            <a:r>
              <a:rPr lang="fr-FR" sz="1050" err="1">
                <a:solidFill>
                  <a:srgbClr val="EEE8D5"/>
                </a:solidFill>
                <a:latin typeface="Consolas" panose="020B0609020204030204" pitchFamily="49" charset="0"/>
              </a:rPr>
              <a:t>activate</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python --version</a:t>
            </a:r>
          </a:p>
          <a:p>
            <a:pPr lvl="1"/>
            <a:r>
              <a:rPr lang="fr-FR" sz="1050">
                <a:solidFill>
                  <a:srgbClr val="EEE8D5"/>
                </a:solidFill>
                <a:latin typeface="Consolas" panose="020B0609020204030204" pitchFamily="49" charset="0"/>
              </a:rPr>
              <a:t>Python 3.12.3</a:t>
            </a: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a:t>
            </a:r>
            <a:r>
              <a:rPr lang="fr-FR" sz="1050">
                <a:solidFill>
                  <a:srgbClr val="EEE8D5"/>
                </a:solidFill>
                <a:latin typeface="Consolas" panose="020B0609020204030204" pitchFamily="49" charset="0"/>
              </a:rPr>
              <a:t>$ cd wifi-automation</a:t>
            </a: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a:t>
            </a:r>
          </a:p>
        </p:txBody>
      </p:sp>
    </p:spTree>
    <p:extLst>
      <p:ext uri="{BB962C8B-B14F-4D97-AF65-F5344CB8AC3E}">
        <p14:creationId xmlns:p14="http://schemas.microsoft.com/office/powerpoint/2010/main" val="208598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83453"/>
            <a:ext cx="5696208" cy="4849852"/>
          </a:xfrm>
        </p:spPr>
        <p:txBody>
          <a:bodyPr>
            <a:normAutofit/>
          </a:bodyPr>
          <a:lstStyle/>
          <a:p>
            <a:pPr>
              <a:lnSpc>
                <a:spcPct val="110000"/>
              </a:lnSpc>
            </a:pPr>
            <a:r>
              <a:rPr lang="nb-NO" sz="1600" dirty="0" err="1"/>
              <a:t>Use</a:t>
            </a:r>
            <a:r>
              <a:rPr lang="nb-NO" sz="1600" dirty="0"/>
              <a:t> </a:t>
            </a:r>
            <a:r>
              <a:rPr lang="nb-NO" sz="1600" dirty="0" err="1"/>
              <a:t>VS</a:t>
            </a:r>
            <a:r>
              <a:rPr lang="nb-NO" sz="1600" dirty="0"/>
              <a:t> Code </a:t>
            </a:r>
            <a:r>
              <a:rPr lang="nb-NO" sz="1600" dirty="0" err="1"/>
              <a:t>remote</a:t>
            </a:r>
            <a:r>
              <a:rPr lang="nb-NO" sz="1600" dirty="0"/>
              <a:t> to </a:t>
            </a:r>
            <a:r>
              <a:rPr lang="nb-NO" sz="1600" dirty="0" err="1"/>
              <a:t>the</a:t>
            </a:r>
            <a:r>
              <a:rPr lang="nb-NO" sz="1600" dirty="0"/>
              <a:t> </a:t>
            </a:r>
            <a:r>
              <a:rPr lang="nb-NO" sz="1600" dirty="0" err="1"/>
              <a:t>Ubuntu</a:t>
            </a:r>
            <a:r>
              <a:rPr lang="nb-NO" sz="1600" dirty="0"/>
              <a:t> Server </a:t>
            </a:r>
            <a:br>
              <a:rPr lang="nb-NO" sz="1600" dirty="0"/>
            </a:br>
            <a:r>
              <a:rPr lang="nb-NO" sz="1600" dirty="0"/>
              <a:t>(</a:t>
            </a:r>
            <a:r>
              <a:rPr lang="nb-NO" sz="1600" dirty="0" err="1"/>
              <a:t>if</a:t>
            </a:r>
            <a:r>
              <a:rPr lang="nb-NO" sz="1600" dirty="0"/>
              <a:t> </a:t>
            </a:r>
            <a:r>
              <a:rPr lang="nb-NO" sz="1600" dirty="0" err="1"/>
              <a:t>you</a:t>
            </a:r>
            <a:r>
              <a:rPr lang="nb-NO" sz="1600" dirty="0"/>
              <a:t> </a:t>
            </a:r>
            <a:r>
              <a:rPr lang="nb-NO" sz="1600" dirty="0" err="1"/>
              <a:t>are</a:t>
            </a:r>
            <a:r>
              <a:rPr lang="nb-NO" sz="1600" dirty="0"/>
              <a:t> not </a:t>
            </a:r>
            <a:r>
              <a:rPr lang="nb-NO" sz="1600" dirty="0" err="1"/>
              <a:t>already</a:t>
            </a:r>
            <a:r>
              <a:rPr lang="nb-NO" sz="1600" dirty="0"/>
              <a:t> </a:t>
            </a:r>
            <a:r>
              <a:rPr lang="nb-NO" sz="1600" dirty="0" err="1"/>
              <a:t>connected</a:t>
            </a:r>
            <a:r>
              <a:rPr lang="nb-NO" sz="1600" dirty="0"/>
              <a:t> </a:t>
            </a:r>
            <a:r>
              <a:rPr lang="nb-NO" sz="1600" dirty="0" err="1"/>
              <a:t>already</a:t>
            </a:r>
            <a:r>
              <a:rPr lang="nb-NO" sz="1600" dirty="0"/>
              <a:t>)</a:t>
            </a:r>
          </a:p>
          <a:p>
            <a:pPr lvl="1">
              <a:lnSpc>
                <a:spcPct val="110000"/>
              </a:lnSpc>
            </a:pPr>
            <a:r>
              <a:rPr lang="nb-NO" sz="1400" dirty="0"/>
              <a:t>Press </a:t>
            </a:r>
            <a:r>
              <a:rPr lang="nb-NO" sz="1400" dirty="0" err="1"/>
              <a:t>the</a:t>
            </a:r>
            <a:r>
              <a:rPr lang="nb-NO" sz="1400" dirty="0"/>
              <a:t> Remote SSH </a:t>
            </a:r>
            <a:r>
              <a:rPr lang="nb-NO" sz="1400" dirty="0" err="1"/>
              <a:t>icon</a:t>
            </a:r>
            <a:br>
              <a:rPr lang="nb-NO" sz="1400" dirty="0"/>
            </a:br>
            <a:r>
              <a:rPr lang="nb-NO" sz="1400" dirty="0"/>
              <a:t>(</a:t>
            </a:r>
            <a:r>
              <a:rPr lang="nb-NO" sz="1400" dirty="0" err="1"/>
              <a:t>lower</a:t>
            </a:r>
            <a:r>
              <a:rPr lang="nb-NO" sz="1400" dirty="0"/>
              <a:t> </a:t>
            </a:r>
            <a:r>
              <a:rPr lang="nb-NO" sz="1400" dirty="0" err="1"/>
              <a:t>left</a:t>
            </a:r>
            <a:r>
              <a:rPr lang="nb-NO" sz="1400" dirty="0"/>
              <a:t> corner)</a:t>
            </a:r>
          </a:p>
          <a:p>
            <a:pPr lvl="1">
              <a:lnSpc>
                <a:spcPct val="110000"/>
              </a:lnSpc>
            </a:pPr>
            <a:r>
              <a:rPr lang="nb-NO" sz="1400" dirty="0" err="1"/>
              <a:t>Then</a:t>
            </a:r>
            <a:r>
              <a:rPr lang="nb-NO" sz="1400" dirty="0"/>
              <a:t>, in </a:t>
            </a:r>
            <a:r>
              <a:rPr lang="nb-NO" sz="1400" dirty="0" err="1"/>
              <a:t>the</a:t>
            </a:r>
            <a:r>
              <a:rPr lang="nb-NO" sz="1400" dirty="0"/>
              <a:t> </a:t>
            </a:r>
            <a:r>
              <a:rPr lang="nb-NO" sz="1400" dirty="0" err="1"/>
              <a:t>top</a:t>
            </a:r>
            <a:r>
              <a:rPr lang="nb-NO" sz="1400" dirty="0"/>
              <a:t> line, </a:t>
            </a:r>
            <a:r>
              <a:rPr lang="nb-NO" sz="1400" dirty="0" err="1"/>
              <a:t>select</a:t>
            </a:r>
            <a:r>
              <a:rPr lang="nb-NO" sz="1400" dirty="0"/>
              <a:t> "Connect </a:t>
            </a:r>
            <a:r>
              <a:rPr lang="nb-NO" sz="1400" dirty="0" err="1"/>
              <a:t>current</a:t>
            </a:r>
            <a:r>
              <a:rPr lang="nb-NO" sz="1400" dirty="0"/>
              <a:t> </a:t>
            </a:r>
            <a:r>
              <a:rPr lang="nb-NO" sz="1400" dirty="0" err="1"/>
              <a:t>window</a:t>
            </a:r>
            <a:r>
              <a:rPr lang="nb-NO" sz="1400" dirty="0"/>
              <a:t> to Host..."</a:t>
            </a:r>
          </a:p>
          <a:p>
            <a:pPr lvl="1">
              <a:lnSpc>
                <a:spcPct val="110000"/>
              </a:lnSpc>
            </a:pPr>
            <a:r>
              <a:rPr lang="nb-NO" sz="1400" dirty="0"/>
              <a:t>Select </a:t>
            </a:r>
            <a:r>
              <a:rPr lang="nb-NO" sz="1400" dirty="0" err="1"/>
              <a:t>your</a:t>
            </a:r>
            <a:r>
              <a:rPr lang="nb-NO" sz="1400" dirty="0"/>
              <a:t> host, or </a:t>
            </a:r>
            <a:r>
              <a:rPr lang="nb-NO" sz="1400" dirty="0" err="1"/>
              <a:t>configure</a:t>
            </a:r>
            <a:r>
              <a:rPr lang="nb-NO" sz="1400" dirty="0"/>
              <a:t> a </a:t>
            </a:r>
            <a:r>
              <a:rPr lang="nb-NO" sz="1400" dirty="0" err="1"/>
              <a:t>new</a:t>
            </a:r>
            <a:r>
              <a:rPr lang="nb-NO" sz="1400" dirty="0"/>
              <a:t> (</a:t>
            </a:r>
            <a:r>
              <a:rPr lang="nb-NO" sz="1400" dirty="0" err="1"/>
              <a:t>see</a:t>
            </a:r>
            <a:r>
              <a:rPr lang="nb-NO" sz="1400" dirty="0"/>
              <a:t> </a:t>
            </a:r>
            <a:r>
              <a:rPr lang="nb-NO" sz="1400" dirty="0" err="1"/>
              <a:t>earlier</a:t>
            </a:r>
            <a:r>
              <a:rPr lang="nb-NO" sz="1400" dirty="0"/>
              <a:t> slides)</a:t>
            </a:r>
          </a:p>
          <a:p>
            <a:pPr lvl="1">
              <a:lnSpc>
                <a:spcPct val="110000"/>
              </a:lnSpc>
            </a:pPr>
            <a:r>
              <a:rPr lang="nb-NO" sz="1400" dirty="0"/>
              <a:t>Select "Open Folder" in </a:t>
            </a:r>
            <a:r>
              <a:rPr lang="nb-NO" sz="1400" dirty="0" err="1"/>
              <a:t>the</a:t>
            </a:r>
            <a:r>
              <a:rPr lang="nb-NO" sz="1400" dirty="0"/>
              <a:t> Explorer </a:t>
            </a:r>
            <a:r>
              <a:rPr lang="nb-NO" sz="1400" dirty="0" err="1"/>
              <a:t>section</a:t>
            </a:r>
            <a:endParaRPr lang="nb-NO" sz="1400" dirty="0"/>
          </a:p>
          <a:p>
            <a:pPr lvl="1">
              <a:lnSpc>
                <a:spcPct val="110000"/>
              </a:lnSpc>
            </a:pPr>
            <a:r>
              <a:rPr lang="nb-NO" sz="1400" dirty="0"/>
              <a:t>Select "/</a:t>
            </a:r>
            <a:r>
              <a:rPr lang="nb-NO" sz="1400" dirty="0" err="1"/>
              <a:t>home</a:t>
            </a:r>
            <a:r>
              <a:rPr lang="nb-NO" sz="1400" dirty="0"/>
              <a:t>/</a:t>
            </a:r>
            <a:r>
              <a:rPr lang="nb-NO" sz="1400" dirty="0" err="1"/>
              <a:t>devnet-adm</a:t>
            </a:r>
            <a:r>
              <a:rPr lang="nb-NO" sz="1400" dirty="0"/>
              <a:t>/</a:t>
            </a:r>
            <a:r>
              <a:rPr lang="nb-NO" sz="1400" dirty="0" err="1"/>
              <a:t>wifi-automation</a:t>
            </a:r>
            <a:r>
              <a:rPr lang="nb-NO" sz="1400" dirty="0"/>
              <a:t>/" and </a:t>
            </a:r>
            <a:r>
              <a:rPr lang="nb-NO" sz="1400" dirty="0" err="1"/>
              <a:t>click</a:t>
            </a:r>
            <a:r>
              <a:rPr lang="nb-NO" sz="1400" dirty="0"/>
              <a:t> OK</a:t>
            </a:r>
          </a:p>
          <a:p>
            <a:pPr lvl="1">
              <a:lnSpc>
                <a:spcPct val="110000"/>
              </a:lnSpc>
            </a:pPr>
            <a:r>
              <a:rPr lang="nb-NO" sz="1400" dirty="0"/>
              <a:t>Select </a:t>
            </a:r>
            <a:r>
              <a:rPr lang="nb-NO" sz="1400" dirty="0" err="1"/>
              <a:t>the</a:t>
            </a:r>
            <a:r>
              <a:rPr lang="nb-NO" sz="1400" dirty="0"/>
              <a:t> "</a:t>
            </a:r>
            <a:r>
              <a:rPr lang="nb-NO" sz="1400" dirty="0" err="1"/>
              <a:t>python</a:t>
            </a:r>
            <a:r>
              <a:rPr lang="nb-NO" sz="1400" dirty="0"/>
              <a:t>-lab-</a:t>
            </a:r>
            <a:r>
              <a:rPr lang="nb-NO" sz="1400" dirty="0" err="1"/>
              <a:t>venv</a:t>
            </a:r>
            <a:r>
              <a:rPr lang="nb-NO" sz="1400" dirty="0"/>
              <a:t>" </a:t>
            </a:r>
            <a:r>
              <a:rPr lang="nb-NO" sz="1400" dirty="0" err="1"/>
              <a:t>venv</a:t>
            </a:r>
            <a:r>
              <a:rPr lang="nb-NO" sz="1400" dirty="0"/>
              <a:t>: </a:t>
            </a:r>
            <a:br>
              <a:rPr lang="nb-NO" sz="1400" dirty="0"/>
            </a:br>
            <a:r>
              <a:rPr lang="nb-NO" sz="1400" dirty="0" err="1"/>
              <a:t>Click</a:t>
            </a:r>
            <a:r>
              <a:rPr lang="nb-NO" sz="1400" dirty="0"/>
              <a:t> </a:t>
            </a:r>
            <a:r>
              <a:rPr lang="nb-NO" sz="1400" dirty="0" err="1"/>
              <a:t>the</a:t>
            </a:r>
            <a:r>
              <a:rPr lang="nb-NO" sz="1400" dirty="0"/>
              <a:t> </a:t>
            </a:r>
            <a:r>
              <a:rPr lang="nb-NO" sz="1400" dirty="0" err="1"/>
              <a:t>venv</a:t>
            </a:r>
            <a:r>
              <a:rPr lang="nb-NO" sz="1400" dirty="0"/>
              <a:t> area </a:t>
            </a:r>
            <a:r>
              <a:rPr lang="nb-NO" sz="1400" dirty="0" err="1"/>
              <a:t>on</a:t>
            </a:r>
            <a:r>
              <a:rPr lang="nb-NO" sz="1400" dirty="0"/>
              <a:t> </a:t>
            </a:r>
            <a:r>
              <a:rPr lang="nb-NO" sz="1400" dirty="0" err="1"/>
              <a:t>the</a:t>
            </a:r>
            <a:r>
              <a:rPr lang="nb-NO" sz="1400" dirty="0"/>
              <a:t> </a:t>
            </a:r>
            <a:r>
              <a:rPr lang="nb-NO" sz="1400" dirty="0" err="1"/>
              <a:t>bottom</a:t>
            </a:r>
            <a:r>
              <a:rPr lang="nb-NO" sz="1400" dirty="0"/>
              <a:t> line</a:t>
            </a:r>
            <a:br>
              <a:rPr lang="nb-NO" sz="1400" dirty="0"/>
            </a:br>
            <a:r>
              <a:rPr lang="nb-NO" sz="1400" dirty="0"/>
              <a:t>(</a:t>
            </a:r>
            <a:r>
              <a:rPr lang="nb-NO" sz="1400" dirty="0" err="1"/>
              <a:t>you</a:t>
            </a:r>
            <a:r>
              <a:rPr lang="nb-NO" sz="1400" dirty="0"/>
              <a:t> </a:t>
            </a:r>
            <a:r>
              <a:rPr lang="nb-NO" sz="1400" dirty="0" err="1"/>
              <a:t>may</a:t>
            </a:r>
            <a:r>
              <a:rPr lang="nb-NO" sz="1400" dirty="0"/>
              <a:t> have to </a:t>
            </a:r>
            <a:r>
              <a:rPr lang="nb-NO" sz="1400" dirty="0" err="1"/>
              <a:t>open</a:t>
            </a:r>
            <a:r>
              <a:rPr lang="nb-NO" sz="1400" dirty="0"/>
              <a:t> a .</a:t>
            </a:r>
            <a:r>
              <a:rPr lang="nb-NO" sz="1400" dirty="0" err="1"/>
              <a:t>py</a:t>
            </a:r>
            <a:r>
              <a:rPr lang="nb-NO" sz="1400" dirty="0"/>
              <a:t> file for </a:t>
            </a:r>
            <a:r>
              <a:rPr lang="nb-NO" sz="1400" dirty="0" err="1"/>
              <a:t>this</a:t>
            </a:r>
            <a:r>
              <a:rPr lang="nb-NO" sz="1400" dirty="0"/>
              <a:t> to show)</a:t>
            </a:r>
            <a:endParaRPr lang="nb-NO" sz="3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nnect VS Code to the Ubuntu Server</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5" name="Picture 4">
            <a:extLst>
              <a:ext uri="{FF2B5EF4-FFF2-40B4-BE49-F238E27FC236}">
                <a16:creationId xmlns:a16="http://schemas.microsoft.com/office/drawing/2014/main" id="{43978EB8-70EE-3CC6-24FB-EA6DFC2DB6EE}"/>
              </a:ext>
            </a:extLst>
          </p:cNvPr>
          <p:cNvPicPr>
            <a:picLocks noChangeAspect="1"/>
          </p:cNvPicPr>
          <p:nvPr/>
        </p:nvPicPr>
        <p:blipFill rotWithShape="1">
          <a:blip r:embed="rId3"/>
          <a:srcRect t="14973"/>
          <a:stretch/>
        </p:blipFill>
        <p:spPr>
          <a:xfrm>
            <a:off x="6651778" y="1097838"/>
            <a:ext cx="1448002" cy="437399"/>
          </a:xfrm>
          <a:prstGeom prst="rect">
            <a:avLst/>
          </a:prstGeom>
        </p:spPr>
      </p:pic>
      <p:pic>
        <p:nvPicPr>
          <p:cNvPr id="7" name="Picture 6">
            <a:extLst>
              <a:ext uri="{FF2B5EF4-FFF2-40B4-BE49-F238E27FC236}">
                <a16:creationId xmlns:a16="http://schemas.microsoft.com/office/drawing/2014/main" id="{36570E2E-F370-D1BE-9F0F-97BF61C41C1F}"/>
              </a:ext>
            </a:extLst>
          </p:cNvPr>
          <p:cNvPicPr>
            <a:picLocks noChangeAspect="1"/>
          </p:cNvPicPr>
          <p:nvPr/>
        </p:nvPicPr>
        <p:blipFill>
          <a:blip r:embed="rId4"/>
          <a:stretch>
            <a:fillRect/>
          </a:stretch>
        </p:blipFill>
        <p:spPr>
          <a:xfrm>
            <a:off x="6651778" y="1876172"/>
            <a:ext cx="4544611" cy="593110"/>
          </a:xfrm>
          <a:prstGeom prst="rect">
            <a:avLst/>
          </a:prstGeom>
        </p:spPr>
      </p:pic>
      <p:pic>
        <p:nvPicPr>
          <p:cNvPr id="9" name="Picture 8">
            <a:extLst>
              <a:ext uri="{FF2B5EF4-FFF2-40B4-BE49-F238E27FC236}">
                <a16:creationId xmlns:a16="http://schemas.microsoft.com/office/drawing/2014/main" id="{3C9153C8-1555-4AF7-A52C-C3CB537490C6}"/>
              </a:ext>
            </a:extLst>
          </p:cNvPr>
          <p:cNvPicPr>
            <a:picLocks noChangeAspect="1"/>
          </p:cNvPicPr>
          <p:nvPr/>
        </p:nvPicPr>
        <p:blipFill>
          <a:blip r:embed="rId5"/>
          <a:stretch>
            <a:fillRect/>
          </a:stretch>
        </p:blipFill>
        <p:spPr>
          <a:xfrm>
            <a:off x="6651778" y="2667405"/>
            <a:ext cx="4535458" cy="431948"/>
          </a:xfrm>
          <a:prstGeom prst="rect">
            <a:avLst/>
          </a:prstGeom>
        </p:spPr>
      </p:pic>
      <p:pic>
        <p:nvPicPr>
          <p:cNvPr id="11" name="Picture 10">
            <a:extLst>
              <a:ext uri="{FF2B5EF4-FFF2-40B4-BE49-F238E27FC236}">
                <a16:creationId xmlns:a16="http://schemas.microsoft.com/office/drawing/2014/main" id="{1CD56ABB-80C8-11BD-C6B6-B6A313632347}"/>
              </a:ext>
            </a:extLst>
          </p:cNvPr>
          <p:cNvPicPr>
            <a:picLocks noChangeAspect="1"/>
          </p:cNvPicPr>
          <p:nvPr/>
        </p:nvPicPr>
        <p:blipFill rotWithShape="1">
          <a:blip r:embed="rId6"/>
          <a:srcRect t="33126"/>
          <a:stretch/>
        </p:blipFill>
        <p:spPr>
          <a:xfrm>
            <a:off x="6651778" y="3258495"/>
            <a:ext cx="2336800" cy="676634"/>
          </a:xfrm>
          <a:prstGeom prst="rect">
            <a:avLst/>
          </a:prstGeom>
        </p:spPr>
      </p:pic>
      <p:pic>
        <p:nvPicPr>
          <p:cNvPr id="15" name="Picture 14">
            <a:extLst>
              <a:ext uri="{FF2B5EF4-FFF2-40B4-BE49-F238E27FC236}">
                <a16:creationId xmlns:a16="http://schemas.microsoft.com/office/drawing/2014/main" id="{D3877276-EE30-A7F7-E40E-C1200E3E1C3C}"/>
              </a:ext>
            </a:extLst>
          </p:cNvPr>
          <p:cNvPicPr>
            <a:picLocks noChangeAspect="1"/>
          </p:cNvPicPr>
          <p:nvPr/>
        </p:nvPicPr>
        <p:blipFill>
          <a:blip r:embed="rId7"/>
          <a:stretch>
            <a:fillRect/>
          </a:stretch>
        </p:blipFill>
        <p:spPr>
          <a:xfrm>
            <a:off x="6651778" y="4026026"/>
            <a:ext cx="4192588" cy="453442"/>
          </a:xfrm>
          <a:prstGeom prst="rect">
            <a:avLst/>
          </a:prstGeom>
        </p:spPr>
      </p:pic>
      <p:pic>
        <p:nvPicPr>
          <p:cNvPr id="19" name="Picture 18">
            <a:extLst>
              <a:ext uri="{FF2B5EF4-FFF2-40B4-BE49-F238E27FC236}">
                <a16:creationId xmlns:a16="http://schemas.microsoft.com/office/drawing/2014/main" id="{CF4A5943-5832-5B7D-00BA-4D7C3A8128D4}"/>
              </a:ext>
            </a:extLst>
          </p:cNvPr>
          <p:cNvPicPr>
            <a:picLocks noChangeAspect="1"/>
          </p:cNvPicPr>
          <p:nvPr/>
        </p:nvPicPr>
        <p:blipFill rotWithShape="1">
          <a:blip r:embed="rId8"/>
          <a:srcRect t="41260"/>
          <a:stretch/>
        </p:blipFill>
        <p:spPr>
          <a:xfrm>
            <a:off x="3319477" y="5326598"/>
            <a:ext cx="1275661" cy="195684"/>
          </a:xfrm>
          <a:prstGeom prst="rect">
            <a:avLst/>
          </a:prstGeom>
        </p:spPr>
      </p:pic>
      <p:pic>
        <p:nvPicPr>
          <p:cNvPr id="21" name="Picture 20">
            <a:extLst>
              <a:ext uri="{FF2B5EF4-FFF2-40B4-BE49-F238E27FC236}">
                <a16:creationId xmlns:a16="http://schemas.microsoft.com/office/drawing/2014/main" id="{DA868902-7D32-E4A6-B0F7-70576B133EB2}"/>
              </a:ext>
            </a:extLst>
          </p:cNvPr>
          <p:cNvPicPr>
            <a:picLocks noChangeAspect="1"/>
          </p:cNvPicPr>
          <p:nvPr/>
        </p:nvPicPr>
        <p:blipFill>
          <a:blip r:embed="rId9"/>
          <a:stretch>
            <a:fillRect/>
          </a:stretch>
        </p:blipFill>
        <p:spPr>
          <a:xfrm>
            <a:off x="4799012" y="5085827"/>
            <a:ext cx="2097088" cy="747478"/>
          </a:xfrm>
          <a:prstGeom prst="rect">
            <a:avLst/>
          </a:prstGeom>
        </p:spPr>
      </p:pic>
      <p:pic>
        <p:nvPicPr>
          <p:cNvPr id="23" name="Picture 22">
            <a:extLst>
              <a:ext uri="{FF2B5EF4-FFF2-40B4-BE49-F238E27FC236}">
                <a16:creationId xmlns:a16="http://schemas.microsoft.com/office/drawing/2014/main" id="{A7F0A6F4-1144-FAE6-79D1-94D4DB22522C}"/>
              </a:ext>
            </a:extLst>
          </p:cNvPr>
          <p:cNvPicPr>
            <a:picLocks noChangeAspect="1"/>
          </p:cNvPicPr>
          <p:nvPr/>
        </p:nvPicPr>
        <p:blipFill>
          <a:blip r:embed="rId10"/>
          <a:stretch>
            <a:fillRect/>
          </a:stretch>
        </p:blipFill>
        <p:spPr>
          <a:xfrm>
            <a:off x="7099974" y="5279422"/>
            <a:ext cx="1740208" cy="435052"/>
          </a:xfrm>
          <a:prstGeom prst="rect">
            <a:avLst/>
          </a:prstGeom>
        </p:spPr>
      </p:pic>
      <p:pic>
        <p:nvPicPr>
          <p:cNvPr id="25" name="Picture 24">
            <a:extLst>
              <a:ext uri="{FF2B5EF4-FFF2-40B4-BE49-F238E27FC236}">
                <a16:creationId xmlns:a16="http://schemas.microsoft.com/office/drawing/2014/main" id="{10B10BA7-28E4-CD68-EB58-1520307111D8}"/>
              </a:ext>
            </a:extLst>
          </p:cNvPr>
          <p:cNvPicPr>
            <a:picLocks noChangeAspect="1"/>
          </p:cNvPicPr>
          <p:nvPr/>
        </p:nvPicPr>
        <p:blipFill>
          <a:blip r:embed="rId11"/>
          <a:stretch>
            <a:fillRect/>
          </a:stretch>
        </p:blipFill>
        <p:spPr>
          <a:xfrm>
            <a:off x="9044056" y="5382632"/>
            <a:ext cx="1619476" cy="228632"/>
          </a:xfrm>
          <a:prstGeom prst="rect">
            <a:avLst/>
          </a:prstGeom>
        </p:spPr>
      </p:pic>
      <p:cxnSp>
        <p:nvCxnSpPr>
          <p:cNvPr id="27" name="Straight Arrow Connector 26">
            <a:extLst>
              <a:ext uri="{FF2B5EF4-FFF2-40B4-BE49-F238E27FC236}">
                <a16:creationId xmlns:a16="http://schemas.microsoft.com/office/drawing/2014/main" id="{9CD432F0-0A37-EAFC-B8C9-59FB81DE34F7}"/>
              </a:ext>
            </a:extLst>
          </p:cNvPr>
          <p:cNvCxnSpPr/>
          <p:nvPr/>
        </p:nvCxnSpPr>
        <p:spPr>
          <a:xfrm>
            <a:off x="4374651" y="5459566"/>
            <a:ext cx="724001" cy="25490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B2A3BAE-3D0B-610D-95D1-A77DBD1B74A0}"/>
              </a:ext>
            </a:extLst>
          </p:cNvPr>
          <p:cNvCxnSpPr>
            <a:cxnSpLocks/>
          </p:cNvCxnSpPr>
          <p:nvPr/>
        </p:nvCxnSpPr>
        <p:spPr>
          <a:xfrm flipV="1">
            <a:off x="6534099" y="5611264"/>
            <a:ext cx="579302" cy="10247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8763070-F373-1D47-DB60-ABFC6C847F1B}"/>
              </a:ext>
            </a:extLst>
          </p:cNvPr>
          <p:cNvCxnSpPr>
            <a:cxnSpLocks/>
            <a:endCxn id="25" idx="1"/>
          </p:cNvCxnSpPr>
          <p:nvPr/>
        </p:nvCxnSpPr>
        <p:spPr>
          <a:xfrm flipV="1">
            <a:off x="8643652" y="5496948"/>
            <a:ext cx="400404" cy="11431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 name="Rektangel: avrundede hjørner 32">
            <a:extLst>
              <a:ext uri="{FF2B5EF4-FFF2-40B4-BE49-F238E27FC236}">
                <a16:creationId xmlns:a16="http://schemas.microsoft.com/office/drawing/2014/main" id="{0AAAE0D0-B94F-2907-1A5B-9C6EC8550E87}"/>
              </a:ext>
            </a:extLst>
          </p:cNvPr>
          <p:cNvSpPr/>
          <p:nvPr/>
        </p:nvSpPr>
        <p:spPr>
          <a:xfrm>
            <a:off x="6533558" y="1232737"/>
            <a:ext cx="498177" cy="37245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Tahoma" charset="0"/>
              <a:ea typeface="Tahoma" charset="0"/>
              <a:cs typeface="Tahoma" charset="0"/>
            </a:endParaRPr>
          </a:p>
        </p:txBody>
      </p:sp>
      <p:cxnSp>
        <p:nvCxnSpPr>
          <p:cNvPr id="8" name="Straight Arrow Connector 7">
            <a:extLst>
              <a:ext uri="{FF2B5EF4-FFF2-40B4-BE49-F238E27FC236}">
                <a16:creationId xmlns:a16="http://schemas.microsoft.com/office/drawing/2014/main" id="{075614A5-820C-81FE-125E-915B435E7F5F}"/>
              </a:ext>
            </a:extLst>
          </p:cNvPr>
          <p:cNvCxnSpPr>
            <a:cxnSpLocks/>
            <a:endCxn id="2" idx="1"/>
          </p:cNvCxnSpPr>
          <p:nvPr/>
        </p:nvCxnSpPr>
        <p:spPr>
          <a:xfrm flipV="1">
            <a:off x="3743715" y="1418965"/>
            <a:ext cx="2789843" cy="52027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A6A5C2E-36B9-E38E-FE1C-B0E90DD5260B}"/>
              </a:ext>
            </a:extLst>
          </p:cNvPr>
          <p:cNvCxnSpPr>
            <a:cxnSpLocks/>
            <a:endCxn id="7" idx="1"/>
          </p:cNvCxnSpPr>
          <p:nvPr/>
        </p:nvCxnSpPr>
        <p:spPr>
          <a:xfrm flipV="1">
            <a:off x="6050339" y="2172727"/>
            <a:ext cx="601439" cy="33405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014A366-ED2F-2B58-873D-1D6F122897DF}"/>
              </a:ext>
            </a:extLst>
          </p:cNvPr>
          <p:cNvCxnSpPr>
            <a:cxnSpLocks/>
            <a:endCxn id="9" idx="1"/>
          </p:cNvCxnSpPr>
          <p:nvPr/>
        </p:nvCxnSpPr>
        <p:spPr>
          <a:xfrm flipV="1">
            <a:off x="6259922" y="2883379"/>
            <a:ext cx="391856" cy="246985"/>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8C2B1A5-2299-89DD-F498-E7BC25A0374D}"/>
              </a:ext>
            </a:extLst>
          </p:cNvPr>
          <p:cNvCxnSpPr>
            <a:cxnSpLocks/>
            <a:endCxn id="11" idx="1"/>
          </p:cNvCxnSpPr>
          <p:nvPr/>
        </p:nvCxnSpPr>
        <p:spPr>
          <a:xfrm>
            <a:off x="5194497" y="3509428"/>
            <a:ext cx="1457281" cy="8738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4106468-EA2F-52DD-E7E6-A8856DFC1A6D}"/>
              </a:ext>
            </a:extLst>
          </p:cNvPr>
          <p:cNvCxnSpPr>
            <a:cxnSpLocks/>
            <a:endCxn id="15" idx="1"/>
          </p:cNvCxnSpPr>
          <p:nvPr/>
        </p:nvCxnSpPr>
        <p:spPr>
          <a:xfrm>
            <a:off x="5325365" y="3954383"/>
            <a:ext cx="1326413" cy="29836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90905D4-4583-4552-6A05-684A255C0DC8}"/>
              </a:ext>
            </a:extLst>
          </p:cNvPr>
          <p:cNvSpPr txBox="1"/>
          <p:nvPr/>
        </p:nvSpPr>
        <p:spPr>
          <a:xfrm>
            <a:off x="7099655" y="5847361"/>
            <a:ext cx="1740208" cy="200055"/>
          </a:xfrm>
          <a:prstGeom prst="rect">
            <a:avLst/>
          </a:prstGeom>
          <a:noFill/>
          <a:ln>
            <a:solidFill>
              <a:srgbClr val="002B36"/>
            </a:solidFill>
          </a:ln>
        </p:spPr>
        <p:txBody>
          <a:bodyPr wrap="square">
            <a:spAutoFit/>
          </a:bodyPr>
          <a:lstStyle/>
          <a:p>
            <a:r>
              <a:rPr lang="en-US" sz="700" dirty="0">
                <a:latin typeface="Consolas" panose="020B0609020204030204" pitchFamily="49" charset="0"/>
              </a:rPr>
              <a:t>~/python-lab-</a:t>
            </a:r>
            <a:r>
              <a:rPr lang="en-US" sz="700" dirty="0" err="1">
                <a:latin typeface="Consolas" panose="020B0609020204030204" pitchFamily="49" charset="0"/>
              </a:rPr>
              <a:t>venv</a:t>
            </a:r>
            <a:r>
              <a:rPr lang="en-US" sz="700" dirty="0">
                <a:latin typeface="Consolas" panose="020B0609020204030204" pitchFamily="49" charset="0"/>
              </a:rPr>
              <a:t>/bin/</a:t>
            </a:r>
            <a:r>
              <a:rPr lang="en-US" sz="700" dirty="0" err="1">
                <a:latin typeface="Consolas" panose="020B0609020204030204" pitchFamily="49" charset="0"/>
              </a:rPr>
              <a:t>python3</a:t>
            </a:r>
            <a:endParaRPr lang="en-US" sz="700" dirty="0">
              <a:latin typeface="Consolas" panose="020B0609020204030204" pitchFamily="49" charset="0"/>
            </a:endParaRPr>
          </a:p>
        </p:txBody>
      </p:sp>
    </p:spTree>
    <p:extLst>
      <p:ext uri="{BB962C8B-B14F-4D97-AF65-F5344CB8AC3E}">
        <p14:creationId xmlns:p14="http://schemas.microsoft.com/office/powerpoint/2010/main" val="362350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Create</a:t>
            </a:r>
            <a:r>
              <a:rPr lang="nb-NO" sz="1600"/>
              <a:t> a folder "Lab9_</a:t>
            </a:r>
            <a:r>
              <a:rPr lang="nb-NO" sz="1600" err="1"/>
              <a:t>Python</a:t>
            </a:r>
            <a:r>
              <a:rPr lang="nb-NO" sz="1600"/>
              <a:t>-</a:t>
            </a:r>
            <a:r>
              <a:rPr lang="nb-NO" sz="1600" err="1"/>
              <a:t>get</a:t>
            </a:r>
            <a:r>
              <a:rPr lang="nb-NO" sz="1600"/>
              <a:t>-ap-</a:t>
            </a:r>
            <a:r>
              <a:rPr lang="nb-NO" sz="1600" err="1"/>
              <a:t>table</a:t>
            </a:r>
            <a:r>
              <a:rPr lang="nb-NO" sz="1600"/>
              <a:t>" and a </a:t>
            </a:r>
            <a:r>
              <a:rPr lang="nb-NO" sz="1600" err="1"/>
              <a:t>python</a:t>
            </a:r>
            <a:r>
              <a:rPr lang="nb-NO" sz="1600"/>
              <a:t> file "</a:t>
            </a:r>
            <a:r>
              <a:rPr lang="nb-NO" sz="1600" err="1"/>
              <a:t>get</a:t>
            </a:r>
            <a:r>
              <a:rPr lang="nb-NO" sz="1600"/>
              <a:t>-ap-</a:t>
            </a:r>
            <a:r>
              <a:rPr lang="nb-NO" sz="1600" err="1"/>
              <a:t>table.py</a:t>
            </a:r>
            <a:r>
              <a:rPr lang="nb-NO" sz="1600"/>
              <a:t>"</a:t>
            </a:r>
          </a:p>
          <a:p>
            <a:pPr>
              <a:lnSpc>
                <a:spcPct val="110000"/>
              </a:lnSpc>
            </a:pPr>
            <a:r>
              <a:rPr lang="nb-NO" sz="1600"/>
              <a:t>The </a:t>
            </a:r>
            <a:r>
              <a:rPr lang="nb-NO" sz="1600" err="1"/>
              <a:t>new</a:t>
            </a:r>
            <a:r>
              <a:rPr lang="nb-NO" sz="1600"/>
              <a:t> file </a:t>
            </a:r>
            <a:r>
              <a:rPr lang="nb-NO" sz="1600" err="1"/>
              <a:t>will</a:t>
            </a:r>
            <a:r>
              <a:rPr lang="nb-NO" sz="1600"/>
              <a:t> </a:t>
            </a:r>
            <a:r>
              <a:rPr lang="nb-NO" sz="1600" err="1"/>
              <a:t>automatically</a:t>
            </a:r>
            <a:r>
              <a:rPr lang="nb-NO" sz="1600"/>
              <a:t> </a:t>
            </a:r>
            <a:r>
              <a:rPr lang="nb-NO" sz="1600" err="1"/>
              <a:t>open</a:t>
            </a:r>
            <a:r>
              <a:rPr lang="nb-NO" sz="1600"/>
              <a:t> in </a:t>
            </a:r>
            <a:r>
              <a:rPr lang="nb-NO" sz="1600" err="1"/>
              <a:t>the</a:t>
            </a:r>
            <a:r>
              <a:rPr lang="nb-NO" sz="1600"/>
              <a:t> editor </a:t>
            </a:r>
            <a:r>
              <a:rPr lang="nb-NO" sz="1600" err="1"/>
              <a:t>window</a:t>
            </a: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the Python fil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6" name="Picture 5">
            <a:extLst>
              <a:ext uri="{FF2B5EF4-FFF2-40B4-BE49-F238E27FC236}">
                <a16:creationId xmlns:a16="http://schemas.microsoft.com/office/drawing/2014/main" id="{2A7F917D-57A6-35B3-37E0-87C864FB982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70845" y="1956010"/>
            <a:ext cx="6373114" cy="1466379"/>
          </a:xfrm>
          <a:prstGeom prst="rect">
            <a:avLst/>
          </a:prstGeom>
        </p:spPr>
      </p:pic>
    </p:spTree>
    <p:extLst>
      <p:ext uri="{BB962C8B-B14F-4D97-AF65-F5344CB8AC3E}">
        <p14:creationId xmlns:p14="http://schemas.microsoft.com/office/powerpoint/2010/main" val="236882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41450"/>
          </a:xfrm>
        </p:spPr>
        <p:txBody>
          <a:bodyPr>
            <a:normAutofit lnSpcReduction="10000"/>
          </a:bodyPr>
          <a:lstStyle/>
          <a:p>
            <a:pPr>
              <a:lnSpc>
                <a:spcPct val="110000"/>
              </a:lnSpc>
            </a:pPr>
            <a:r>
              <a:rPr lang="nb-NO" sz="1600"/>
              <a:t>Using Postman, test </a:t>
            </a:r>
            <a:r>
              <a:rPr lang="nb-NO" sz="1600" err="1"/>
              <a:t>the</a:t>
            </a:r>
            <a:r>
              <a:rPr lang="nb-NO" sz="1600"/>
              <a:t> </a:t>
            </a:r>
            <a:r>
              <a:rPr lang="nb-NO" sz="1600" err="1"/>
              <a:t>RESTCONF</a:t>
            </a:r>
            <a:r>
              <a:rPr lang="nb-NO" sz="1600"/>
              <a:t> </a:t>
            </a:r>
            <a:r>
              <a:rPr lang="nb-NO" sz="1600" err="1"/>
              <a:t>calls</a:t>
            </a:r>
            <a:r>
              <a:rPr lang="nb-NO" sz="1600"/>
              <a:t> to </a:t>
            </a:r>
            <a:r>
              <a:rPr lang="nb-NO" sz="1600" err="1"/>
              <a:t>get</a:t>
            </a:r>
            <a:r>
              <a:rPr lang="nb-NO" sz="1600"/>
              <a:t> </a:t>
            </a:r>
            <a:r>
              <a:rPr lang="nb-NO" sz="1600" err="1"/>
              <a:t>this</a:t>
            </a:r>
            <a:r>
              <a:rPr lang="nb-NO" sz="1600"/>
              <a:t> info from </a:t>
            </a:r>
            <a:r>
              <a:rPr lang="nb-NO" sz="1600" err="1"/>
              <a:t>your</a:t>
            </a:r>
            <a:r>
              <a:rPr lang="nb-NO" sz="1600"/>
              <a:t> </a:t>
            </a:r>
            <a:r>
              <a:rPr lang="nb-NO" sz="1600" err="1"/>
              <a:t>WLC</a:t>
            </a:r>
            <a:endParaRPr lang="nb-NO" sz="1600"/>
          </a:p>
          <a:p>
            <a:pPr lvl="1">
              <a:lnSpc>
                <a:spcPct val="110000"/>
              </a:lnSpc>
            </a:pPr>
            <a:r>
              <a:rPr lang="nb-NO" sz="1400"/>
              <a:t>This is </a:t>
            </a:r>
            <a:r>
              <a:rPr lang="nb-NO" sz="1400" err="1"/>
              <a:t>the</a:t>
            </a:r>
            <a:r>
              <a:rPr lang="nb-NO" sz="1400"/>
              <a:t> URL </a:t>
            </a:r>
            <a:r>
              <a:rPr lang="nb-NO" sz="1400" err="1"/>
              <a:t>of</a:t>
            </a:r>
            <a:r>
              <a:rPr lang="nb-NO" sz="1400"/>
              <a:t> </a:t>
            </a:r>
            <a:r>
              <a:rPr lang="nb-NO" sz="1400" err="1"/>
              <a:t>the</a:t>
            </a:r>
            <a:r>
              <a:rPr lang="nb-NO" sz="1400"/>
              <a:t> </a:t>
            </a:r>
            <a:r>
              <a:rPr lang="nb-NO" sz="1400" err="1"/>
              <a:t>RESTCONF</a:t>
            </a:r>
            <a:r>
              <a:rPr lang="nb-NO" sz="1400"/>
              <a:t> </a:t>
            </a:r>
            <a:r>
              <a:rPr lang="nb-NO" sz="1400" err="1"/>
              <a:t>call</a:t>
            </a:r>
            <a:r>
              <a:rPr lang="nb-NO" sz="1400"/>
              <a:t> </a:t>
            </a:r>
            <a:r>
              <a:rPr lang="nb-NO" sz="1400" err="1"/>
              <a:t>we</a:t>
            </a:r>
            <a:r>
              <a:rPr lang="nb-NO" sz="1400"/>
              <a:t> </a:t>
            </a:r>
            <a:r>
              <a:rPr lang="nb-NO" sz="1400" err="1"/>
              <a:t>will</a:t>
            </a:r>
            <a:r>
              <a:rPr lang="nb-NO" sz="1400"/>
              <a:t> be </a:t>
            </a:r>
            <a:r>
              <a:rPr lang="nb-NO" sz="1400" err="1"/>
              <a:t>using</a:t>
            </a:r>
            <a:r>
              <a:rPr lang="nb-NO" sz="1400"/>
              <a:t> in </a:t>
            </a:r>
            <a:r>
              <a:rPr lang="nb-NO" sz="1400" err="1"/>
              <a:t>this</a:t>
            </a:r>
            <a:r>
              <a:rPr lang="nb-NO" sz="1400"/>
              <a:t> </a:t>
            </a:r>
            <a:r>
              <a:rPr lang="nb-NO" sz="1400" err="1"/>
              <a:t>exercise</a:t>
            </a:r>
            <a:endParaRPr lang="nb-NO" sz="1400"/>
          </a:p>
          <a:p>
            <a:pPr lvl="2">
              <a:lnSpc>
                <a:spcPct val="110000"/>
              </a:lnSpc>
            </a:pPr>
            <a:r>
              <a:rPr lang="nb-NO" sz="900" err="1">
                <a:latin typeface="Consolas" panose="020B0609020204030204" pitchFamily="49" charset="0"/>
              </a:rPr>
              <a:t>https</a:t>
            </a:r>
            <a:r>
              <a:rPr lang="nb-NO" sz="900">
                <a:latin typeface="Consolas" panose="020B0609020204030204" pitchFamily="49" charset="0"/>
              </a:rPr>
              <a:t>://{{host}}/</a:t>
            </a:r>
            <a:r>
              <a:rPr lang="nb-NO" sz="900" err="1">
                <a:latin typeface="Consolas" panose="020B0609020204030204" pitchFamily="49" charset="0"/>
              </a:rPr>
              <a:t>restconf</a:t>
            </a:r>
            <a:r>
              <a:rPr lang="nb-NO" sz="900">
                <a:latin typeface="Consolas" panose="020B0609020204030204" pitchFamily="49" charset="0"/>
              </a:rPr>
              <a:t>/data/</a:t>
            </a:r>
            <a:r>
              <a:rPr lang="nb-NO" sz="900" err="1">
                <a:latin typeface="Consolas" panose="020B0609020204030204" pitchFamily="49" charset="0"/>
              </a:rPr>
              <a:t>Cisco-IOS-XE-wireless-access-point-oper:access-point-oper-data</a:t>
            </a:r>
            <a:r>
              <a:rPr lang="nb-NO" sz="900">
                <a:latin typeface="Consolas" panose="020B0609020204030204" pitchFamily="49" charset="0"/>
              </a:rPr>
              <a:t>/</a:t>
            </a:r>
            <a:r>
              <a:rPr lang="nb-NO" sz="900" err="1">
                <a:latin typeface="Consolas" panose="020B0609020204030204" pitchFamily="49" charset="0"/>
              </a:rPr>
              <a:t>capwap</a:t>
            </a:r>
            <a:r>
              <a:rPr lang="nb-NO" sz="900">
                <a:latin typeface="Consolas" panose="020B0609020204030204" pitchFamily="49" charset="0"/>
              </a:rPr>
              <a:t>-data</a:t>
            </a:r>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endParaRPr lang="nb-NO" sz="1400"/>
          </a:p>
          <a:p>
            <a:pPr lvl="1">
              <a:lnSpc>
                <a:spcPct val="110000"/>
              </a:lnSpc>
            </a:pPr>
            <a:r>
              <a:rPr lang="nb-NO" sz="1400" err="1"/>
              <a:t>You</a:t>
            </a:r>
            <a:r>
              <a:rPr lang="nb-NO" sz="1400"/>
              <a:t> </a:t>
            </a:r>
            <a:r>
              <a:rPr lang="nb-NO" sz="1400" err="1"/>
              <a:t>can</a:t>
            </a:r>
            <a:r>
              <a:rPr lang="nb-NO" sz="1400"/>
              <a:t> </a:t>
            </a:r>
            <a:r>
              <a:rPr lang="nb-NO" sz="1400" err="1"/>
              <a:t>try</a:t>
            </a:r>
            <a:r>
              <a:rPr lang="nb-NO" sz="1400"/>
              <a:t> </a:t>
            </a:r>
            <a:r>
              <a:rPr lang="nb-NO" sz="1400" err="1"/>
              <a:t>specifying</a:t>
            </a:r>
            <a:r>
              <a:rPr lang="nb-NO" sz="1400"/>
              <a:t> </a:t>
            </a:r>
            <a:r>
              <a:rPr lang="nb-NO" sz="1400" err="1"/>
              <a:t>some</a:t>
            </a:r>
            <a:r>
              <a:rPr lang="nb-NO" sz="1400"/>
              <a:t> </a:t>
            </a:r>
            <a:r>
              <a:rPr lang="nb-NO" sz="1400" err="1"/>
              <a:t>fields</a:t>
            </a:r>
            <a:r>
              <a:rPr lang="nb-NO" sz="1400"/>
              <a:t> to </a:t>
            </a:r>
            <a:r>
              <a:rPr lang="nb-NO" sz="1400" err="1"/>
              <a:t>reduce</a:t>
            </a:r>
            <a:r>
              <a:rPr lang="nb-NO" sz="1400"/>
              <a:t> </a:t>
            </a:r>
            <a:r>
              <a:rPr lang="nb-NO" sz="1400" err="1"/>
              <a:t>the</a:t>
            </a:r>
            <a:r>
              <a:rPr lang="nb-NO" sz="1400"/>
              <a:t> data </a:t>
            </a:r>
            <a:r>
              <a:rPr lang="nb-NO" sz="1400" err="1"/>
              <a:t>size</a:t>
            </a:r>
            <a:endParaRPr lang="nb-NO" sz="1400"/>
          </a:p>
          <a:p>
            <a:pPr lvl="2">
              <a:lnSpc>
                <a:spcPct val="110000"/>
              </a:lnSpc>
            </a:pPr>
            <a:r>
              <a:rPr lang="nb-NO" sz="900" err="1">
                <a:latin typeface="Consolas" panose="020B0609020204030204" pitchFamily="49" charset="0"/>
              </a:rPr>
              <a:t>https</a:t>
            </a:r>
            <a:r>
              <a:rPr lang="nb-NO" sz="900">
                <a:latin typeface="Consolas" panose="020B0609020204030204" pitchFamily="49" charset="0"/>
              </a:rPr>
              <a:t>://{{host}}/</a:t>
            </a:r>
            <a:r>
              <a:rPr lang="nb-NO" sz="900" err="1">
                <a:latin typeface="Consolas" panose="020B0609020204030204" pitchFamily="49" charset="0"/>
              </a:rPr>
              <a:t>restconf</a:t>
            </a:r>
            <a:r>
              <a:rPr lang="nb-NO" sz="900">
                <a:latin typeface="Consolas" panose="020B0609020204030204" pitchFamily="49" charset="0"/>
              </a:rPr>
              <a:t>/data/</a:t>
            </a:r>
            <a:r>
              <a:rPr lang="nb-NO" sz="900" err="1">
                <a:latin typeface="Consolas" panose="020B0609020204030204" pitchFamily="49" charset="0"/>
              </a:rPr>
              <a:t>Cisco-IOS-XE-wireless-access-point-oper:access-point-oper-data</a:t>
            </a:r>
            <a:r>
              <a:rPr lang="nb-NO" sz="900">
                <a:latin typeface="Consolas" panose="020B0609020204030204" pitchFamily="49" charset="0"/>
              </a:rPr>
              <a:t>/</a:t>
            </a:r>
            <a:r>
              <a:rPr lang="nb-NO" sz="900" err="1">
                <a:latin typeface="Consolas" panose="020B0609020204030204" pitchFamily="49" charset="0"/>
              </a:rPr>
              <a:t>capwap-data?fields</a:t>
            </a:r>
            <a:r>
              <a:rPr lang="nb-NO" sz="900">
                <a:latin typeface="Consolas" panose="020B0609020204030204" pitchFamily="49" charset="0"/>
              </a:rPr>
              <a:t>=</a:t>
            </a:r>
            <a:r>
              <a:rPr lang="nb-NO" sz="900" err="1">
                <a:latin typeface="Consolas" panose="020B0609020204030204" pitchFamily="49" charset="0"/>
              </a:rPr>
              <a:t>wtp-mac;wtp-ip;name;ap-state;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t>
            </a:r>
            <a:r>
              <a:rPr lang="nb-NO" sz="900" err="1">
                <a:latin typeface="Consolas" panose="020B0609020204030204" pitchFamily="49" charset="0"/>
              </a:rPr>
              <a:t>board</a:t>
            </a:r>
            <a:r>
              <a:rPr lang="nb-NO" sz="900">
                <a:latin typeface="Consolas" panose="020B0609020204030204" pitchFamily="49" charset="0"/>
              </a:rPr>
              <a:t>-data/</a:t>
            </a:r>
            <a:r>
              <a:rPr lang="nb-NO" sz="900" err="1">
                <a:latin typeface="Consolas" panose="020B0609020204030204" pitchFamily="49" charset="0"/>
              </a:rPr>
              <a:t>wtp-serial-num;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t>
            </a:r>
            <a:r>
              <a:rPr lang="nb-NO" sz="900" err="1">
                <a:latin typeface="Consolas" panose="020B0609020204030204" pitchFamily="49" charset="0"/>
              </a:rPr>
              <a:t>board</a:t>
            </a:r>
            <a:r>
              <a:rPr lang="nb-NO" sz="900">
                <a:latin typeface="Consolas" panose="020B0609020204030204" pitchFamily="49" charset="0"/>
              </a:rPr>
              <a:t>-data/</a:t>
            </a:r>
            <a:r>
              <a:rPr lang="nb-NO" sz="900" err="1">
                <a:latin typeface="Consolas" panose="020B0609020204030204" pitchFamily="49" charset="0"/>
              </a:rPr>
              <a:t>wtp-enet-mac;device-detail</a:t>
            </a:r>
            <a:r>
              <a:rPr lang="nb-NO" sz="900">
                <a:latin typeface="Consolas" panose="020B0609020204030204" pitchFamily="49" charset="0"/>
              </a:rPr>
              <a:t>/</a:t>
            </a:r>
            <a:r>
              <a:rPr lang="nb-NO" sz="900" err="1">
                <a:latin typeface="Consolas" panose="020B0609020204030204" pitchFamily="49" charset="0"/>
              </a:rPr>
              <a:t>static</a:t>
            </a:r>
            <a:r>
              <a:rPr lang="nb-NO" sz="900">
                <a:latin typeface="Consolas" panose="020B0609020204030204" pitchFamily="49" charset="0"/>
              </a:rPr>
              <a:t>-info/ap-</a:t>
            </a:r>
            <a:r>
              <a:rPr lang="nb-NO" sz="900" err="1">
                <a:latin typeface="Consolas" panose="020B0609020204030204" pitchFamily="49" charset="0"/>
              </a:rPr>
              <a:t>models</a:t>
            </a:r>
            <a:r>
              <a:rPr lang="nb-NO" sz="900">
                <a:latin typeface="Consolas" panose="020B0609020204030204" pitchFamily="49" charset="0"/>
              </a:rPr>
              <a:t>/</a:t>
            </a:r>
            <a:r>
              <a:rPr lang="nb-NO" sz="900" err="1">
                <a:latin typeface="Consolas" panose="020B0609020204030204" pitchFamily="49" charset="0"/>
              </a:rPr>
              <a:t>model;tag-info</a:t>
            </a:r>
            <a:r>
              <a:rPr lang="nb-NO" sz="900">
                <a:latin typeface="Consolas" panose="020B0609020204030204" pitchFamily="49" charset="0"/>
              </a:rPr>
              <a:t>/</a:t>
            </a:r>
            <a:r>
              <a:rPr lang="nb-NO" sz="900" err="1">
                <a:latin typeface="Consolas" panose="020B0609020204030204" pitchFamily="49" charset="0"/>
              </a:rPr>
              <a:t>tag-source;tag-info</a:t>
            </a:r>
            <a:r>
              <a:rPr lang="nb-NO" sz="900">
                <a:latin typeface="Consolas" panose="020B0609020204030204" pitchFamily="49" charset="0"/>
              </a:rPr>
              <a:t>/</a:t>
            </a:r>
            <a:r>
              <a:rPr lang="nb-NO" sz="900" err="1">
                <a:latin typeface="Consolas" panose="020B0609020204030204" pitchFamily="49" charset="0"/>
              </a:rPr>
              <a:t>policy-tag-info;tag-info</a:t>
            </a:r>
            <a:r>
              <a:rPr lang="nb-NO" sz="900">
                <a:latin typeface="Consolas" panose="020B0609020204030204" pitchFamily="49" charset="0"/>
              </a:rPr>
              <a:t>/</a:t>
            </a:r>
            <a:r>
              <a:rPr lang="nb-NO" sz="900" err="1">
                <a:latin typeface="Consolas" panose="020B0609020204030204" pitchFamily="49" charset="0"/>
              </a:rPr>
              <a:t>site-tag;tag-info</a:t>
            </a:r>
            <a:r>
              <a:rPr lang="nb-NO" sz="900">
                <a:latin typeface="Consolas" panose="020B0609020204030204" pitchFamily="49" charset="0"/>
              </a:rPr>
              <a:t>/</a:t>
            </a:r>
            <a:r>
              <a:rPr lang="nb-NO" sz="900" err="1">
                <a:latin typeface="Consolas" panose="020B0609020204030204" pitchFamily="49" charset="0"/>
              </a:rPr>
              <a:t>rf-tag;tag-info</a:t>
            </a:r>
            <a:r>
              <a:rPr lang="nb-NO" sz="900">
                <a:latin typeface="Consolas" panose="020B0609020204030204" pitchFamily="49" charset="0"/>
              </a:rPr>
              <a:t>/filter-info/</a:t>
            </a:r>
            <a:r>
              <a:rPr lang="nb-NO" sz="900" err="1">
                <a:latin typeface="Consolas" panose="020B0609020204030204" pitchFamily="49" charset="0"/>
              </a:rPr>
              <a:t>filter-name;ap-time-info</a:t>
            </a:r>
            <a:r>
              <a:rPr lang="nb-NO" sz="900">
                <a:latin typeface="Consolas" panose="020B0609020204030204" pitchFamily="49" charset="0"/>
              </a:rPr>
              <a:t>/</a:t>
            </a:r>
            <a:r>
              <a:rPr lang="nb-NO" sz="900" err="1">
                <a:latin typeface="Consolas" panose="020B0609020204030204" pitchFamily="49" charset="0"/>
              </a:rPr>
              <a:t>boot-time;ap-time-info</a:t>
            </a:r>
            <a:r>
              <a:rPr lang="nb-NO" sz="900">
                <a:latin typeface="Consolas" panose="020B0609020204030204" pitchFamily="49" charset="0"/>
              </a:rPr>
              <a:t>/</a:t>
            </a:r>
            <a:r>
              <a:rPr lang="nb-NO" sz="900" err="1">
                <a:latin typeface="Consolas" panose="020B0609020204030204" pitchFamily="49" charset="0"/>
              </a:rPr>
              <a:t>join</a:t>
            </a:r>
            <a:r>
              <a:rPr lang="nb-NO" sz="900">
                <a:latin typeface="Consolas" panose="020B0609020204030204" pitchFamily="49" charset="0"/>
              </a:rPr>
              <a:t>-time</a:t>
            </a:r>
          </a:p>
          <a:p>
            <a:pPr>
              <a:lnSpc>
                <a:spcPct val="110000"/>
              </a:lnSpc>
            </a:pPr>
            <a:endParaRPr lang="nb-NO" sz="1600">
              <a:latin typeface="+mj-lt"/>
            </a:endParaRPr>
          </a:p>
          <a:p>
            <a:pPr>
              <a:lnSpc>
                <a:spcPct val="110000"/>
              </a:lnSpc>
            </a:pPr>
            <a:r>
              <a:rPr lang="nb-NO" sz="1600">
                <a:latin typeface="+mj-lt"/>
              </a:rPr>
              <a:t>In </a:t>
            </a:r>
            <a:r>
              <a:rPr lang="nb-NO" sz="1600" err="1">
                <a:latin typeface="+mj-lt"/>
              </a:rPr>
              <a:t>the</a:t>
            </a:r>
            <a:r>
              <a:rPr lang="nb-NO" sz="1600">
                <a:latin typeface="+mj-lt"/>
              </a:rPr>
              <a:t> </a:t>
            </a:r>
            <a:r>
              <a:rPr lang="nb-NO" sz="1600" err="1">
                <a:latin typeface="+mj-lt"/>
              </a:rPr>
              <a:t>next</a:t>
            </a:r>
            <a:r>
              <a:rPr lang="nb-NO" sz="1600">
                <a:latin typeface="+mj-lt"/>
              </a:rPr>
              <a:t> </a:t>
            </a:r>
            <a:r>
              <a:rPr lang="nb-NO" sz="1600" err="1">
                <a:latin typeface="+mj-lt"/>
              </a:rPr>
              <a:t>exercise</a:t>
            </a:r>
            <a:r>
              <a:rPr lang="nb-NO" sz="1600">
                <a:latin typeface="+mj-lt"/>
              </a:rPr>
              <a:t> </a:t>
            </a:r>
            <a:r>
              <a:rPr lang="nb-NO" sz="1600" err="1">
                <a:latin typeface="+mj-lt"/>
              </a:rPr>
              <a:t>we</a:t>
            </a:r>
            <a:r>
              <a:rPr lang="nb-NO" sz="1600">
                <a:latin typeface="+mj-lt"/>
              </a:rPr>
              <a:t> </a:t>
            </a:r>
            <a:r>
              <a:rPr lang="nb-NO" sz="1600" err="1">
                <a:latin typeface="+mj-lt"/>
              </a:rPr>
              <a:t>will</a:t>
            </a:r>
            <a:r>
              <a:rPr lang="nb-NO" sz="1600">
                <a:latin typeface="+mj-lt"/>
              </a:rPr>
              <a:t> </a:t>
            </a:r>
            <a:r>
              <a:rPr lang="nb-NO" sz="1600" err="1">
                <a:latin typeface="+mj-lt"/>
              </a:rPr>
              <a:t>install</a:t>
            </a:r>
            <a:r>
              <a:rPr lang="nb-NO" sz="1600">
                <a:latin typeface="+mj-lt"/>
              </a:rPr>
              <a:t> and </a:t>
            </a:r>
            <a:r>
              <a:rPr lang="nb-NO" sz="1600" err="1">
                <a:latin typeface="+mj-lt"/>
              </a:rPr>
              <a:t>use</a:t>
            </a:r>
            <a:r>
              <a:rPr lang="nb-NO" sz="1600">
                <a:latin typeface="+mj-lt"/>
              </a:rPr>
              <a:t> </a:t>
            </a:r>
            <a:r>
              <a:rPr lang="nb-NO" sz="1600" err="1">
                <a:latin typeface="+mj-lt"/>
              </a:rPr>
              <a:t>YANG</a:t>
            </a:r>
            <a:r>
              <a:rPr lang="nb-NO" sz="1600">
                <a:latin typeface="+mj-lt"/>
              </a:rPr>
              <a:t> Suite, </a:t>
            </a:r>
            <a:r>
              <a:rPr lang="nb-NO" sz="1600" err="1">
                <a:latin typeface="+mj-lt"/>
              </a:rPr>
              <a:t>where</a:t>
            </a:r>
            <a:r>
              <a:rPr lang="nb-NO" sz="1600">
                <a:latin typeface="+mj-lt"/>
              </a:rPr>
              <a:t> </a:t>
            </a:r>
            <a:r>
              <a:rPr lang="nb-NO" sz="1600" err="1">
                <a:latin typeface="+mj-lt"/>
              </a:rPr>
              <a:t>you</a:t>
            </a:r>
            <a:r>
              <a:rPr lang="nb-NO" sz="1600">
                <a:latin typeface="+mj-lt"/>
              </a:rPr>
              <a:t> </a:t>
            </a:r>
            <a:r>
              <a:rPr lang="nb-NO" sz="1600" err="1">
                <a:latin typeface="+mj-lt"/>
              </a:rPr>
              <a:t>can</a:t>
            </a:r>
            <a:r>
              <a:rPr lang="nb-NO" sz="1600">
                <a:latin typeface="+mj-lt"/>
              </a:rPr>
              <a:t> </a:t>
            </a:r>
            <a:r>
              <a:rPr lang="nb-NO" sz="1600" err="1">
                <a:latin typeface="+mj-lt"/>
              </a:rPr>
              <a:t>explore</a:t>
            </a:r>
            <a:r>
              <a:rPr lang="nb-NO" sz="1600">
                <a:latin typeface="+mj-lt"/>
              </a:rPr>
              <a:t> </a:t>
            </a:r>
            <a:r>
              <a:rPr lang="nb-NO" sz="1600" err="1">
                <a:latin typeface="+mj-lt"/>
              </a:rPr>
              <a:t>YANG</a:t>
            </a:r>
            <a:r>
              <a:rPr lang="nb-NO" sz="1600">
                <a:latin typeface="+mj-lt"/>
              </a:rPr>
              <a:t> </a:t>
            </a:r>
            <a:r>
              <a:rPr lang="nb-NO" sz="1600" err="1">
                <a:latin typeface="+mj-lt"/>
              </a:rPr>
              <a:t>models</a:t>
            </a:r>
            <a:r>
              <a:rPr lang="nb-NO" sz="1600">
                <a:latin typeface="+mj-lt"/>
              </a:rPr>
              <a:t> to </a:t>
            </a:r>
            <a:r>
              <a:rPr lang="nb-NO" sz="1600" err="1">
                <a:latin typeface="+mj-lt"/>
              </a:rPr>
              <a:t>find</a:t>
            </a:r>
            <a:r>
              <a:rPr lang="nb-NO" sz="1600">
                <a:latin typeface="+mj-lt"/>
              </a:rPr>
              <a:t> </a:t>
            </a:r>
            <a:r>
              <a:rPr lang="nb-NO" sz="1600" err="1">
                <a:latin typeface="+mj-lt"/>
              </a:rPr>
              <a:t>out</a:t>
            </a:r>
            <a:r>
              <a:rPr lang="nb-NO" sz="1600">
                <a:latin typeface="+mj-lt"/>
              </a:rPr>
              <a:t> URLs like </a:t>
            </a:r>
            <a:r>
              <a:rPr lang="nb-NO" sz="1600" err="1">
                <a:latin typeface="+mj-lt"/>
              </a:rPr>
              <a:t>this</a:t>
            </a:r>
            <a:r>
              <a:rPr lang="nb-NO" sz="1600">
                <a:latin typeface="+mj-lt"/>
              </a:rPr>
              <a:t> for "</a:t>
            </a:r>
            <a:r>
              <a:rPr lang="nb-NO" sz="1600" err="1">
                <a:latin typeface="+mj-lt"/>
              </a:rPr>
              <a:t>everything</a:t>
            </a:r>
            <a:r>
              <a:rPr lang="nb-NO" sz="1600">
                <a:latin typeface="+mj-lt"/>
              </a:rPr>
              <a:t>"</a:t>
            </a:r>
            <a:endParaRPr lang="nb-NO" sz="1300">
              <a:latin typeface="+mj-lt"/>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pare the </a:t>
            </a:r>
            <a:r>
              <a:rPr lang="en-GB" err="1"/>
              <a:t>RESTCONF</a:t>
            </a:r>
            <a:r>
              <a:rPr lang="en-GB"/>
              <a:t> calls</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6" name="Picture 5">
            <a:extLst>
              <a:ext uri="{FF2B5EF4-FFF2-40B4-BE49-F238E27FC236}">
                <a16:creationId xmlns:a16="http://schemas.microsoft.com/office/drawing/2014/main" id="{A124644B-3401-5746-CC3C-CCF7A027F46C}"/>
              </a:ext>
            </a:extLst>
          </p:cNvPr>
          <p:cNvPicPr>
            <a:picLocks noChangeAspect="1"/>
          </p:cNvPicPr>
          <p:nvPr/>
        </p:nvPicPr>
        <p:blipFill>
          <a:blip r:embed="rId3"/>
          <a:stretch>
            <a:fillRect/>
          </a:stretch>
        </p:blipFill>
        <p:spPr>
          <a:xfrm>
            <a:off x="1222510" y="2110806"/>
            <a:ext cx="7949412" cy="457642"/>
          </a:xfrm>
          <a:prstGeom prst="rect">
            <a:avLst/>
          </a:prstGeom>
        </p:spPr>
      </p:pic>
      <p:pic>
        <p:nvPicPr>
          <p:cNvPr id="8" name="Picture 7">
            <a:extLst>
              <a:ext uri="{FF2B5EF4-FFF2-40B4-BE49-F238E27FC236}">
                <a16:creationId xmlns:a16="http://schemas.microsoft.com/office/drawing/2014/main" id="{BF2B681A-AD19-C07D-5CA4-7ABB9AEC0CB0}"/>
              </a:ext>
            </a:extLst>
          </p:cNvPr>
          <p:cNvPicPr>
            <a:picLocks noChangeAspect="1"/>
          </p:cNvPicPr>
          <p:nvPr/>
        </p:nvPicPr>
        <p:blipFill>
          <a:blip r:embed="rId4"/>
          <a:stretch>
            <a:fillRect/>
          </a:stretch>
        </p:blipFill>
        <p:spPr>
          <a:xfrm>
            <a:off x="1222510" y="2605440"/>
            <a:ext cx="4273424" cy="1209200"/>
          </a:xfrm>
          <a:prstGeom prst="rect">
            <a:avLst/>
          </a:prstGeom>
        </p:spPr>
      </p:pic>
    </p:spTree>
    <p:extLst>
      <p:ext uri="{BB962C8B-B14F-4D97-AF65-F5344CB8AC3E}">
        <p14:creationId xmlns:p14="http://schemas.microsoft.com/office/powerpoint/2010/main" val="280595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16050"/>
          </a:xfrm>
        </p:spPr>
        <p:txBody>
          <a:bodyPr>
            <a:normAutofit lnSpcReduction="10000"/>
          </a:bodyPr>
          <a:lstStyle/>
          <a:p>
            <a:pPr>
              <a:lnSpc>
                <a:spcPct val="110000"/>
              </a:lnSpc>
            </a:pPr>
            <a:r>
              <a:rPr lang="nb-NO" sz="1600"/>
              <a:t>For </a:t>
            </a:r>
            <a:r>
              <a:rPr lang="nb-NO" sz="1600" err="1"/>
              <a:t>this</a:t>
            </a:r>
            <a:r>
              <a:rPr lang="nb-NO" sz="1600"/>
              <a:t> </a:t>
            </a:r>
            <a:r>
              <a:rPr lang="nb-NO" sz="1600" err="1"/>
              <a:t>exercise</a:t>
            </a:r>
            <a:r>
              <a:rPr lang="nb-NO" sz="1600"/>
              <a:t>, </a:t>
            </a:r>
            <a:r>
              <a:rPr lang="nb-NO" sz="1600" err="1"/>
              <a:t>we</a:t>
            </a:r>
            <a:r>
              <a:rPr lang="nb-NO" sz="1600"/>
              <a:t> </a:t>
            </a:r>
            <a:r>
              <a:rPr lang="nb-NO" sz="1600" err="1"/>
              <a:t>will</a:t>
            </a:r>
            <a:r>
              <a:rPr lang="nb-NO" sz="1600"/>
              <a:t> </a:t>
            </a:r>
            <a:r>
              <a:rPr lang="nb-NO" sz="1600" err="1"/>
              <a:t>use</a:t>
            </a:r>
            <a:r>
              <a:rPr lang="nb-NO" sz="1600"/>
              <a:t> </a:t>
            </a:r>
            <a:r>
              <a:rPr lang="nb-NO" sz="1600" err="1"/>
              <a:t>the</a:t>
            </a:r>
            <a:r>
              <a:rPr lang="nb-NO" sz="1600"/>
              <a:t> </a:t>
            </a:r>
            <a:r>
              <a:rPr lang="nb-NO" sz="1600" err="1"/>
              <a:t>following</a:t>
            </a:r>
            <a:r>
              <a:rPr lang="nb-NO" sz="1600"/>
              <a:t> </a:t>
            </a:r>
            <a:r>
              <a:rPr lang="nb-NO" sz="1600" err="1"/>
              <a:t>modules</a:t>
            </a:r>
            <a:endParaRPr lang="nb-NO" sz="1600"/>
          </a:p>
          <a:p>
            <a:pPr lvl="1">
              <a:lnSpc>
                <a:spcPct val="110000"/>
              </a:lnSpc>
            </a:pPr>
            <a:r>
              <a:rPr lang="nb-NO" sz="1200" err="1"/>
              <a:t>requests</a:t>
            </a:r>
            <a:endParaRPr lang="nb-NO" sz="1200"/>
          </a:p>
          <a:p>
            <a:pPr lvl="1">
              <a:lnSpc>
                <a:spcPct val="110000"/>
              </a:lnSpc>
            </a:pPr>
            <a:r>
              <a:rPr lang="nb-NO" sz="1200"/>
              <a:t>pandas</a:t>
            </a:r>
          </a:p>
          <a:p>
            <a:pPr lvl="1">
              <a:lnSpc>
                <a:spcPct val="110000"/>
              </a:lnSpc>
            </a:pPr>
            <a:r>
              <a:rPr lang="nb-NO" sz="1200" err="1"/>
              <a:t>openpyxl</a:t>
            </a:r>
            <a:endParaRPr lang="nb-NO" sz="1200"/>
          </a:p>
          <a:p>
            <a:pPr>
              <a:lnSpc>
                <a:spcPct val="110000"/>
              </a:lnSpc>
            </a:pPr>
            <a:r>
              <a:rPr lang="nb-NO" sz="1600"/>
              <a:t>To </a:t>
            </a:r>
            <a:r>
              <a:rPr lang="nb-NO" sz="1600" err="1"/>
              <a:t>install</a:t>
            </a:r>
            <a:r>
              <a:rPr lang="nb-NO" sz="1600"/>
              <a:t> </a:t>
            </a:r>
            <a:r>
              <a:rPr lang="nb-NO" sz="1600" err="1"/>
              <a:t>these</a:t>
            </a:r>
            <a:r>
              <a:rPr lang="nb-NO" sz="1600"/>
              <a:t>, </a:t>
            </a:r>
            <a:r>
              <a:rPr lang="nb-NO" sz="1600" err="1"/>
              <a:t>use</a:t>
            </a:r>
            <a:r>
              <a:rPr lang="nb-NO" sz="1600"/>
              <a:t> </a:t>
            </a:r>
            <a:r>
              <a:rPr lang="nb-NO" sz="1600" err="1"/>
              <a:t>the</a:t>
            </a:r>
            <a:r>
              <a:rPr lang="nb-NO" sz="1600"/>
              <a:t> </a:t>
            </a:r>
            <a:r>
              <a:rPr lang="nb-NO" sz="1600" err="1"/>
              <a:t>command</a:t>
            </a:r>
            <a:r>
              <a:rPr lang="nb-NO" sz="1600"/>
              <a:t> "pip </a:t>
            </a:r>
            <a:r>
              <a:rPr lang="nb-NO" sz="1600" err="1"/>
              <a:t>install</a:t>
            </a:r>
            <a:r>
              <a:rPr lang="nb-NO" sz="1600"/>
              <a:t> </a:t>
            </a:r>
            <a:r>
              <a:rPr lang="nb-NO" sz="1600" err="1"/>
              <a:t>requests</a:t>
            </a:r>
            <a:r>
              <a:rPr lang="nb-NO" sz="1600"/>
              <a:t> pandas </a:t>
            </a:r>
            <a:r>
              <a:rPr lang="nb-NO" sz="1600" err="1"/>
              <a:t>openpyxl</a:t>
            </a:r>
            <a:r>
              <a:rPr lang="nb-NO" sz="1600"/>
              <a:t>"</a:t>
            </a:r>
          </a:p>
          <a:p>
            <a:pPr>
              <a:lnSpc>
                <a:spcPct val="110000"/>
              </a:lnSpc>
            </a:pPr>
            <a:endParaRPr lang="nb-NO" sz="1600"/>
          </a:p>
          <a:p>
            <a:pPr>
              <a:lnSpc>
                <a:spcPct val="110000"/>
              </a:lnSpc>
            </a:pPr>
            <a:endParaRPr lang="nb-NO" sz="1400"/>
          </a:p>
          <a:p>
            <a:pPr>
              <a:lnSpc>
                <a:spcPct val="110000"/>
              </a:lnSpc>
            </a:pPr>
            <a:endParaRPr lang="nb-NO" sz="1600"/>
          </a:p>
          <a:p>
            <a:pPr>
              <a:lnSpc>
                <a:spcPct val="110000"/>
              </a:lnSpc>
            </a:pPr>
            <a:endParaRPr lang="nb-NO" sz="1600"/>
          </a:p>
          <a:p>
            <a:pPr>
              <a:lnSpc>
                <a:spcPct val="110000"/>
              </a:lnSpc>
            </a:pPr>
            <a:endParaRPr lang="nb-NO" sz="1000"/>
          </a:p>
          <a:p>
            <a:pPr>
              <a:lnSpc>
                <a:spcPct val="110000"/>
              </a:lnSpc>
            </a:pPr>
            <a:endParaRPr lang="nb-NO" sz="1600"/>
          </a:p>
          <a:p>
            <a:pPr>
              <a:lnSpc>
                <a:spcPct val="110000"/>
              </a:lnSpc>
            </a:pPr>
            <a:r>
              <a:rPr lang="nb-NO" sz="1600"/>
              <a:t>If </a:t>
            </a:r>
            <a:r>
              <a:rPr lang="nb-NO" sz="1600" err="1"/>
              <a:t>you</a:t>
            </a:r>
            <a:r>
              <a:rPr lang="nb-NO" sz="1600"/>
              <a:t> </a:t>
            </a:r>
            <a:r>
              <a:rPr lang="nb-NO" sz="1600" err="1"/>
              <a:t>want</a:t>
            </a:r>
            <a:r>
              <a:rPr lang="nb-NO" sz="1600"/>
              <a:t>, </a:t>
            </a:r>
            <a:r>
              <a:rPr lang="nb-NO" sz="1600" err="1"/>
              <a:t>you</a:t>
            </a:r>
            <a:r>
              <a:rPr lang="nb-NO" sz="1600"/>
              <a:t> </a:t>
            </a:r>
            <a:r>
              <a:rPr lang="nb-NO" sz="1600" err="1"/>
              <a:t>can</a:t>
            </a:r>
            <a:r>
              <a:rPr lang="nb-NO" sz="1600"/>
              <a:t> </a:t>
            </a:r>
            <a:r>
              <a:rPr lang="nb-NO" sz="1600" err="1"/>
              <a:t>wait</a:t>
            </a:r>
            <a:r>
              <a:rPr lang="nb-NO" sz="1600"/>
              <a:t> </a:t>
            </a:r>
            <a:r>
              <a:rPr lang="nb-NO" sz="1600" err="1"/>
              <a:t>installing</a:t>
            </a:r>
            <a:r>
              <a:rPr lang="nb-NO" sz="1600"/>
              <a:t> </a:t>
            </a:r>
            <a:r>
              <a:rPr lang="nb-NO" sz="1600" err="1"/>
              <a:t>these</a:t>
            </a:r>
            <a:r>
              <a:rPr lang="nb-NO" sz="1600"/>
              <a:t> </a:t>
            </a:r>
            <a:r>
              <a:rPr lang="nb-NO" sz="1600" err="1"/>
              <a:t>until</a:t>
            </a:r>
            <a:r>
              <a:rPr lang="nb-NO" sz="1600"/>
              <a:t> </a:t>
            </a:r>
            <a:r>
              <a:rPr lang="nb-NO" sz="1600" err="1"/>
              <a:t>you</a:t>
            </a:r>
            <a:r>
              <a:rPr lang="nb-NO" sz="1600"/>
              <a:t> </a:t>
            </a:r>
            <a:r>
              <a:rPr lang="nb-NO" sz="1600" err="1"/>
              <a:t>see</a:t>
            </a:r>
            <a:r>
              <a:rPr lang="nb-NO" sz="1600"/>
              <a:t> </a:t>
            </a:r>
            <a:r>
              <a:rPr lang="nb-NO" sz="1600" err="1"/>
              <a:t>the</a:t>
            </a:r>
            <a:r>
              <a:rPr lang="nb-NO" sz="1600"/>
              <a:t> </a:t>
            </a:r>
            <a:r>
              <a:rPr lang="nb-NO" sz="1600" err="1"/>
              <a:t>errors</a:t>
            </a:r>
            <a:r>
              <a:rPr lang="nb-NO" sz="1600"/>
              <a:t> </a:t>
            </a:r>
            <a:r>
              <a:rPr lang="nb-NO" sz="1600" err="1"/>
              <a:t>highlighted</a:t>
            </a:r>
            <a:r>
              <a:rPr lang="nb-NO" sz="1600"/>
              <a:t> in </a:t>
            </a:r>
            <a:r>
              <a:rPr lang="nb-NO" sz="1600" err="1"/>
              <a:t>VS</a:t>
            </a:r>
            <a:r>
              <a:rPr lang="nb-NO" sz="1600"/>
              <a:t> Code </a:t>
            </a:r>
            <a:r>
              <a:rPr lang="nb-NO" sz="1600" err="1"/>
              <a:t>when</a:t>
            </a:r>
            <a:r>
              <a:rPr lang="nb-NO" sz="1600"/>
              <a:t> </a:t>
            </a:r>
            <a:r>
              <a:rPr lang="nb-NO" sz="1600" err="1"/>
              <a:t>we</a:t>
            </a:r>
            <a:r>
              <a:rPr lang="nb-NO" sz="1600"/>
              <a:t> </a:t>
            </a:r>
            <a:r>
              <a:rPr lang="nb-NO" sz="1600" err="1"/>
              <a:t>try</a:t>
            </a:r>
            <a:r>
              <a:rPr lang="nb-NO" sz="1600"/>
              <a:t> to </a:t>
            </a:r>
            <a:r>
              <a:rPr lang="nb-NO" sz="1600" err="1"/>
              <a:t>use</a:t>
            </a:r>
            <a:r>
              <a:rPr lang="nb-NO" sz="1600"/>
              <a:t> </a:t>
            </a:r>
            <a:r>
              <a:rPr lang="nb-NO" sz="1600" err="1"/>
              <a:t>them</a:t>
            </a:r>
            <a:endParaRPr lang="nb-NO" sz="1000"/>
          </a:p>
          <a:p>
            <a:pPr marL="0" indent="0">
              <a:lnSpc>
                <a:spcPct val="110000"/>
              </a:lnSpc>
              <a:buNone/>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pare Python packages</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7" name="Picture 6">
            <a:extLst>
              <a:ext uri="{FF2B5EF4-FFF2-40B4-BE49-F238E27FC236}">
                <a16:creationId xmlns:a16="http://schemas.microsoft.com/office/drawing/2014/main" id="{7035C18F-E370-41B6-CAD9-1C5CC6A41000}"/>
              </a:ext>
            </a:extLst>
          </p:cNvPr>
          <p:cNvPicPr>
            <a:picLocks noChangeAspect="1"/>
          </p:cNvPicPr>
          <p:nvPr/>
        </p:nvPicPr>
        <p:blipFill rotWithShape="1">
          <a:blip r:embed="rId3"/>
          <a:srcRect t="17494"/>
          <a:stretch/>
        </p:blipFill>
        <p:spPr>
          <a:xfrm>
            <a:off x="1814725" y="5214965"/>
            <a:ext cx="5546026" cy="773085"/>
          </a:xfrm>
          <a:prstGeom prst="rect">
            <a:avLst/>
          </a:prstGeom>
        </p:spPr>
      </p:pic>
      <p:sp>
        <p:nvSpPr>
          <p:cNvPr id="8" name="TextBox 7">
            <a:extLst>
              <a:ext uri="{FF2B5EF4-FFF2-40B4-BE49-F238E27FC236}">
                <a16:creationId xmlns:a16="http://schemas.microsoft.com/office/drawing/2014/main" id="{4D3D1687-1D2E-1A8A-3ED6-9302F8EB7F70}"/>
              </a:ext>
            </a:extLst>
          </p:cNvPr>
          <p:cNvSpPr txBox="1"/>
          <p:nvPr/>
        </p:nvSpPr>
        <p:spPr>
          <a:xfrm>
            <a:off x="802129" y="2747550"/>
            <a:ext cx="11109600" cy="203767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cd Lab9_</a:t>
            </a:r>
            <a:r>
              <a:rPr lang="fr-FR" sz="1050" err="1">
                <a:solidFill>
                  <a:srgbClr val="EEE8D5"/>
                </a:solidFill>
                <a:latin typeface="Consolas" panose="020B0609020204030204" pitchFamily="49" charset="0"/>
              </a:rPr>
              <a:t>Python</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g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ap</a:t>
            </a:r>
            <a:r>
              <a:rPr lang="fr-FR" sz="1050">
                <a:solidFill>
                  <a:srgbClr val="EEE8D5"/>
                </a:solidFill>
                <a:latin typeface="Consolas" panose="020B0609020204030204" pitchFamily="49" charset="0"/>
              </a:rPr>
              <a:t>-table</a:t>
            </a: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ip</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 pandas </a:t>
            </a:r>
            <a:r>
              <a:rPr lang="fr-FR" sz="1050" err="1">
                <a:solidFill>
                  <a:srgbClr val="EEE8D5"/>
                </a:solidFill>
                <a:latin typeface="Consolas" panose="020B0609020204030204" pitchFamily="49" charset="0"/>
              </a:rPr>
              <a:t>openpyxl</a:t>
            </a:r>
            <a:endParaRPr lang="fr-FR" sz="1050">
              <a:solidFill>
                <a:srgbClr val="EEE8D5"/>
              </a:solidFill>
              <a:latin typeface="Consolas" panose="020B0609020204030204" pitchFamily="49" charset="0"/>
            </a:endParaRP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ownload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2.32.3-</a:t>
            </a:r>
            <a:r>
              <a:rPr lang="fr-FR" sz="1050" err="1">
                <a:solidFill>
                  <a:srgbClr val="EEE8D5"/>
                </a:solidFill>
                <a:latin typeface="Consolas" panose="020B0609020204030204" pitchFamily="49" charset="0"/>
              </a:rPr>
              <a:t>py3</a:t>
            </a:r>
            <a:r>
              <a:rPr lang="fr-FR" sz="1050">
                <a:solidFill>
                  <a:srgbClr val="EEE8D5"/>
                </a:solidFill>
                <a:latin typeface="Consolas" panose="020B0609020204030204" pitchFamily="49" charset="0"/>
              </a:rPr>
              <a:t>-none-</a:t>
            </a:r>
            <a:r>
              <a:rPr lang="fr-FR" sz="1050" err="1">
                <a:solidFill>
                  <a:srgbClr val="EEE8D5"/>
                </a:solidFill>
                <a:latin typeface="Consolas" panose="020B0609020204030204" pitchFamily="49" charset="0"/>
              </a:rPr>
              <a:t>any.whl.metadata</a:t>
            </a:r>
            <a:r>
              <a:rPr lang="fr-FR" sz="1050">
                <a:solidFill>
                  <a:srgbClr val="EEE8D5"/>
                </a:solidFill>
                <a:latin typeface="Consolas" panose="020B0609020204030204" pitchFamily="49" charset="0"/>
              </a:rPr>
              <a:t> (4.6 </a:t>
            </a:r>
            <a:r>
              <a:rPr lang="fr-FR" sz="1050" err="1">
                <a:solidFill>
                  <a:srgbClr val="EEE8D5"/>
                </a:solidFill>
                <a:latin typeface="Consolas" panose="020B0609020204030204" pitchFamily="49" charset="0"/>
              </a:rPr>
              <a:t>kB</a:t>
            </a:r>
            <a:r>
              <a:rPr lang="fr-FR" sz="1050">
                <a:solidFill>
                  <a:srgbClr val="EEE8D5"/>
                </a:solidFill>
                <a:latin typeface="Consolas" panose="020B0609020204030204" pitchFamily="49" charset="0"/>
              </a:rPr>
              <a:t>)</a:t>
            </a: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pandas</a:t>
            </a:r>
          </a:p>
          <a:p>
            <a:pPr lvl="1"/>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Downloading</a:t>
            </a:r>
            <a:r>
              <a:rPr lang="fr-FR" sz="1050">
                <a:solidFill>
                  <a:srgbClr val="EEE8D5"/>
                </a:solidFill>
                <a:latin typeface="Consolas" panose="020B0609020204030204" pitchFamily="49" charset="0"/>
              </a:rPr>
              <a:t> pandas-2.2.2-cp312-cp312-manylinux_2_17_x86_64.manylinux2014_x86_64.whl.metadata (19 </a:t>
            </a:r>
            <a:r>
              <a:rPr lang="fr-FR" sz="1050" err="1">
                <a:solidFill>
                  <a:srgbClr val="EEE8D5"/>
                </a:solidFill>
                <a:latin typeface="Consolas" panose="020B0609020204030204" pitchFamily="49" charset="0"/>
              </a:rPr>
              <a:t>kB</a:t>
            </a:r>
            <a:r>
              <a:rPr lang="fr-FR" sz="1050">
                <a:solidFill>
                  <a:srgbClr val="EEE8D5"/>
                </a:solidFill>
                <a:latin typeface="Consolas" panose="020B0609020204030204" pitchFamily="49" charset="0"/>
              </a:rPr>
              <a:t>)</a:t>
            </a:r>
          </a:p>
          <a:p>
            <a:pPr lvl="1"/>
            <a:r>
              <a:rPr lang="fr-FR" sz="1050" err="1">
                <a:solidFill>
                  <a:srgbClr val="EEE8D5"/>
                </a:solidFill>
                <a:latin typeface="Consolas" panose="020B0609020204030204" pitchFamily="49" charset="0"/>
              </a:rPr>
              <a:t>Collecting</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openpyxl</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a:t>
            </a:r>
          </a:p>
          <a:p>
            <a:pPr lvl="1"/>
            <a:r>
              <a:rPr lang="fr-FR" sz="1050" err="1">
                <a:solidFill>
                  <a:srgbClr val="6D6D6D"/>
                </a:solidFill>
              </a:rPr>
              <a:t>Successfully</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installed</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certifi</a:t>
            </a:r>
            <a:r>
              <a:rPr lang="fr-FR" sz="1050">
                <a:solidFill>
                  <a:srgbClr val="EEE8D5"/>
                </a:solidFill>
                <a:latin typeface="Consolas" panose="020B0609020204030204" pitchFamily="49" charset="0"/>
              </a:rPr>
              <a:t>-2024.7.4 </a:t>
            </a:r>
            <a:r>
              <a:rPr lang="fr-FR" sz="1050" err="1">
                <a:solidFill>
                  <a:srgbClr val="EEE8D5"/>
                </a:solidFill>
                <a:latin typeface="Consolas" panose="020B0609020204030204" pitchFamily="49" charset="0"/>
              </a:rPr>
              <a:t>chars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normalizer</a:t>
            </a:r>
            <a:r>
              <a:rPr lang="fr-FR" sz="1050">
                <a:solidFill>
                  <a:srgbClr val="EEE8D5"/>
                </a:solidFill>
                <a:latin typeface="Consolas" panose="020B0609020204030204" pitchFamily="49" charset="0"/>
              </a:rPr>
              <a:t>-3.3.2 et-</a:t>
            </a:r>
            <a:r>
              <a:rPr lang="fr-FR" sz="1050" err="1">
                <a:solidFill>
                  <a:srgbClr val="EEE8D5"/>
                </a:solidFill>
                <a:latin typeface="Consolas" panose="020B0609020204030204" pitchFamily="49" charset="0"/>
              </a:rPr>
              <a:t>xmlfile</a:t>
            </a:r>
            <a:r>
              <a:rPr lang="fr-FR" sz="1050">
                <a:solidFill>
                  <a:srgbClr val="EEE8D5"/>
                </a:solidFill>
                <a:latin typeface="Consolas" panose="020B0609020204030204" pitchFamily="49" charset="0"/>
              </a:rPr>
              <a:t>-1.1.0 </a:t>
            </a:r>
            <a:r>
              <a:rPr lang="fr-FR" sz="1050" err="1">
                <a:solidFill>
                  <a:srgbClr val="EEE8D5"/>
                </a:solidFill>
                <a:latin typeface="Consolas" panose="020B0609020204030204" pitchFamily="49" charset="0"/>
              </a:rPr>
              <a:t>idna</a:t>
            </a:r>
            <a:r>
              <a:rPr lang="fr-FR" sz="1050">
                <a:solidFill>
                  <a:srgbClr val="EEE8D5"/>
                </a:solidFill>
                <a:latin typeface="Consolas" panose="020B0609020204030204" pitchFamily="49" charset="0"/>
              </a:rPr>
              <a:t>-3.8 </a:t>
            </a:r>
            <a:r>
              <a:rPr lang="fr-FR" sz="1050" err="1">
                <a:solidFill>
                  <a:srgbClr val="EEE8D5"/>
                </a:solidFill>
                <a:latin typeface="Consolas" panose="020B0609020204030204" pitchFamily="49" charset="0"/>
              </a:rPr>
              <a:t>numpy</a:t>
            </a:r>
            <a:r>
              <a:rPr lang="fr-FR" sz="1050">
                <a:solidFill>
                  <a:srgbClr val="EEE8D5"/>
                </a:solidFill>
                <a:latin typeface="Consolas" panose="020B0609020204030204" pitchFamily="49" charset="0"/>
              </a:rPr>
              <a:t>-2.1.0 </a:t>
            </a:r>
            <a:r>
              <a:rPr lang="fr-FR" sz="1050" err="1">
                <a:solidFill>
                  <a:srgbClr val="EEE8D5"/>
                </a:solidFill>
                <a:latin typeface="Consolas" panose="020B0609020204030204" pitchFamily="49" charset="0"/>
              </a:rPr>
              <a:t>openpyxl</a:t>
            </a:r>
            <a:r>
              <a:rPr lang="fr-FR" sz="1050">
                <a:solidFill>
                  <a:srgbClr val="EEE8D5"/>
                </a:solidFill>
                <a:latin typeface="Consolas" panose="020B0609020204030204" pitchFamily="49" charset="0"/>
              </a:rPr>
              <a:t>-3.1.5 pandas-2.2.2 python-</a:t>
            </a:r>
            <a:r>
              <a:rPr lang="fr-FR" sz="1050" err="1">
                <a:solidFill>
                  <a:srgbClr val="EEE8D5"/>
                </a:solidFill>
                <a:latin typeface="Consolas" panose="020B0609020204030204" pitchFamily="49" charset="0"/>
              </a:rPr>
              <a:t>dateutil</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2.9.0.post0</a:t>
            </a:r>
            <a:r>
              <a:rPr lang="fr-FR" sz="1050">
                <a:solidFill>
                  <a:srgbClr val="EEE8D5"/>
                </a:solidFill>
                <a:latin typeface="Consolas" panose="020B0609020204030204" pitchFamily="49" charset="0"/>
              </a:rPr>
              <a:t> </a:t>
            </a:r>
            <a:r>
              <a:rPr lang="fr-FR" sz="1050" err="1">
                <a:solidFill>
                  <a:srgbClr val="EEE8D5"/>
                </a:solidFill>
                <a:latin typeface="Consolas" panose="020B0609020204030204" pitchFamily="49" charset="0"/>
              </a:rPr>
              <a:t>pytz</a:t>
            </a:r>
            <a:r>
              <a:rPr lang="fr-FR" sz="1050">
                <a:solidFill>
                  <a:srgbClr val="EEE8D5"/>
                </a:solidFill>
                <a:latin typeface="Consolas" panose="020B0609020204030204" pitchFamily="49" charset="0"/>
              </a:rPr>
              <a:t>-2024.1 </a:t>
            </a:r>
            <a:r>
              <a:rPr lang="fr-FR" sz="1050" err="1">
                <a:solidFill>
                  <a:srgbClr val="EEE8D5"/>
                </a:solidFill>
                <a:latin typeface="Consolas" panose="020B0609020204030204" pitchFamily="49" charset="0"/>
              </a:rPr>
              <a:t>requests</a:t>
            </a:r>
            <a:r>
              <a:rPr lang="fr-FR" sz="1050">
                <a:solidFill>
                  <a:srgbClr val="EEE8D5"/>
                </a:solidFill>
                <a:latin typeface="Consolas" panose="020B0609020204030204" pitchFamily="49" charset="0"/>
              </a:rPr>
              <a:t>-2.32.3 six-1.16.0 </a:t>
            </a:r>
            <a:r>
              <a:rPr lang="fr-FR" sz="1050" err="1">
                <a:solidFill>
                  <a:srgbClr val="EEE8D5"/>
                </a:solidFill>
                <a:latin typeface="Consolas" panose="020B0609020204030204" pitchFamily="49" charset="0"/>
              </a:rPr>
              <a:t>tzdata</a:t>
            </a:r>
            <a:r>
              <a:rPr lang="fr-FR" sz="1050">
                <a:solidFill>
                  <a:srgbClr val="EEE8D5"/>
                </a:solidFill>
                <a:latin typeface="Consolas" panose="020B0609020204030204" pitchFamily="49" charset="0"/>
              </a:rPr>
              <a:t>-2024.1 </a:t>
            </a:r>
            <a:r>
              <a:rPr lang="fr-FR" sz="1050" err="1">
                <a:solidFill>
                  <a:srgbClr val="EEE8D5"/>
                </a:solidFill>
                <a:latin typeface="Consolas" panose="020B0609020204030204" pitchFamily="49" charset="0"/>
              </a:rPr>
              <a:t>urllib3</a:t>
            </a:r>
            <a:r>
              <a:rPr lang="fr-FR" sz="1050">
                <a:solidFill>
                  <a:srgbClr val="EEE8D5"/>
                </a:solidFill>
                <a:latin typeface="Consolas" panose="020B0609020204030204" pitchFamily="49" charset="0"/>
              </a:rPr>
              <a:t>-2.2.2</a:t>
            </a: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a:t>
            </a:r>
          </a:p>
        </p:txBody>
      </p:sp>
    </p:spTree>
    <p:extLst>
      <p:ext uri="{BB962C8B-B14F-4D97-AF65-F5344CB8AC3E}">
        <p14:creationId xmlns:p14="http://schemas.microsoft.com/office/powerpoint/2010/main" val="4267861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68A490-F38D-C297-CAB1-BDF1B8ACCF6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6666" y="973646"/>
            <a:ext cx="4460676" cy="3293069"/>
          </a:xfrm>
          <a:prstGeom prst="rect">
            <a:avLst/>
          </a:prstGeom>
        </p:spPr>
      </p:pic>
      <p:sp>
        <p:nvSpPr>
          <p:cNvPr id="181" name="The distance between the headline and the start of the body copy is always constant.…"/>
          <p:cNvSpPr txBox="1">
            <a:spLocks noGrp="1"/>
          </p:cNvSpPr>
          <p:nvPr>
            <p:ph idx="1"/>
          </p:nvPr>
        </p:nvSpPr>
        <p:spPr>
          <a:xfrm>
            <a:off x="4984750" y="527050"/>
            <a:ext cx="4356100" cy="5530850"/>
          </a:xfrm>
        </p:spPr>
        <p:txBody>
          <a:bodyPr>
            <a:normAutofit fontScale="92500" lnSpcReduction="10000"/>
          </a:bodyPr>
          <a:lstStyle/>
          <a:p>
            <a:pPr>
              <a:lnSpc>
                <a:spcPct val="110000"/>
              </a:lnSpc>
            </a:pPr>
            <a:r>
              <a:rPr lang="nb-NO" sz="1600" dirty="0"/>
              <a:t>Import </a:t>
            </a:r>
            <a:r>
              <a:rPr lang="nb-NO" sz="1600" dirty="0" err="1"/>
              <a:t>the</a:t>
            </a:r>
            <a:r>
              <a:rPr lang="nb-NO" sz="1600" dirty="0"/>
              <a:t> </a:t>
            </a:r>
            <a:r>
              <a:rPr lang="nb-NO" sz="1600" dirty="0" err="1"/>
              <a:t>modules</a:t>
            </a:r>
            <a:r>
              <a:rPr lang="nb-NO" sz="1600" dirty="0"/>
              <a:t> </a:t>
            </a:r>
            <a:r>
              <a:rPr lang="nb-NO" sz="1600" dirty="0" err="1"/>
              <a:t>we</a:t>
            </a:r>
            <a:r>
              <a:rPr lang="nb-NO" sz="1600" dirty="0"/>
              <a:t> </a:t>
            </a:r>
            <a:r>
              <a:rPr lang="nb-NO" sz="1600" dirty="0" err="1"/>
              <a:t>will</a:t>
            </a:r>
            <a:r>
              <a:rPr lang="nb-NO" sz="1600" dirty="0"/>
              <a:t> </a:t>
            </a:r>
            <a:r>
              <a:rPr lang="nb-NO" sz="1600" dirty="0" err="1"/>
              <a:t>use</a:t>
            </a:r>
            <a:endParaRPr lang="nb-NO" sz="1600" dirty="0"/>
          </a:p>
          <a:p>
            <a:pPr>
              <a:lnSpc>
                <a:spcPct val="110000"/>
              </a:lnSpc>
            </a:pPr>
            <a:endParaRPr lang="nb-NO" sz="1600" dirty="0"/>
          </a:p>
          <a:p>
            <a:pPr>
              <a:lnSpc>
                <a:spcPct val="110000"/>
              </a:lnSpc>
            </a:pPr>
            <a:r>
              <a:rPr lang="nb-NO" sz="1600" dirty="0" err="1"/>
              <a:t>WLC</a:t>
            </a:r>
            <a:r>
              <a:rPr lang="nb-NO" sz="1600" dirty="0"/>
              <a:t> IP, </a:t>
            </a:r>
            <a:r>
              <a:rPr lang="nb-NO" sz="1600" dirty="0" err="1"/>
              <a:t>username</a:t>
            </a:r>
            <a:r>
              <a:rPr lang="nb-NO" sz="1600" dirty="0"/>
              <a:t> and </a:t>
            </a:r>
            <a:r>
              <a:rPr lang="nb-NO" sz="1600" dirty="0" err="1"/>
              <a:t>password</a:t>
            </a:r>
            <a:r>
              <a:rPr lang="nb-NO" sz="1600" dirty="0"/>
              <a:t> as input </a:t>
            </a:r>
            <a:r>
              <a:rPr lang="nb-NO" sz="1600" dirty="0" err="1"/>
              <a:t>fields</a:t>
            </a:r>
            <a:r>
              <a:rPr lang="nb-NO" sz="1600" dirty="0"/>
              <a:t>, it </a:t>
            </a:r>
            <a:r>
              <a:rPr lang="nb-NO" sz="1600" dirty="0" err="1"/>
              <a:t>will</a:t>
            </a:r>
            <a:r>
              <a:rPr lang="nb-NO" sz="1600" dirty="0"/>
              <a:t> be </a:t>
            </a:r>
            <a:r>
              <a:rPr lang="nb-NO" sz="1600" dirty="0" err="1"/>
              <a:t>asked</a:t>
            </a:r>
            <a:r>
              <a:rPr lang="nb-NO" sz="1600" dirty="0"/>
              <a:t> </a:t>
            </a:r>
            <a:r>
              <a:rPr lang="nb-NO" sz="1600" dirty="0" err="1"/>
              <a:t>when</a:t>
            </a:r>
            <a:r>
              <a:rPr lang="nb-NO" sz="1600" dirty="0"/>
              <a:t> </a:t>
            </a:r>
            <a:r>
              <a:rPr lang="nb-NO" sz="1600" dirty="0" err="1"/>
              <a:t>running</a:t>
            </a:r>
            <a:r>
              <a:rPr lang="nb-NO" sz="1600" dirty="0"/>
              <a:t> </a:t>
            </a:r>
            <a:r>
              <a:rPr lang="nb-NO" sz="1600" dirty="0" err="1"/>
              <a:t>the</a:t>
            </a:r>
            <a:r>
              <a:rPr lang="nb-NO" sz="1600" dirty="0"/>
              <a:t> script</a:t>
            </a:r>
          </a:p>
          <a:p>
            <a:pPr>
              <a:lnSpc>
                <a:spcPct val="110000"/>
              </a:lnSpc>
            </a:pPr>
            <a:r>
              <a:rPr lang="nb-NO" sz="1600" dirty="0" err="1"/>
              <a:t>Create</a:t>
            </a:r>
            <a:r>
              <a:rPr lang="nb-NO" sz="1600" dirty="0"/>
              <a:t> </a:t>
            </a:r>
            <a:r>
              <a:rPr lang="nb-NO" sz="1600" dirty="0" err="1"/>
              <a:t>the</a:t>
            </a:r>
            <a:r>
              <a:rPr lang="nb-NO" sz="1600" dirty="0"/>
              <a:t> </a:t>
            </a:r>
            <a:r>
              <a:rPr lang="nb-NO" sz="1600" dirty="0" err="1"/>
              <a:t>RESTCONF</a:t>
            </a:r>
            <a:r>
              <a:rPr lang="nb-NO" sz="1600" dirty="0"/>
              <a:t> </a:t>
            </a:r>
            <a:r>
              <a:rPr lang="nb-NO" sz="1600" dirty="0" err="1"/>
              <a:t>call</a:t>
            </a:r>
            <a:r>
              <a:rPr lang="nb-NO" sz="1600" dirty="0"/>
              <a:t> </a:t>
            </a:r>
            <a:r>
              <a:rPr lang="nb-NO" sz="1600" dirty="0" err="1"/>
              <a:t>using</a:t>
            </a:r>
            <a:r>
              <a:rPr lang="nb-NO" sz="1600" dirty="0"/>
              <a:t> </a:t>
            </a:r>
            <a:r>
              <a:rPr lang="nb-NO" sz="1600" dirty="0" err="1"/>
              <a:t>the</a:t>
            </a:r>
            <a:r>
              <a:rPr lang="nb-NO" sz="1600" dirty="0"/>
              <a:t> IP </a:t>
            </a:r>
            <a:r>
              <a:rPr lang="nb-NO" sz="1600" dirty="0" err="1"/>
              <a:t>of</a:t>
            </a:r>
            <a:r>
              <a:rPr lang="nb-NO" sz="1600" dirty="0"/>
              <a:t> </a:t>
            </a:r>
            <a:r>
              <a:rPr lang="nb-NO" sz="1600" dirty="0" err="1"/>
              <a:t>your</a:t>
            </a:r>
            <a:r>
              <a:rPr lang="nb-NO" sz="1600" dirty="0"/>
              <a:t> </a:t>
            </a:r>
            <a:r>
              <a:rPr lang="nb-NO" sz="1600" dirty="0" err="1"/>
              <a:t>WLC</a:t>
            </a:r>
            <a:r>
              <a:rPr lang="nb-NO" sz="1600" dirty="0"/>
              <a:t>, and </a:t>
            </a:r>
            <a:r>
              <a:rPr lang="nb-NO" sz="1600" dirty="0" err="1"/>
              <a:t>the</a:t>
            </a:r>
            <a:r>
              <a:rPr lang="nb-NO" sz="1600" dirty="0"/>
              <a:t> </a:t>
            </a:r>
            <a:r>
              <a:rPr lang="nb-NO" sz="1600" dirty="0" err="1"/>
              <a:t>path</a:t>
            </a:r>
            <a:r>
              <a:rPr lang="nb-NO" sz="1600" dirty="0"/>
              <a:t> </a:t>
            </a:r>
            <a:r>
              <a:rPr lang="nb-NO" sz="1600" dirty="0" err="1"/>
              <a:t>you</a:t>
            </a:r>
            <a:r>
              <a:rPr lang="nb-NO" sz="1600" dirty="0"/>
              <a:t> </a:t>
            </a:r>
            <a:r>
              <a:rPr lang="nb-NO" sz="1600" dirty="0" err="1"/>
              <a:t>tested</a:t>
            </a:r>
            <a:r>
              <a:rPr lang="nb-NO" sz="1600" dirty="0"/>
              <a:t> </a:t>
            </a:r>
            <a:r>
              <a:rPr lang="nb-NO" sz="1600" dirty="0" err="1"/>
              <a:t>with</a:t>
            </a:r>
            <a:r>
              <a:rPr lang="nb-NO" sz="1600" dirty="0"/>
              <a:t> Postman</a:t>
            </a:r>
          </a:p>
          <a:p>
            <a:pPr>
              <a:lnSpc>
                <a:spcPct val="110000"/>
              </a:lnSpc>
            </a:pPr>
            <a:endParaRPr lang="nb-NO" sz="1600" dirty="0"/>
          </a:p>
          <a:p>
            <a:pPr>
              <a:lnSpc>
                <a:spcPct val="110000"/>
              </a:lnSpc>
            </a:pPr>
            <a:r>
              <a:rPr lang="nb-NO" sz="1600" dirty="0"/>
              <a:t>Make </a:t>
            </a:r>
            <a:r>
              <a:rPr lang="nb-NO" sz="1600" dirty="0" err="1"/>
              <a:t>the</a:t>
            </a:r>
            <a:r>
              <a:rPr lang="nb-NO" sz="1600" dirty="0"/>
              <a:t> </a:t>
            </a:r>
            <a:r>
              <a:rPr lang="nb-NO" sz="1600" dirty="0" err="1"/>
              <a:t>call</a:t>
            </a:r>
            <a:r>
              <a:rPr lang="nb-NO" sz="1600" dirty="0"/>
              <a:t> and save </a:t>
            </a:r>
            <a:r>
              <a:rPr lang="nb-NO" sz="1600" dirty="0" err="1"/>
              <a:t>the</a:t>
            </a:r>
            <a:r>
              <a:rPr lang="nb-NO" sz="1600" dirty="0"/>
              <a:t> </a:t>
            </a:r>
            <a:r>
              <a:rPr lang="nb-NO" sz="1600" dirty="0" err="1"/>
              <a:t>response</a:t>
            </a:r>
            <a:endParaRPr lang="nb-NO" sz="1600" dirty="0"/>
          </a:p>
          <a:p>
            <a:pPr>
              <a:lnSpc>
                <a:spcPct val="110000"/>
              </a:lnSpc>
            </a:pPr>
            <a:r>
              <a:rPr lang="nb-NO" sz="1600" dirty="0" err="1"/>
              <a:t>Some</a:t>
            </a:r>
            <a:r>
              <a:rPr lang="nb-NO" sz="1600" dirty="0"/>
              <a:t> </a:t>
            </a:r>
            <a:r>
              <a:rPr lang="nb-NO" sz="1600" dirty="0" err="1"/>
              <a:t>very</a:t>
            </a:r>
            <a:r>
              <a:rPr lang="nb-NO" sz="1600" dirty="0"/>
              <a:t> </a:t>
            </a:r>
            <a:r>
              <a:rPr lang="nb-NO" sz="1600" dirty="0" err="1"/>
              <a:t>basic</a:t>
            </a:r>
            <a:r>
              <a:rPr lang="nb-NO" sz="1600" dirty="0"/>
              <a:t> </a:t>
            </a:r>
            <a:r>
              <a:rPr lang="nb-NO" sz="1600" dirty="0" err="1"/>
              <a:t>error</a:t>
            </a:r>
            <a:r>
              <a:rPr lang="nb-NO" sz="1600" dirty="0"/>
              <a:t> </a:t>
            </a:r>
            <a:r>
              <a:rPr lang="nb-NO" sz="1600" dirty="0" err="1"/>
              <a:t>checking</a:t>
            </a:r>
            <a:endParaRPr lang="nb-NO" sz="1600" dirty="0"/>
          </a:p>
          <a:p>
            <a:pPr>
              <a:lnSpc>
                <a:spcPct val="110000"/>
              </a:lnSpc>
            </a:pPr>
            <a:r>
              <a:rPr lang="nb-NO" sz="1600" dirty="0"/>
              <a:t>The </a:t>
            </a:r>
            <a:r>
              <a:rPr lang="nb-NO" sz="1600" dirty="0" err="1"/>
              <a:t>response</a:t>
            </a:r>
            <a:r>
              <a:rPr lang="nb-NO" sz="1600" dirty="0"/>
              <a:t> is given as </a:t>
            </a:r>
            <a:r>
              <a:rPr lang="nb-NO" sz="1600" dirty="0" err="1"/>
              <a:t>JSON</a:t>
            </a:r>
            <a:r>
              <a:rPr lang="nb-NO" sz="1600" dirty="0"/>
              <a:t>. </a:t>
            </a:r>
            <a:r>
              <a:rPr lang="nb-NO" sz="1600" dirty="0" err="1"/>
              <a:t>We</a:t>
            </a:r>
            <a:r>
              <a:rPr lang="nb-NO" sz="1600" dirty="0"/>
              <a:t> </a:t>
            </a:r>
            <a:r>
              <a:rPr lang="nb-NO" sz="1600" dirty="0" err="1"/>
              <a:t>use</a:t>
            </a:r>
            <a:r>
              <a:rPr lang="nb-NO" sz="1600" dirty="0"/>
              <a:t> a pandas </a:t>
            </a:r>
            <a:r>
              <a:rPr lang="nb-NO" sz="1600" dirty="0" err="1"/>
              <a:t>function</a:t>
            </a:r>
            <a:r>
              <a:rPr lang="nb-NO" sz="1600" dirty="0"/>
              <a:t> "</a:t>
            </a:r>
            <a:r>
              <a:rPr lang="nb-NO" sz="1600" dirty="0" err="1"/>
              <a:t>json_normalize</a:t>
            </a:r>
            <a:r>
              <a:rPr lang="nb-NO" sz="1600" dirty="0"/>
              <a:t>" to </a:t>
            </a:r>
            <a:r>
              <a:rPr lang="nb-NO" sz="1600" dirty="0" err="1"/>
              <a:t>flatten</a:t>
            </a:r>
            <a:r>
              <a:rPr lang="nb-NO" sz="1600" dirty="0"/>
              <a:t> parts </a:t>
            </a:r>
            <a:r>
              <a:rPr lang="nb-NO" sz="1600" dirty="0" err="1"/>
              <a:t>of</a:t>
            </a:r>
            <a:r>
              <a:rPr lang="nb-NO" sz="1600" dirty="0"/>
              <a:t> </a:t>
            </a:r>
            <a:r>
              <a:rPr lang="nb-NO" sz="1600" dirty="0" err="1"/>
              <a:t>the</a:t>
            </a:r>
            <a:r>
              <a:rPr lang="nb-NO" sz="1600" dirty="0"/>
              <a:t> </a:t>
            </a:r>
            <a:r>
              <a:rPr lang="nb-NO" sz="1600" dirty="0" err="1"/>
              <a:t>JSON</a:t>
            </a:r>
            <a:r>
              <a:rPr lang="nb-NO" sz="1600" dirty="0"/>
              <a:t> </a:t>
            </a:r>
            <a:r>
              <a:rPr lang="nb-NO" sz="1600" dirty="0" err="1"/>
              <a:t>object</a:t>
            </a:r>
            <a:r>
              <a:rPr lang="nb-NO" sz="1600" dirty="0"/>
              <a:t> to present it in a </a:t>
            </a:r>
            <a:r>
              <a:rPr lang="nb-NO" sz="1600" dirty="0" err="1"/>
              <a:t>table</a:t>
            </a:r>
            <a:endParaRPr lang="nb-NO" sz="1600" dirty="0"/>
          </a:p>
          <a:p>
            <a:pPr>
              <a:lnSpc>
                <a:spcPct val="110000"/>
              </a:lnSpc>
            </a:pPr>
            <a:r>
              <a:rPr lang="nb-NO" sz="1600" dirty="0" err="1"/>
              <a:t>Print</a:t>
            </a:r>
            <a:r>
              <a:rPr lang="nb-NO" sz="1600" dirty="0"/>
              <a:t> </a:t>
            </a:r>
            <a:r>
              <a:rPr lang="nb-NO" sz="1600" dirty="0" err="1"/>
              <a:t>the</a:t>
            </a:r>
            <a:r>
              <a:rPr lang="nb-NO" sz="1600" dirty="0"/>
              <a:t> </a:t>
            </a:r>
            <a:r>
              <a:rPr lang="nb-NO" sz="1600" dirty="0" err="1"/>
              <a:t>table</a:t>
            </a:r>
            <a:r>
              <a:rPr lang="nb-NO" sz="1600" dirty="0"/>
              <a:t> in </a:t>
            </a:r>
            <a:r>
              <a:rPr lang="nb-NO" sz="1600" dirty="0" err="1"/>
              <a:t>the</a:t>
            </a:r>
            <a:r>
              <a:rPr lang="nb-NO" sz="1600" dirty="0"/>
              <a:t> terminal</a:t>
            </a:r>
          </a:p>
          <a:p>
            <a:pPr>
              <a:lnSpc>
                <a:spcPct val="110000"/>
              </a:lnSpc>
            </a:pPr>
            <a:r>
              <a:rPr lang="nb-NO" sz="1600" dirty="0"/>
              <a:t>Save </a:t>
            </a:r>
            <a:r>
              <a:rPr lang="nb-NO" sz="1600" dirty="0" err="1"/>
              <a:t>the</a:t>
            </a:r>
            <a:r>
              <a:rPr lang="nb-NO" sz="1600" dirty="0"/>
              <a:t> </a:t>
            </a:r>
            <a:r>
              <a:rPr lang="nb-NO" sz="1600" dirty="0" err="1"/>
              <a:t>table</a:t>
            </a:r>
            <a:r>
              <a:rPr lang="nb-NO" sz="1600" dirty="0"/>
              <a:t> to Excel and </a:t>
            </a:r>
            <a:r>
              <a:rPr lang="nb-NO" sz="1600" dirty="0" err="1"/>
              <a:t>CSV</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et AP tabl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6" name="TextBox 5">
            <a:extLst>
              <a:ext uri="{FF2B5EF4-FFF2-40B4-BE49-F238E27FC236}">
                <a16:creationId xmlns:a16="http://schemas.microsoft.com/office/drawing/2014/main" id="{C95E52CE-E2A4-FEC3-8010-12CDBA72D593}"/>
              </a:ext>
            </a:extLst>
          </p:cNvPr>
          <p:cNvSpPr txBox="1"/>
          <p:nvPr/>
        </p:nvSpPr>
        <p:spPr>
          <a:xfrm>
            <a:off x="9431660" y="238536"/>
            <a:ext cx="2758753" cy="2554545"/>
          </a:xfrm>
          <a:prstGeom prst="rect">
            <a:avLst/>
          </a:prstGeom>
          <a:noFill/>
          <a:ln>
            <a:solidFill>
              <a:schemeClr val="tx1"/>
            </a:solidFill>
          </a:ln>
        </p:spPr>
        <p:txBody>
          <a:bodyPr wrap="square">
            <a:spAutoFit/>
          </a:bodyPr>
          <a:lstStyle/>
          <a:p>
            <a:r>
              <a:rPr lang="nb-NO" sz="500" dirty="0">
                <a:latin typeface="Consolas" panose="020B0609020204030204" pitchFamily="49" charset="0"/>
              </a:rPr>
              <a:t>import </a:t>
            </a:r>
            <a:r>
              <a:rPr lang="nb-NO" sz="500" dirty="0" err="1">
                <a:latin typeface="Consolas" panose="020B0609020204030204" pitchFamily="49" charset="0"/>
              </a:rPr>
              <a:t>requests</a:t>
            </a:r>
            <a:endParaRPr lang="nb-NO" sz="500" dirty="0">
              <a:latin typeface="Consolas" panose="020B0609020204030204" pitchFamily="49" charset="0"/>
            </a:endParaRPr>
          </a:p>
          <a:p>
            <a:r>
              <a:rPr lang="nb-NO" sz="500" dirty="0">
                <a:latin typeface="Consolas" panose="020B0609020204030204" pitchFamily="49" charset="0"/>
              </a:rPr>
              <a:t>import pandas as pd</a:t>
            </a:r>
          </a:p>
          <a:p>
            <a:r>
              <a:rPr lang="nb-NO" sz="500" dirty="0">
                <a:latin typeface="Consolas" panose="020B0609020204030204" pitchFamily="49" charset="0"/>
              </a:rPr>
              <a:t>import </a:t>
            </a:r>
            <a:r>
              <a:rPr lang="nb-NO" sz="500" dirty="0" err="1">
                <a:latin typeface="Consolas" panose="020B0609020204030204" pitchFamily="49" charset="0"/>
              </a:rPr>
              <a:t>getpass</a:t>
            </a:r>
            <a:endParaRPr lang="nb-NO" sz="500" dirty="0">
              <a:latin typeface="Consolas" panose="020B0609020204030204" pitchFamily="49" charset="0"/>
            </a:endParaRPr>
          </a:p>
          <a:p>
            <a:endParaRPr lang="nb-NO" sz="500" dirty="0">
              <a:latin typeface="Consolas" panose="020B0609020204030204" pitchFamily="49" charset="0"/>
            </a:endParaRPr>
          </a:p>
          <a:p>
            <a:r>
              <a:rPr lang="nb-NO" sz="500" dirty="0" err="1">
                <a:latin typeface="Consolas" panose="020B0609020204030204" pitchFamily="49" charset="0"/>
              </a:rPr>
              <a:t>wlc</a:t>
            </a:r>
            <a:r>
              <a:rPr lang="nb-NO" sz="500" dirty="0">
                <a:latin typeface="Consolas" panose="020B0609020204030204" pitchFamily="49" charset="0"/>
              </a:rPr>
              <a:t> = input("Enter </a:t>
            </a:r>
            <a:r>
              <a:rPr lang="nb-NO" sz="500" dirty="0" err="1">
                <a:latin typeface="Consolas" panose="020B0609020204030204" pitchFamily="49" charset="0"/>
              </a:rPr>
              <a:t>WLC</a:t>
            </a:r>
            <a:r>
              <a:rPr lang="nb-NO" sz="500" dirty="0">
                <a:latin typeface="Consolas" panose="020B0609020204030204" pitchFamily="49" charset="0"/>
              </a:rPr>
              <a:t> IP: ")</a:t>
            </a:r>
          </a:p>
          <a:p>
            <a:r>
              <a:rPr lang="nb-NO" sz="500" dirty="0" err="1">
                <a:latin typeface="Consolas" panose="020B0609020204030204" pitchFamily="49" charset="0"/>
              </a:rPr>
              <a:t>user</a:t>
            </a:r>
            <a:r>
              <a:rPr lang="nb-NO" sz="500" dirty="0">
                <a:latin typeface="Consolas" panose="020B0609020204030204" pitchFamily="49" charset="0"/>
              </a:rPr>
              <a:t> = input("Enter </a:t>
            </a:r>
            <a:r>
              <a:rPr lang="nb-NO" sz="500" dirty="0" err="1">
                <a:latin typeface="Consolas" panose="020B0609020204030204" pitchFamily="49" charset="0"/>
              </a:rPr>
              <a:t>user</a:t>
            </a:r>
            <a:r>
              <a:rPr lang="nb-NO" sz="500" dirty="0">
                <a:latin typeface="Consolas" panose="020B0609020204030204" pitchFamily="49" charset="0"/>
              </a:rPr>
              <a:t>: ")</a:t>
            </a:r>
          </a:p>
          <a:p>
            <a:r>
              <a:rPr lang="nb-NO" sz="500" dirty="0" err="1">
                <a:latin typeface="Consolas" panose="020B0609020204030204" pitchFamily="49" charset="0"/>
              </a:rPr>
              <a:t>password</a:t>
            </a:r>
            <a:r>
              <a:rPr lang="nb-NO" sz="500" dirty="0">
                <a:latin typeface="Consolas" panose="020B0609020204030204" pitchFamily="49" charset="0"/>
              </a:rPr>
              <a:t> = </a:t>
            </a:r>
            <a:r>
              <a:rPr lang="nb-NO" sz="500" dirty="0" err="1">
                <a:latin typeface="Consolas" panose="020B0609020204030204" pitchFamily="49" charset="0"/>
              </a:rPr>
              <a:t>getpass.getpass</a:t>
            </a:r>
            <a:r>
              <a:rPr lang="nb-NO" sz="500" dirty="0">
                <a:latin typeface="Consolas" panose="020B0609020204030204" pitchFamily="49" charset="0"/>
              </a:rPr>
              <a:t>("Enter </a:t>
            </a:r>
            <a:r>
              <a:rPr lang="nb-NO" sz="500" dirty="0" err="1">
                <a:latin typeface="Consolas" panose="020B0609020204030204" pitchFamily="49" charset="0"/>
              </a:rPr>
              <a:t>password</a:t>
            </a:r>
            <a:r>
              <a:rPr lang="nb-NO" sz="500" dirty="0">
                <a:latin typeface="Consolas" panose="020B0609020204030204" pitchFamily="49" charset="0"/>
              </a:rPr>
              <a:t>: ")</a:t>
            </a:r>
          </a:p>
          <a:p>
            <a:r>
              <a:rPr lang="nb-NO" sz="500" dirty="0">
                <a:latin typeface="Consolas" panose="020B0609020204030204" pitchFamily="49" charset="0"/>
              </a:rPr>
              <a:t>url = </a:t>
            </a:r>
            <a:r>
              <a:rPr lang="nb-NO" sz="500" dirty="0" err="1">
                <a:latin typeface="Consolas" panose="020B0609020204030204" pitchFamily="49" charset="0"/>
              </a:rPr>
              <a:t>f"https</a:t>
            </a:r>
            <a:r>
              <a:rPr lang="nb-NO" sz="500" dirty="0">
                <a:latin typeface="Consolas" panose="020B0609020204030204" pitchFamily="49" charset="0"/>
              </a:rPr>
              <a:t>://{</a:t>
            </a:r>
            <a:r>
              <a:rPr lang="nb-NO" sz="500" dirty="0" err="1">
                <a:latin typeface="Consolas" panose="020B0609020204030204" pitchFamily="49" charset="0"/>
              </a:rPr>
              <a:t>wlc</a:t>
            </a:r>
            <a:r>
              <a:rPr lang="nb-NO" sz="500" dirty="0">
                <a:latin typeface="Consolas" panose="020B0609020204030204" pitchFamily="49" charset="0"/>
              </a:rPr>
              <a:t>}/</a:t>
            </a:r>
            <a:r>
              <a:rPr lang="nb-NO" sz="500" dirty="0" err="1">
                <a:latin typeface="Consolas" panose="020B0609020204030204" pitchFamily="49" charset="0"/>
              </a:rPr>
              <a:t>restconf</a:t>
            </a:r>
            <a:r>
              <a:rPr lang="nb-NO" sz="500" dirty="0">
                <a:latin typeface="Consolas" panose="020B0609020204030204" pitchFamily="49" charset="0"/>
              </a:rPr>
              <a:t>/data/</a:t>
            </a:r>
            <a:r>
              <a:rPr lang="nb-NO" sz="500" dirty="0" err="1">
                <a:latin typeface="Consolas" panose="020B0609020204030204" pitchFamily="49" charset="0"/>
              </a:rPr>
              <a:t>Cisco-IOS-XE-wireless-access-point-oper:access-point-oper-data</a:t>
            </a:r>
            <a:r>
              <a:rPr lang="nb-NO" sz="500" dirty="0">
                <a:latin typeface="Consolas" panose="020B0609020204030204" pitchFamily="49" charset="0"/>
              </a:rPr>
              <a:t>/</a:t>
            </a:r>
            <a:r>
              <a:rPr lang="nb-NO" sz="500" dirty="0" err="1">
                <a:latin typeface="Consolas" panose="020B0609020204030204" pitchFamily="49" charset="0"/>
              </a:rPr>
              <a:t>capwap-data?fields</a:t>
            </a:r>
            <a:r>
              <a:rPr lang="nb-NO" sz="500" dirty="0">
                <a:latin typeface="Consolas" panose="020B0609020204030204" pitchFamily="49" charset="0"/>
              </a:rPr>
              <a:t>=</a:t>
            </a:r>
            <a:r>
              <a:rPr lang="nb-NO" sz="500" dirty="0" err="1">
                <a:latin typeface="Consolas" panose="020B0609020204030204" pitchFamily="49" charset="0"/>
              </a:rPr>
              <a:t>wtp-mac;wtp-ip;name;ap-state;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t>
            </a:r>
            <a:r>
              <a:rPr lang="nb-NO" sz="500" dirty="0" err="1">
                <a:latin typeface="Consolas" panose="020B0609020204030204" pitchFamily="49" charset="0"/>
              </a:rPr>
              <a:t>board</a:t>
            </a:r>
            <a:r>
              <a:rPr lang="nb-NO" sz="500" dirty="0">
                <a:latin typeface="Consolas" panose="020B0609020204030204" pitchFamily="49" charset="0"/>
              </a:rPr>
              <a:t>-data/</a:t>
            </a:r>
            <a:r>
              <a:rPr lang="nb-NO" sz="500" dirty="0" err="1">
                <a:latin typeface="Consolas" panose="020B0609020204030204" pitchFamily="49" charset="0"/>
              </a:rPr>
              <a:t>wtp-serial-num;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t>
            </a:r>
            <a:r>
              <a:rPr lang="nb-NO" sz="500" dirty="0" err="1">
                <a:latin typeface="Consolas" panose="020B0609020204030204" pitchFamily="49" charset="0"/>
              </a:rPr>
              <a:t>board</a:t>
            </a:r>
            <a:r>
              <a:rPr lang="nb-NO" sz="500" dirty="0">
                <a:latin typeface="Consolas" panose="020B0609020204030204" pitchFamily="49" charset="0"/>
              </a:rPr>
              <a:t>-data/</a:t>
            </a:r>
            <a:r>
              <a:rPr lang="nb-NO" sz="500" dirty="0" err="1">
                <a:latin typeface="Consolas" panose="020B0609020204030204" pitchFamily="49" charset="0"/>
              </a:rPr>
              <a:t>wtp-enet-mac;device-detail</a:t>
            </a:r>
            <a:r>
              <a:rPr lang="nb-NO" sz="500" dirty="0">
                <a:latin typeface="Consolas" panose="020B0609020204030204" pitchFamily="49" charset="0"/>
              </a:rPr>
              <a:t>/</a:t>
            </a:r>
            <a:r>
              <a:rPr lang="nb-NO" sz="500" dirty="0" err="1">
                <a:latin typeface="Consolas" panose="020B0609020204030204" pitchFamily="49" charset="0"/>
              </a:rPr>
              <a:t>static</a:t>
            </a:r>
            <a:r>
              <a:rPr lang="nb-NO" sz="500" dirty="0">
                <a:latin typeface="Consolas" panose="020B0609020204030204" pitchFamily="49" charset="0"/>
              </a:rPr>
              <a:t>-info/ap-</a:t>
            </a:r>
            <a:r>
              <a:rPr lang="nb-NO" sz="500" dirty="0" err="1">
                <a:latin typeface="Consolas" panose="020B0609020204030204" pitchFamily="49" charset="0"/>
              </a:rPr>
              <a:t>models</a:t>
            </a:r>
            <a:r>
              <a:rPr lang="nb-NO" sz="500" dirty="0">
                <a:latin typeface="Consolas" panose="020B0609020204030204" pitchFamily="49" charset="0"/>
              </a:rPr>
              <a:t>/</a:t>
            </a:r>
            <a:r>
              <a:rPr lang="nb-NO" sz="500" dirty="0" err="1">
                <a:latin typeface="Consolas" panose="020B0609020204030204" pitchFamily="49" charset="0"/>
              </a:rPr>
              <a:t>model;tag-info</a:t>
            </a:r>
            <a:r>
              <a:rPr lang="nb-NO" sz="500" dirty="0">
                <a:latin typeface="Consolas" panose="020B0609020204030204" pitchFamily="49" charset="0"/>
              </a:rPr>
              <a:t>/</a:t>
            </a:r>
            <a:r>
              <a:rPr lang="nb-NO" sz="500" dirty="0" err="1">
                <a:latin typeface="Consolas" panose="020B0609020204030204" pitchFamily="49" charset="0"/>
              </a:rPr>
              <a:t>tag-source;tag-info</a:t>
            </a:r>
            <a:r>
              <a:rPr lang="nb-NO" sz="500" dirty="0">
                <a:latin typeface="Consolas" panose="020B0609020204030204" pitchFamily="49" charset="0"/>
              </a:rPr>
              <a:t>/</a:t>
            </a:r>
            <a:r>
              <a:rPr lang="nb-NO" sz="500" dirty="0" err="1">
                <a:latin typeface="Consolas" panose="020B0609020204030204" pitchFamily="49" charset="0"/>
              </a:rPr>
              <a:t>policy-tag-info;tag-info</a:t>
            </a:r>
            <a:r>
              <a:rPr lang="nb-NO" sz="500" dirty="0">
                <a:latin typeface="Consolas" panose="020B0609020204030204" pitchFamily="49" charset="0"/>
              </a:rPr>
              <a:t>/</a:t>
            </a:r>
            <a:r>
              <a:rPr lang="nb-NO" sz="500" dirty="0" err="1">
                <a:latin typeface="Consolas" panose="020B0609020204030204" pitchFamily="49" charset="0"/>
              </a:rPr>
              <a:t>site-tag;tag-info</a:t>
            </a:r>
            <a:r>
              <a:rPr lang="nb-NO" sz="500" dirty="0">
                <a:latin typeface="Consolas" panose="020B0609020204030204" pitchFamily="49" charset="0"/>
              </a:rPr>
              <a:t>/</a:t>
            </a:r>
            <a:r>
              <a:rPr lang="nb-NO" sz="500" dirty="0" err="1">
                <a:latin typeface="Consolas" panose="020B0609020204030204" pitchFamily="49" charset="0"/>
              </a:rPr>
              <a:t>rf-tag;tag-info</a:t>
            </a:r>
            <a:r>
              <a:rPr lang="nb-NO" sz="500" dirty="0">
                <a:latin typeface="Consolas" panose="020B0609020204030204" pitchFamily="49" charset="0"/>
              </a:rPr>
              <a:t>/filter-info/</a:t>
            </a:r>
            <a:r>
              <a:rPr lang="nb-NO" sz="500" dirty="0" err="1">
                <a:latin typeface="Consolas" panose="020B0609020204030204" pitchFamily="49" charset="0"/>
              </a:rPr>
              <a:t>filter-name;ap-time-info</a:t>
            </a:r>
            <a:r>
              <a:rPr lang="nb-NO" sz="500" dirty="0">
                <a:latin typeface="Consolas" panose="020B0609020204030204" pitchFamily="49" charset="0"/>
              </a:rPr>
              <a:t>/</a:t>
            </a:r>
            <a:r>
              <a:rPr lang="nb-NO" sz="500" dirty="0" err="1">
                <a:latin typeface="Consolas" panose="020B0609020204030204" pitchFamily="49" charset="0"/>
              </a:rPr>
              <a:t>boot-time;ap-time-info</a:t>
            </a:r>
            <a:r>
              <a:rPr lang="nb-NO" sz="500" dirty="0">
                <a:latin typeface="Consolas" panose="020B0609020204030204" pitchFamily="49" charset="0"/>
              </a:rPr>
              <a:t>/</a:t>
            </a:r>
            <a:r>
              <a:rPr lang="nb-NO" sz="500" dirty="0" err="1">
                <a:latin typeface="Consolas" panose="020B0609020204030204" pitchFamily="49" charset="0"/>
              </a:rPr>
              <a:t>join</a:t>
            </a:r>
            <a:r>
              <a:rPr lang="nb-NO" sz="500" dirty="0">
                <a:latin typeface="Consolas" panose="020B0609020204030204" pitchFamily="49" charset="0"/>
              </a:rPr>
              <a:t>-time"</a:t>
            </a:r>
          </a:p>
          <a:p>
            <a:endParaRPr lang="nb-NO" sz="500" dirty="0">
              <a:latin typeface="Consolas" panose="020B0609020204030204" pitchFamily="49" charset="0"/>
            </a:endParaRPr>
          </a:p>
          <a:p>
            <a:r>
              <a:rPr lang="nb-NO" sz="500" dirty="0" err="1">
                <a:latin typeface="Consolas" panose="020B0609020204030204" pitchFamily="49" charset="0"/>
              </a:rPr>
              <a:t>payload</a:t>
            </a:r>
            <a:r>
              <a:rPr lang="nb-NO" sz="500" dirty="0">
                <a:latin typeface="Consolas" panose="020B0609020204030204" pitchFamily="49" charset="0"/>
              </a:rPr>
              <a:t> = {}</a:t>
            </a:r>
          </a:p>
          <a:p>
            <a:r>
              <a:rPr lang="nb-NO" sz="500" dirty="0">
                <a:latin typeface="Consolas" panose="020B0609020204030204" pitchFamily="49" charset="0"/>
              </a:rPr>
              <a:t>headers = {</a:t>
            </a:r>
          </a:p>
          <a:p>
            <a:r>
              <a:rPr lang="nb-NO" sz="500" dirty="0">
                <a:latin typeface="Consolas" panose="020B0609020204030204" pitchFamily="49" charset="0"/>
              </a:rPr>
              <a:t>  'Accept': '</a:t>
            </a:r>
            <a:r>
              <a:rPr lang="nb-NO" sz="500" dirty="0" err="1">
                <a:latin typeface="Consolas" panose="020B0609020204030204" pitchFamily="49" charset="0"/>
              </a:rPr>
              <a:t>application</a:t>
            </a:r>
            <a:r>
              <a:rPr lang="nb-NO" sz="500" dirty="0">
                <a:latin typeface="Consolas" panose="020B0609020204030204" pitchFamily="49" charset="0"/>
              </a:rPr>
              <a:t>/</a:t>
            </a:r>
            <a:r>
              <a:rPr lang="nb-NO" sz="500" dirty="0" err="1">
                <a:latin typeface="Consolas" panose="020B0609020204030204" pitchFamily="49" charset="0"/>
              </a:rPr>
              <a:t>yang-data+json</a:t>
            </a:r>
            <a:r>
              <a:rPr lang="nb-NO" sz="500" dirty="0">
                <a:latin typeface="Consolas" panose="020B0609020204030204" pitchFamily="49" charset="0"/>
              </a:rPr>
              <a:t>',</a:t>
            </a:r>
          </a:p>
          <a:p>
            <a:r>
              <a:rPr lang="nb-NO" sz="500" dirty="0">
                <a:latin typeface="Consolas" panose="020B0609020204030204" pitchFamily="49" charset="0"/>
              </a:rPr>
              <a:t>  'Content-Type': '</a:t>
            </a:r>
            <a:r>
              <a:rPr lang="nb-NO" sz="500" dirty="0" err="1">
                <a:latin typeface="Consolas" panose="020B0609020204030204" pitchFamily="49" charset="0"/>
              </a:rPr>
              <a:t>application</a:t>
            </a:r>
            <a:r>
              <a:rPr lang="nb-NO" sz="500" dirty="0">
                <a:latin typeface="Consolas" panose="020B0609020204030204" pitchFamily="49" charset="0"/>
              </a:rPr>
              <a:t>/</a:t>
            </a:r>
            <a:r>
              <a:rPr lang="nb-NO" sz="500" dirty="0" err="1">
                <a:latin typeface="Consolas" panose="020B0609020204030204" pitchFamily="49" charset="0"/>
              </a:rPr>
              <a:t>yang-data+json</a:t>
            </a:r>
            <a:r>
              <a:rPr lang="nb-NO" sz="500" dirty="0">
                <a:latin typeface="Consolas" panose="020B0609020204030204" pitchFamily="49" charset="0"/>
              </a:rPr>
              <a:t>'</a:t>
            </a:r>
          </a:p>
          <a:p>
            <a:r>
              <a:rPr lang="nb-NO" sz="500" dirty="0">
                <a:latin typeface="Consolas" panose="020B0609020204030204" pitchFamily="49" charset="0"/>
              </a:rPr>
              <a:t>  }</a:t>
            </a:r>
          </a:p>
          <a:p>
            <a:endParaRPr lang="nb-NO" sz="500" dirty="0">
              <a:latin typeface="Consolas" panose="020B0609020204030204" pitchFamily="49" charset="0"/>
            </a:endParaRPr>
          </a:p>
          <a:p>
            <a:r>
              <a:rPr lang="nb-NO" sz="500" dirty="0" err="1">
                <a:latin typeface="Consolas" panose="020B0609020204030204" pitchFamily="49" charset="0"/>
              </a:rPr>
              <a:t>response</a:t>
            </a:r>
            <a:r>
              <a:rPr lang="nb-NO" sz="500" dirty="0">
                <a:latin typeface="Consolas" panose="020B0609020204030204" pitchFamily="49" charset="0"/>
              </a:rPr>
              <a:t> = </a:t>
            </a:r>
            <a:r>
              <a:rPr lang="nb-NO" sz="500" dirty="0" err="1">
                <a:latin typeface="Consolas" panose="020B0609020204030204" pitchFamily="49" charset="0"/>
              </a:rPr>
              <a:t>requests.get</a:t>
            </a:r>
            <a:r>
              <a:rPr lang="nb-NO" sz="500" dirty="0">
                <a:latin typeface="Consolas" panose="020B0609020204030204" pitchFamily="49" charset="0"/>
              </a:rPr>
              <a:t>(url, </a:t>
            </a:r>
            <a:r>
              <a:rPr lang="nb-NO" sz="500" dirty="0" err="1">
                <a:latin typeface="Consolas" panose="020B0609020204030204" pitchFamily="49" charset="0"/>
              </a:rPr>
              <a:t>auth</a:t>
            </a:r>
            <a:r>
              <a:rPr lang="nb-NO" sz="500" dirty="0">
                <a:latin typeface="Consolas" panose="020B0609020204030204" pitchFamily="49" charset="0"/>
              </a:rPr>
              <a:t>=(</a:t>
            </a:r>
            <a:r>
              <a:rPr lang="nb-NO" sz="500" dirty="0" err="1">
                <a:latin typeface="Consolas" panose="020B0609020204030204" pitchFamily="49" charset="0"/>
              </a:rPr>
              <a:t>user</a:t>
            </a:r>
            <a:r>
              <a:rPr lang="nb-NO" sz="500" dirty="0">
                <a:latin typeface="Consolas" panose="020B0609020204030204" pitchFamily="49" charset="0"/>
              </a:rPr>
              <a:t>, </a:t>
            </a:r>
            <a:r>
              <a:rPr lang="nb-NO" sz="500" dirty="0" err="1">
                <a:latin typeface="Consolas" panose="020B0609020204030204" pitchFamily="49" charset="0"/>
              </a:rPr>
              <a:t>password</a:t>
            </a:r>
            <a:r>
              <a:rPr lang="nb-NO" sz="500" dirty="0">
                <a:latin typeface="Consolas" panose="020B0609020204030204" pitchFamily="49" charset="0"/>
              </a:rPr>
              <a:t>), headers=headers, data=</a:t>
            </a:r>
            <a:r>
              <a:rPr lang="nb-NO" sz="500" dirty="0" err="1">
                <a:latin typeface="Consolas" panose="020B0609020204030204" pitchFamily="49" charset="0"/>
              </a:rPr>
              <a:t>payload</a:t>
            </a:r>
            <a:r>
              <a:rPr lang="nb-NO" sz="500" dirty="0">
                <a:latin typeface="Consolas" panose="020B0609020204030204" pitchFamily="49" charset="0"/>
              </a:rPr>
              <a:t>, </a:t>
            </a:r>
            <a:r>
              <a:rPr lang="nb-NO" sz="500" dirty="0" err="1">
                <a:latin typeface="Consolas" panose="020B0609020204030204" pitchFamily="49" charset="0"/>
              </a:rPr>
              <a:t>verify</a:t>
            </a:r>
            <a:r>
              <a:rPr lang="nb-NO" sz="500" dirty="0">
                <a:latin typeface="Consolas" panose="020B0609020204030204" pitchFamily="49" charset="0"/>
              </a:rPr>
              <a:t>=False)</a:t>
            </a:r>
          </a:p>
          <a:p>
            <a:endParaRPr lang="nb-NO" sz="500" dirty="0">
              <a:latin typeface="Consolas" panose="020B0609020204030204" pitchFamily="49" charset="0"/>
            </a:endParaRPr>
          </a:p>
          <a:p>
            <a:r>
              <a:rPr lang="nb-NO" sz="500" dirty="0" err="1">
                <a:latin typeface="Consolas" panose="020B0609020204030204" pitchFamily="49" charset="0"/>
              </a:rPr>
              <a:t>if</a:t>
            </a:r>
            <a:r>
              <a:rPr lang="nb-NO" sz="500" dirty="0">
                <a:latin typeface="Consolas" panose="020B0609020204030204" pitchFamily="49" charset="0"/>
              </a:rPr>
              <a:t> (</a:t>
            </a:r>
            <a:r>
              <a:rPr lang="nb-NO" sz="500" dirty="0" err="1">
                <a:latin typeface="Consolas" panose="020B0609020204030204" pitchFamily="49" charset="0"/>
              </a:rPr>
              <a:t>response.status_code</a:t>
            </a:r>
            <a:r>
              <a:rPr lang="nb-NO" sz="500" dirty="0">
                <a:latin typeface="Consolas" panose="020B0609020204030204" pitchFamily="49" charset="0"/>
              </a:rPr>
              <a:t>==200):</a:t>
            </a:r>
          </a:p>
          <a:p>
            <a:r>
              <a:rPr lang="nb-NO" sz="500" dirty="0">
                <a:latin typeface="Consolas" panose="020B0609020204030204" pitchFamily="49" charset="0"/>
              </a:rPr>
              <a:t>    </a:t>
            </a:r>
            <a:r>
              <a:rPr lang="nb-NO" sz="500" dirty="0" err="1">
                <a:latin typeface="Consolas" panose="020B0609020204030204" pitchFamily="49" charset="0"/>
              </a:rPr>
              <a:t>ap_table</a:t>
            </a:r>
            <a:r>
              <a:rPr lang="nb-NO" sz="500" dirty="0">
                <a:latin typeface="Consolas" panose="020B0609020204030204" pitchFamily="49" charset="0"/>
              </a:rPr>
              <a:t> = </a:t>
            </a:r>
            <a:r>
              <a:rPr lang="nb-NO" sz="500" dirty="0" err="1">
                <a:latin typeface="Consolas" panose="020B0609020204030204" pitchFamily="49" charset="0"/>
              </a:rPr>
              <a:t>pd.json_normalize</a:t>
            </a:r>
            <a:r>
              <a:rPr lang="nb-NO" sz="500" dirty="0">
                <a:latin typeface="Consolas" panose="020B0609020204030204" pitchFamily="49" charset="0"/>
              </a:rPr>
              <a:t>(</a:t>
            </a:r>
            <a:r>
              <a:rPr lang="nb-NO" sz="500" dirty="0" err="1">
                <a:latin typeface="Consolas" panose="020B0609020204030204" pitchFamily="49" charset="0"/>
              </a:rPr>
              <a:t>response.json</a:t>
            </a:r>
            <a:r>
              <a:rPr lang="nb-NO" sz="500" dirty="0">
                <a:latin typeface="Consolas" panose="020B0609020204030204" pitchFamily="49" charset="0"/>
              </a:rPr>
              <a:t>()['</a:t>
            </a:r>
            <a:r>
              <a:rPr lang="nb-NO" sz="500" dirty="0" err="1">
                <a:latin typeface="Consolas" panose="020B0609020204030204" pitchFamily="49" charset="0"/>
              </a:rPr>
              <a:t>Cisco-IOS-XE-wireless-access-point-oper:capwap-data</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print</a:t>
            </a:r>
            <a:r>
              <a:rPr lang="nb-NO" sz="500" dirty="0">
                <a:latin typeface="Consolas" panose="020B0609020204030204" pitchFamily="49" charset="0"/>
              </a:rPr>
              <a:t>(</a:t>
            </a:r>
            <a:r>
              <a:rPr lang="nb-NO" sz="500" dirty="0" err="1">
                <a:latin typeface="Consolas" panose="020B0609020204030204" pitchFamily="49" charset="0"/>
              </a:rPr>
              <a:t>ap_table</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ap_table.to_excel</a:t>
            </a:r>
            <a:r>
              <a:rPr lang="nb-NO" sz="500" dirty="0">
                <a:latin typeface="Consolas" panose="020B0609020204030204" pitchFamily="49" charset="0"/>
              </a:rPr>
              <a:t>('</a:t>
            </a:r>
            <a:r>
              <a:rPr lang="nb-NO" sz="500" dirty="0" err="1">
                <a:latin typeface="Consolas" panose="020B0609020204030204" pitchFamily="49" charset="0"/>
              </a:rPr>
              <a:t>ap_table.xlsx</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ap_table.to_csv</a:t>
            </a:r>
            <a:r>
              <a:rPr lang="nb-NO" sz="500" dirty="0">
                <a:latin typeface="Consolas" panose="020B0609020204030204" pitchFamily="49" charset="0"/>
              </a:rPr>
              <a:t>('</a:t>
            </a:r>
            <a:r>
              <a:rPr lang="nb-NO" sz="500" dirty="0" err="1">
                <a:latin typeface="Consolas" panose="020B0609020204030204" pitchFamily="49" charset="0"/>
              </a:rPr>
              <a:t>ap_table.csv</a:t>
            </a:r>
            <a:r>
              <a:rPr lang="nb-NO" sz="500" dirty="0">
                <a:latin typeface="Consolas" panose="020B0609020204030204" pitchFamily="49" charset="0"/>
              </a:rPr>
              <a:t>')</a:t>
            </a:r>
          </a:p>
          <a:p>
            <a:r>
              <a:rPr lang="nb-NO" sz="500" dirty="0" err="1">
                <a:latin typeface="Consolas" panose="020B0609020204030204" pitchFamily="49" charset="0"/>
              </a:rPr>
              <a:t>else</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print</a:t>
            </a:r>
            <a:r>
              <a:rPr lang="nb-NO" sz="500" dirty="0">
                <a:latin typeface="Consolas" panose="020B0609020204030204" pitchFamily="49" charset="0"/>
              </a:rPr>
              <a:t>(</a:t>
            </a:r>
            <a:r>
              <a:rPr lang="nb-NO" sz="500" dirty="0" err="1">
                <a:latin typeface="Consolas" panose="020B0609020204030204" pitchFamily="49" charset="0"/>
              </a:rPr>
              <a:t>f"Status</a:t>
            </a:r>
            <a:r>
              <a:rPr lang="nb-NO" sz="500" dirty="0">
                <a:latin typeface="Consolas" panose="020B0609020204030204" pitchFamily="49" charset="0"/>
              </a:rPr>
              <a:t> </a:t>
            </a:r>
            <a:r>
              <a:rPr lang="nb-NO" sz="500" dirty="0" err="1">
                <a:latin typeface="Consolas" panose="020B0609020204030204" pitchFamily="49" charset="0"/>
              </a:rPr>
              <a:t>code</a:t>
            </a:r>
            <a:r>
              <a:rPr lang="nb-NO" sz="500" dirty="0">
                <a:latin typeface="Consolas" panose="020B0609020204030204" pitchFamily="49" charset="0"/>
              </a:rPr>
              <a:t>: {</a:t>
            </a:r>
            <a:r>
              <a:rPr lang="nb-NO" sz="500" dirty="0" err="1">
                <a:latin typeface="Consolas" panose="020B0609020204030204" pitchFamily="49" charset="0"/>
              </a:rPr>
              <a:t>response.status_code</a:t>
            </a:r>
            <a:r>
              <a:rPr lang="nb-NO" sz="500" dirty="0">
                <a:latin typeface="Consolas" panose="020B0609020204030204" pitchFamily="49" charset="0"/>
              </a:rPr>
              <a:t>}: {</a:t>
            </a:r>
            <a:r>
              <a:rPr lang="nb-NO" sz="500" dirty="0" err="1">
                <a:latin typeface="Consolas" panose="020B0609020204030204" pitchFamily="49" charset="0"/>
              </a:rPr>
              <a:t>response.reason</a:t>
            </a:r>
            <a:r>
              <a:rPr lang="nb-NO" sz="500" dirty="0">
                <a:latin typeface="Consolas" panose="020B0609020204030204" pitchFamily="49" charset="0"/>
              </a:rPr>
              <a:t>}")</a:t>
            </a:r>
          </a:p>
        </p:txBody>
      </p:sp>
      <p:sp>
        <p:nvSpPr>
          <p:cNvPr id="7" name="TextBox 6">
            <a:extLst>
              <a:ext uri="{FF2B5EF4-FFF2-40B4-BE49-F238E27FC236}">
                <a16:creationId xmlns:a16="http://schemas.microsoft.com/office/drawing/2014/main" id="{B0F2563A-0C76-32AF-73C7-BD6C258EB81A}"/>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get-ap-</a:t>
            </a:r>
            <a:r>
              <a:rPr lang="en-GB" sz="1200" err="1">
                <a:latin typeface="Consolas" panose="020B0609020204030204" pitchFamily="49" charset="0"/>
              </a:rPr>
              <a:t>table.py</a:t>
            </a:r>
            <a:endParaRPr lang="nb-NO" sz="1200">
              <a:latin typeface="Consolas" panose="020B0609020204030204" pitchFamily="49" charset="0"/>
            </a:endParaRPr>
          </a:p>
        </p:txBody>
      </p:sp>
      <p:cxnSp>
        <p:nvCxnSpPr>
          <p:cNvPr id="10" name="Straight Arrow Connector 9">
            <a:extLst>
              <a:ext uri="{FF2B5EF4-FFF2-40B4-BE49-F238E27FC236}">
                <a16:creationId xmlns:a16="http://schemas.microsoft.com/office/drawing/2014/main" id="{FE0795CE-6154-9890-7708-33AA2A3C4C2D}"/>
              </a:ext>
            </a:extLst>
          </p:cNvPr>
          <p:cNvCxnSpPr>
            <a:cxnSpLocks/>
          </p:cNvCxnSpPr>
          <p:nvPr/>
        </p:nvCxnSpPr>
        <p:spPr>
          <a:xfrm flipV="1">
            <a:off x="2084832" y="850900"/>
            <a:ext cx="2893568" cy="318638"/>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534A1936-949B-108B-8E63-694AB9AE8DC4}"/>
              </a:ext>
            </a:extLst>
          </p:cNvPr>
          <p:cNvCxnSpPr>
            <a:cxnSpLocks/>
          </p:cNvCxnSpPr>
          <p:nvPr/>
        </p:nvCxnSpPr>
        <p:spPr>
          <a:xfrm>
            <a:off x="3236976" y="2057400"/>
            <a:ext cx="1728724" cy="29845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849A8458-B69F-EAF5-24B3-DFC98F22678F}"/>
              </a:ext>
            </a:extLst>
          </p:cNvPr>
          <p:cNvCxnSpPr>
            <a:cxnSpLocks/>
          </p:cNvCxnSpPr>
          <p:nvPr/>
        </p:nvCxnSpPr>
        <p:spPr>
          <a:xfrm flipV="1">
            <a:off x="2642301" y="1555750"/>
            <a:ext cx="2348799" cy="222600"/>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D7F95DB-5769-9C53-5FF0-5C8BB0929CFA}"/>
              </a:ext>
            </a:extLst>
          </p:cNvPr>
          <p:cNvCxnSpPr>
            <a:cxnSpLocks/>
          </p:cNvCxnSpPr>
          <p:nvPr/>
        </p:nvCxnSpPr>
        <p:spPr>
          <a:xfrm>
            <a:off x="4111110" y="3183528"/>
            <a:ext cx="867290" cy="31011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E41E959-724B-11B5-4A96-1DBC1110DF79}"/>
              </a:ext>
            </a:extLst>
          </p:cNvPr>
          <p:cNvCxnSpPr>
            <a:cxnSpLocks/>
          </p:cNvCxnSpPr>
          <p:nvPr/>
        </p:nvCxnSpPr>
        <p:spPr>
          <a:xfrm>
            <a:off x="3146797" y="3493639"/>
            <a:ext cx="1793503" cy="77356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D27E1FC6-C9AE-64C6-B9FD-88AC2B665422}"/>
              </a:ext>
            </a:extLst>
          </p:cNvPr>
          <p:cNvCxnSpPr>
            <a:cxnSpLocks/>
          </p:cNvCxnSpPr>
          <p:nvPr/>
        </p:nvCxnSpPr>
        <p:spPr>
          <a:xfrm>
            <a:off x="3146797" y="3818890"/>
            <a:ext cx="1806203" cy="1770521"/>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DB47818-955A-7048-6ACA-13CE4C543A63}"/>
              </a:ext>
            </a:extLst>
          </p:cNvPr>
          <p:cNvCxnSpPr>
            <a:cxnSpLocks/>
          </p:cNvCxnSpPr>
          <p:nvPr/>
        </p:nvCxnSpPr>
        <p:spPr>
          <a:xfrm>
            <a:off x="2642301" y="3310128"/>
            <a:ext cx="2295041" cy="527204"/>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665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406443" y="1009837"/>
            <a:ext cx="9242053" cy="1689220"/>
          </a:xfrm>
        </p:spPr>
        <p:txBody>
          <a:bodyPr>
            <a:normAutofit/>
          </a:bodyPr>
          <a:lstStyle/>
          <a:p>
            <a:pPr>
              <a:lnSpc>
                <a:spcPct val="110000"/>
              </a:lnSpc>
            </a:pPr>
            <a:r>
              <a:rPr lang="nb-NO" sz="1600"/>
              <a:t>One </a:t>
            </a:r>
            <a:r>
              <a:rPr lang="nb-NO" sz="1600" err="1"/>
              <a:t>way</a:t>
            </a:r>
            <a:r>
              <a:rPr lang="nb-NO" sz="1600"/>
              <a:t> to run a Python script, is by </a:t>
            </a:r>
            <a:r>
              <a:rPr lang="nb-NO" sz="1600" err="1"/>
              <a:t>using</a:t>
            </a:r>
            <a:r>
              <a:rPr lang="nb-NO" sz="1600"/>
              <a:t> </a:t>
            </a:r>
            <a:r>
              <a:rPr lang="nb-NO" sz="1600" err="1"/>
              <a:t>the</a:t>
            </a:r>
            <a:r>
              <a:rPr lang="nb-NO" sz="1600"/>
              <a:t> terminal. </a:t>
            </a:r>
            <a:r>
              <a:rPr lang="nb-NO" sz="1600" err="1"/>
              <a:t>When</a:t>
            </a:r>
            <a:r>
              <a:rPr lang="nb-NO" sz="1600"/>
              <a:t> in </a:t>
            </a:r>
            <a:r>
              <a:rPr lang="nb-NO" sz="1600" err="1"/>
              <a:t>the</a:t>
            </a:r>
            <a:r>
              <a:rPr lang="nb-NO" sz="1600"/>
              <a:t> folder </a:t>
            </a:r>
            <a:r>
              <a:rPr lang="nb-NO" sz="1600" err="1"/>
              <a:t>of</a:t>
            </a:r>
            <a:r>
              <a:rPr lang="nb-NO" sz="1600"/>
              <a:t> </a:t>
            </a:r>
            <a:r>
              <a:rPr lang="nb-NO" sz="1600" err="1"/>
              <a:t>the</a:t>
            </a:r>
            <a:r>
              <a:rPr lang="nb-NO" sz="1600"/>
              <a:t> script, run </a:t>
            </a:r>
            <a:r>
              <a:rPr lang="nb-NO" sz="1600" err="1"/>
              <a:t>using</a:t>
            </a:r>
            <a:r>
              <a:rPr lang="nb-NO" sz="1600"/>
              <a:t> "</a:t>
            </a:r>
            <a:r>
              <a:rPr lang="nb-NO" sz="1600" err="1"/>
              <a:t>python</a:t>
            </a:r>
            <a:r>
              <a:rPr lang="nb-NO" sz="1600"/>
              <a:t>" and </a:t>
            </a:r>
            <a:r>
              <a:rPr lang="nb-NO" sz="1600" err="1"/>
              <a:t>the</a:t>
            </a:r>
            <a:r>
              <a:rPr lang="nb-NO" sz="1600"/>
              <a:t> </a:t>
            </a:r>
            <a:r>
              <a:rPr lang="nb-NO" sz="1600" err="1"/>
              <a:t>filename</a:t>
            </a:r>
            <a:endParaRPr lang="nb-NO" sz="14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Running the Python script from terminal</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sp>
        <p:nvSpPr>
          <p:cNvPr id="2" name="TextBox 1">
            <a:extLst>
              <a:ext uri="{FF2B5EF4-FFF2-40B4-BE49-F238E27FC236}">
                <a16:creationId xmlns:a16="http://schemas.microsoft.com/office/drawing/2014/main" id="{A83FBEA2-5CFE-C286-AFB4-50F60E58E24E}"/>
              </a:ext>
            </a:extLst>
          </p:cNvPr>
          <p:cNvSpPr txBox="1"/>
          <p:nvPr/>
        </p:nvSpPr>
        <p:spPr>
          <a:xfrm>
            <a:off x="674369" y="1746808"/>
            <a:ext cx="11109600" cy="1504451"/>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a:t>
            </a:r>
            <a:r>
              <a:rPr lang="fr-FR" sz="1050">
                <a:solidFill>
                  <a:srgbClr val="EEE8D5"/>
                </a:solidFill>
                <a:latin typeface="Consolas" panose="020B0609020204030204" pitchFamily="49" charset="0"/>
              </a:rPr>
              <a:t>$ cd Lab9_</a:t>
            </a:r>
            <a:r>
              <a:rPr lang="fr-FR" sz="1050" err="1">
                <a:solidFill>
                  <a:srgbClr val="EEE8D5"/>
                </a:solidFill>
                <a:latin typeface="Consolas" panose="020B0609020204030204" pitchFamily="49" charset="0"/>
              </a:rPr>
              <a:t>Python</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get</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ap</a:t>
            </a:r>
            <a:r>
              <a:rPr lang="fr-FR" sz="1050">
                <a:solidFill>
                  <a:srgbClr val="EEE8D5"/>
                </a:solidFill>
                <a:latin typeface="Consolas" panose="020B0609020204030204" pitchFamily="49" charset="0"/>
              </a:rPr>
              <a:t>-table</a:t>
            </a: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ls -l</a:t>
            </a:r>
          </a:p>
          <a:p>
            <a:pPr lvl="1"/>
            <a:r>
              <a:rPr lang="fr-FR" sz="1050">
                <a:solidFill>
                  <a:srgbClr val="EEE8D5"/>
                </a:solidFill>
                <a:latin typeface="Consolas" panose="020B0609020204030204" pitchFamily="49" charset="0"/>
              </a:rPr>
              <a:t>total 4</a:t>
            </a:r>
          </a:p>
          <a:p>
            <a:pPr lvl="1"/>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w</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rw</a:t>
            </a:r>
            <a:r>
              <a:rPr lang="fr-FR" sz="1050">
                <a:solidFill>
                  <a:srgbClr val="EEE8D5"/>
                </a:solidFill>
                <a:latin typeface="Consolas" panose="020B0609020204030204" pitchFamily="49" charset="0"/>
              </a:rPr>
              <a:t>-r-- 1 </a:t>
            </a:r>
            <a:r>
              <a:rPr lang="fr-FR" sz="1050" err="1">
                <a:solidFill>
                  <a:srgbClr val="EEE8D5"/>
                </a:solidFill>
                <a:latin typeface="Consolas" panose="020B0609020204030204" pitchFamily="49" charset="0"/>
              </a:rPr>
              <a:t>devnet</a:t>
            </a:r>
            <a:r>
              <a:rPr lang="fr-FR" sz="1050">
                <a:solidFill>
                  <a:srgbClr val="EEE8D5"/>
                </a:solidFill>
                <a:latin typeface="Consolas" panose="020B0609020204030204" pitchFamily="49" charset="0"/>
              </a:rPr>
              <a:t>-adm </a:t>
            </a:r>
            <a:r>
              <a:rPr lang="fr-FR" sz="1050" err="1">
                <a:solidFill>
                  <a:srgbClr val="EEE8D5"/>
                </a:solidFill>
                <a:latin typeface="Consolas" panose="020B0609020204030204" pitchFamily="49" charset="0"/>
              </a:rPr>
              <a:t>devnet</a:t>
            </a:r>
            <a:r>
              <a:rPr lang="fr-FR" sz="1050">
                <a:solidFill>
                  <a:srgbClr val="EEE8D5"/>
                </a:solidFill>
                <a:latin typeface="Consolas" panose="020B0609020204030204" pitchFamily="49" charset="0"/>
              </a:rPr>
              <a:t>-adm 978 </a:t>
            </a:r>
            <a:r>
              <a:rPr lang="fr-FR" sz="1050" err="1">
                <a:solidFill>
                  <a:srgbClr val="EEE8D5"/>
                </a:solidFill>
                <a:latin typeface="Consolas" panose="020B0609020204030204" pitchFamily="49" charset="0"/>
              </a:rPr>
              <a:t>Aug</a:t>
            </a:r>
            <a:r>
              <a:rPr lang="fr-FR" sz="1050">
                <a:solidFill>
                  <a:srgbClr val="EEE8D5"/>
                </a:solidFill>
                <a:latin typeface="Consolas" panose="020B0609020204030204" pitchFamily="49" charset="0"/>
              </a:rPr>
              <a:t> 25 19:24 </a:t>
            </a:r>
            <a:r>
              <a:rPr lang="fr-FR" sz="1050" err="1">
                <a:solidFill>
                  <a:srgbClr val="EEE8D5"/>
                </a:solidFill>
                <a:latin typeface="Consolas" panose="020B0609020204030204" pitchFamily="49" charset="0"/>
              </a:rPr>
              <a:t>get-ap-table.py</a:t>
            </a:r>
            <a:endParaRPr lang="fr-FR" sz="1050">
              <a:solidFill>
                <a:srgbClr val="EEE8D5"/>
              </a:solidFill>
              <a:latin typeface="Consolas" panose="020B0609020204030204" pitchFamily="49" charset="0"/>
            </a:endParaRPr>
          </a:p>
          <a:p>
            <a:pPr lvl="1"/>
            <a:r>
              <a:rPr lang="fr-FR" sz="1050">
                <a:solidFill>
                  <a:srgbClr val="EEE8D5"/>
                </a:solidFill>
                <a:latin typeface="Consolas" panose="020B0609020204030204" pitchFamily="49" charset="0"/>
              </a:rPr>
              <a:t>(python-</a:t>
            </a:r>
            <a:r>
              <a:rPr lang="fr-FR" sz="1050" err="1">
                <a:solidFill>
                  <a:srgbClr val="EEE8D5"/>
                </a:solidFill>
                <a:latin typeface="Consolas" panose="020B0609020204030204" pitchFamily="49" charset="0"/>
              </a:rPr>
              <a:t>lab</a:t>
            </a:r>
            <a:r>
              <a:rPr lang="fr-FR" sz="1050">
                <a:solidFill>
                  <a:srgbClr val="EEE8D5"/>
                </a:solidFill>
                <a:latin typeface="Consolas" panose="020B0609020204030204" pitchFamily="49" charset="0"/>
              </a:rPr>
              <a:t>-</a:t>
            </a:r>
            <a:r>
              <a:rPr lang="fr-FR" sz="1050" err="1">
                <a:solidFill>
                  <a:srgbClr val="EEE8D5"/>
                </a:solidFill>
                <a:latin typeface="Consolas" panose="020B0609020204030204" pitchFamily="49" charset="0"/>
              </a:rPr>
              <a:t>venv</a:t>
            </a:r>
            <a:r>
              <a:rPr lang="fr-FR" sz="1050">
                <a:solidFill>
                  <a:srgbClr val="EEE8D5"/>
                </a:solidFill>
                <a:latin typeface="Consolas" panose="020B0609020204030204" pitchFamily="49" charset="0"/>
              </a:rPr>
              <a:t>) </a:t>
            </a:r>
            <a:r>
              <a:rPr lang="fr-FR" sz="1050" err="1">
                <a:solidFill>
                  <a:srgbClr val="6D6D6D"/>
                </a:solidFill>
              </a:rPr>
              <a:t>devnet-adm@ubuntu-devnet</a:t>
            </a:r>
            <a:r>
              <a:rPr lang="fr-FR" sz="1050">
                <a:solidFill>
                  <a:srgbClr val="6D6D6D"/>
                </a:solidFill>
              </a:rPr>
              <a:t>:</a:t>
            </a:r>
            <a:r>
              <a:rPr lang="fr-FR" sz="1050">
                <a:solidFill>
                  <a:srgbClr val="6D6D6D"/>
                </a:solidFill>
                <a:latin typeface="Consolas" panose="020B0609020204030204" pitchFamily="49" charset="0"/>
              </a:rPr>
              <a:t>~/wifi-automation/Lab9_</a:t>
            </a:r>
            <a:r>
              <a:rPr lang="fr-FR" sz="1050" err="1">
                <a:solidFill>
                  <a:srgbClr val="6D6D6D"/>
                </a:solidFill>
                <a:latin typeface="Consolas" panose="020B0609020204030204" pitchFamily="49" charset="0"/>
              </a:rPr>
              <a:t>Python</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get</a:t>
            </a:r>
            <a:r>
              <a:rPr lang="fr-FR" sz="1050">
                <a:solidFill>
                  <a:srgbClr val="6D6D6D"/>
                </a:solidFill>
                <a:latin typeface="Consolas" panose="020B0609020204030204" pitchFamily="49" charset="0"/>
              </a:rPr>
              <a:t>-</a:t>
            </a:r>
            <a:r>
              <a:rPr lang="fr-FR" sz="1050" err="1">
                <a:solidFill>
                  <a:srgbClr val="6D6D6D"/>
                </a:solidFill>
                <a:latin typeface="Consolas" panose="020B0609020204030204" pitchFamily="49" charset="0"/>
              </a:rPr>
              <a:t>ap</a:t>
            </a:r>
            <a:r>
              <a:rPr lang="fr-FR" sz="1050">
                <a:solidFill>
                  <a:srgbClr val="6D6D6D"/>
                </a:solidFill>
                <a:latin typeface="Consolas" panose="020B0609020204030204" pitchFamily="49" charset="0"/>
              </a:rPr>
              <a:t>-table</a:t>
            </a:r>
            <a:r>
              <a:rPr lang="fr-FR" sz="1050">
                <a:solidFill>
                  <a:srgbClr val="EEE8D5"/>
                </a:solidFill>
                <a:latin typeface="Consolas" panose="020B0609020204030204" pitchFamily="49" charset="0"/>
              </a:rPr>
              <a:t>$ python </a:t>
            </a:r>
            <a:r>
              <a:rPr lang="fr-FR" sz="1050" err="1">
                <a:solidFill>
                  <a:srgbClr val="EEE8D5"/>
                </a:solidFill>
                <a:latin typeface="Consolas" panose="020B0609020204030204" pitchFamily="49" charset="0"/>
              </a:rPr>
              <a:t>get-ap-table.py</a:t>
            </a:r>
            <a:endParaRPr lang="fr-FR"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WLC</a:t>
            </a:r>
            <a:r>
              <a:rPr lang="nb-NO" sz="1050">
                <a:solidFill>
                  <a:srgbClr val="EEE8D5"/>
                </a:solidFill>
                <a:latin typeface="Consolas" panose="020B0609020204030204" pitchFamily="49" charset="0"/>
              </a:rPr>
              <a:t> IP: 192.168.10.30</a:t>
            </a: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user</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devnet-adm</a:t>
            </a:r>
            <a:endParaRPr lang="nb-NO"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Enter </a:t>
            </a:r>
            <a:r>
              <a:rPr lang="nb-NO" sz="1050" err="1">
                <a:solidFill>
                  <a:srgbClr val="EEE8D5"/>
                </a:solidFill>
                <a:latin typeface="Consolas" panose="020B0609020204030204" pitchFamily="49" charset="0"/>
              </a:rPr>
              <a:t>password</a:t>
            </a:r>
            <a:r>
              <a:rPr lang="nb-NO" sz="1050">
                <a:solidFill>
                  <a:srgbClr val="EEE8D5"/>
                </a:solidFill>
                <a:latin typeface="Consolas" panose="020B0609020204030204" pitchFamily="49" charset="0"/>
              </a:rPr>
              <a:t>: </a:t>
            </a:r>
            <a:endParaRPr lang="fr-FR" sz="1050">
              <a:solidFill>
                <a:srgbClr val="EEE8D5"/>
              </a:solidFill>
              <a:latin typeface="Consolas" panose="020B0609020204030204" pitchFamily="49" charset="0"/>
            </a:endParaRPr>
          </a:p>
        </p:txBody>
      </p:sp>
      <p:sp>
        <p:nvSpPr>
          <p:cNvPr id="5" name="The distance between the headline and the start of the body copy is always constant.…">
            <a:extLst>
              <a:ext uri="{FF2B5EF4-FFF2-40B4-BE49-F238E27FC236}">
                <a16:creationId xmlns:a16="http://schemas.microsoft.com/office/drawing/2014/main" id="{0CC9931A-1529-BF05-C981-83B571EE03B8}"/>
              </a:ext>
            </a:extLst>
          </p:cNvPr>
          <p:cNvSpPr txBox="1">
            <a:spLocks/>
          </p:cNvSpPr>
          <p:nvPr/>
        </p:nvSpPr>
        <p:spPr bwMode="gray">
          <a:xfrm>
            <a:off x="406443" y="3212216"/>
            <a:ext cx="11329408" cy="111384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If </a:t>
            </a:r>
            <a:r>
              <a:rPr lang="nb-NO" sz="1600" dirty="0" err="1"/>
              <a:t>there</a:t>
            </a:r>
            <a:r>
              <a:rPr lang="nb-NO" sz="1600" dirty="0"/>
              <a:t> </a:t>
            </a:r>
            <a:r>
              <a:rPr lang="nb-NO" sz="1600" dirty="0" err="1"/>
              <a:t>are</a:t>
            </a:r>
            <a:r>
              <a:rPr lang="nb-NO" sz="1600" dirty="0"/>
              <a:t> </a:t>
            </a:r>
            <a:r>
              <a:rPr lang="nb-NO" sz="1600" dirty="0" err="1"/>
              <a:t>no</a:t>
            </a:r>
            <a:r>
              <a:rPr lang="nb-NO" sz="1600" dirty="0"/>
              <a:t> </a:t>
            </a:r>
            <a:r>
              <a:rPr lang="nb-NO" sz="1600" dirty="0" err="1"/>
              <a:t>APs</a:t>
            </a:r>
            <a:r>
              <a:rPr lang="nb-NO" sz="1600" dirty="0"/>
              <a:t> </a:t>
            </a:r>
            <a:r>
              <a:rPr lang="nb-NO" sz="1600" dirty="0" err="1"/>
              <a:t>on</a:t>
            </a:r>
            <a:r>
              <a:rPr lang="nb-NO" sz="1600" dirty="0"/>
              <a:t> </a:t>
            </a:r>
            <a:r>
              <a:rPr lang="nb-NO" sz="1600" dirty="0" err="1"/>
              <a:t>the</a:t>
            </a:r>
            <a:r>
              <a:rPr lang="nb-NO" sz="1600" dirty="0"/>
              <a:t> </a:t>
            </a:r>
            <a:r>
              <a:rPr lang="nb-NO" sz="1600" dirty="0" err="1"/>
              <a:t>WLC</a:t>
            </a:r>
            <a:r>
              <a:rPr lang="nb-NO" sz="1600" dirty="0"/>
              <a:t> it </a:t>
            </a:r>
            <a:r>
              <a:rPr lang="nb-NO" sz="1600" dirty="0" err="1"/>
              <a:t>will</a:t>
            </a:r>
            <a:r>
              <a:rPr lang="nb-NO" sz="1600" dirty="0"/>
              <a:t> have status </a:t>
            </a:r>
            <a:r>
              <a:rPr lang="nb-NO" sz="1600" dirty="0" err="1"/>
              <a:t>code</a:t>
            </a:r>
            <a:r>
              <a:rPr lang="nb-NO" sz="1600" dirty="0"/>
              <a:t> 204 (No Content). So it </a:t>
            </a:r>
            <a:r>
              <a:rPr lang="nb-NO" sz="1600" dirty="0" err="1"/>
              <a:t>will</a:t>
            </a:r>
            <a:r>
              <a:rPr lang="nb-NO" sz="1600" dirty="0"/>
              <a:t> not </a:t>
            </a:r>
            <a:r>
              <a:rPr lang="nb-NO" sz="1600" dirty="0" err="1"/>
              <a:t>print</a:t>
            </a:r>
            <a:r>
              <a:rPr lang="nb-NO" sz="1600" dirty="0"/>
              <a:t> </a:t>
            </a:r>
            <a:r>
              <a:rPr lang="nb-NO" sz="1600" dirty="0" err="1"/>
              <a:t>the</a:t>
            </a:r>
            <a:r>
              <a:rPr lang="nb-NO" sz="1600" dirty="0"/>
              <a:t> </a:t>
            </a:r>
            <a:r>
              <a:rPr lang="nb-NO" sz="1600" dirty="0" err="1"/>
              <a:t>table</a:t>
            </a:r>
            <a:r>
              <a:rPr lang="nb-NO" sz="1600" dirty="0"/>
              <a:t> </a:t>
            </a:r>
            <a:r>
              <a:rPr lang="nb-NO" sz="1600" dirty="0" err="1"/>
              <a:t>etc</a:t>
            </a:r>
            <a:r>
              <a:rPr lang="nb-NO" sz="1600" dirty="0"/>
              <a:t>, </a:t>
            </a:r>
            <a:r>
              <a:rPr lang="nb-NO" sz="1600" dirty="0" err="1"/>
              <a:t>if</a:t>
            </a:r>
            <a:r>
              <a:rPr lang="nb-NO" sz="1600" dirty="0"/>
              <a:t> it </a:t>
            </a:r>
            <a:r>
              <a:rPr lang="nb-NO" sz="1600" dirty="0" err="1"/>
              <a:t>tried</a:t>
            </a:r>
            <a:r>
              <a:rPr lang="nb-NO" sz="1600" dirty="0"/>
              <a:t> it </a:t>
            </a:r>
            <a:r>
              <a:rPr lang="nb-NO" sz="1600" dirty="0" err="1"/>
              <a:t>would</a:t>
            </a:r>
            <a:r>
              <a:rPr lang="nb-NO" sz="1600" dirty="0"/>
              <a:t> </a:t>
            </a:r>
            <a:r>
              <a:rPr lang="nb-NO" sz="1600" dirty="0" err="1"/>
              <a:t>produce</a:t>
            </a:r>
            <a:r>
              <a:rPr lang="nb-NO" sz="1600" dirty="0"/>
              <a:t> an </a:t>
            </a:r>
            <a:r>
              <a:rPr lang="nb-NO" sz="1600" dirty="0" err="1"/>
              <a:t>error</a:t>
            </a:r>
            <a:r>
              <a:rPr lang="nb-NO" sz="1600" dirty="0"/>
              <a:t> </a:t>
            </a:r>
            <a:r>
              <a:rPr lang="nb-NO" sz="1600" dirty="0" err="1"/>
              <a:t>on</a:t>
            </a:r>
            <a:r>
              <a:rPr lang="nb-NO" sz="1600" dirty="0"/>
              <a:t> </a:t>
            </a:r>
            <a:r>
              <a:rPr lang="nb-NO" sz="1600" dirty="0" err="1"/>
              <a:t>the</a:t>
            </a:r>
            <a:r>
              <a:rPr lang="nb-NO" sz="1600" dirty="0"/>
              <a:t> "</a:t>
            </a:r>
            <a:r>
              <a:rPr lang="nb-NO" sz="1600" dirty="0" err="1"/>
              <a:t>json</a:t>
            </a:r>
            <a:r>
              <a:rPr lang="nb-NO" sz="1600" dirty="0"/>
              <a:t>()[</a:t>
            </a:r>
            <a:r>
              <a:rPr lang="nb-NO" sz="1600" dirty="0" err="1"/>
              <a:t>blablabla</a:t>
            </a:r>
            <a:r>
              <a:rPr lang="nb-NO" sz="1600" dirty="0"/>
              <a:t>] part"</a:t>
            </a:r>
            <a:endParaRPr lang="nb-NO" sz="1400" dirty="0"/>
          </a:p>
        </p:txBody>
      </p:sp>
      <p:sp>
        <p:nvSpPr>
          <p:cNvPr id="6" name="TextBox 5">
            <a:extLst>
              <a:ext uri="{FF2B5EF4-FFF2-40B4-BE49-F238E27FC236}">
                <a16:creationId xmlns:a16="http://schemas.microsoft.com/office/drawing/2014/main" id="{3A788FFC-FE05-2555-C3C0-B9DD0BABC6C8}"/>
              </a:ext>
            </a:extLst>
          </p:cNvPr>
          <p:cNvSpPr txBox="1"/>
          <p:nvPr/>
        </p:nvSpPr>
        <p:spPr>
          <a:xfrm>
            <a:off x="674369" y="3949187"/>
            <a:ext cx="1110960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code: 204: No Content</a:t>
            </a:r>
          </a:p>
        </p:txBody>
      </p:sp>
      <p:sp>
        <p:nvSpPr>
          <p:cNvPr id="9" name="TextBox 8">
            <a:extLst>
              <a:ext uri="{FF2B5EF4-FFF2-40B4-BE49-F238E27FC236}">
                <a16:creationId xmlns:a16="http://schemas.microsoft.com/office/drawing/2014/main" id="{ABDF8505-172A-9F85-368C-1092A8216DE7}"/>
              </a:ext>
            </a:extLst>
          </p:cNvPr>
          <p:cNvSpPr txBox="1"/>
          <p:nvPr/>
        </p:nvSpPr>
        <p:spPr>
          <a:xfrm>
            <a:off x="674370" y="4684173"/>
            <a:ext cx="11109600" cy="615746"/>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wtp-mac</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name</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wtp-ip</a:t>
            </a:r>
            <a:r>
              <a:rPr lang="nb-NO" sz="1050">
                <a:solidFill>
                  <a:srgbClr val="EEE8D5"/>
                </a:solidFill>
                <a:latin typeface="Consolas" panose="020B0609020204030204" pitchFamily="49" charset="0"/>
              </a:rPr>
              <a:t>  ... ap-</a:t>
            </a:r>
            <a:r>
              <a:rPr lang="nb-NO" sz="1050" err="1">
                <a:solidFill>
                  <a:srgbClr val="EEE8D5"/>
                </a:solidFill>
                <a:latin typeface="Consolas" panose="020B0609020204030204" pitchFamily="49" charset="0"/>
              </a:rPr>
              <a:t>state.ap</a:t>
            </a:r>
            <a:r>
              <a:rPr lang="nb-NO" sz="1050">
                <a:solidFill>
                  <a:srgbClr val="EEE8D5"/>
                </a:solidFill>
                <a:latin typeface="Consolas" panose="020B0609020204030204" pitchFamily="49" charset="0"/>
              </a:rPr>
              <a:t>-</a:t>
            </a:r>
            <a:r>
              <a:rPr lang="nb-NO" sz="1050" err="1">
                <a:solidFill>
                  <a:srgbClr val="EEE8D5"/>
                </a:solidFill>
                <a:latin typeface="Consolas" panose="020B0609020204030204" pitchFamily="49" charset="0"/>
              </a:rPr>
              <a:t>operation-state</a:t>
            </a:r>
            <a:r>
              <a:rPr lang="nb-NO" sz="1050">
                <a:solidFill>
                  <a:srgbClr val="EEE8D5"/>
                </a:solidFill>
                <a:latin typeface="Consolas" panose="020B0609020204030204" pitchFamily="49" charset="0"/>
              </a:rPr>
              <a:t>     ap-time-</a:t>
            </a:r>
            <a:r>
              <a:rPr lang="nb-NO" sz="1050" err="1">
                <a:solidFill>
                  <a:srgbClr val="EEE8D5"/>
                </a:solidFill>
                <a:latin typeface="Consolas" panose="020B0609020204030204" pitchFamily="49" charset="0"/>
              </a:rPr>
              <a:t>info.boot</a:t>
            </a:r>
            <a:r>
              <a:rPr lang="nb-NO" sz="1050">
                <a:solidFill>
                  <a:srgbClr val="EEE8D5"/>
                </a:solidFill>
                <a:latin typeface="Consolas" panose="020B0609020204030204" pitchFamily="49" charset="0"/>
              </a:rPr>
              <a:t>-time            ap-time-</a:t>
            </a:r>
            <a:r>
              <a:rPr lang="nb-NO" sz="1050" err="1">
                <a:solidFill>
                  <a:srgbClr val="EEE8D5"/>
                </a:solidFill>
                <a:latin typeface="Consolas" panose="020B0609020204030204" pitchFamily="49" charset="0"/>
              </a:rPr>
              <a:t>info.join</a:t>
            </a:r>
            <a:r>
              <a:rPr lang="nb-NO" sz="1050">
                <a:solidFill>
                  <a:srgbClr val="EEE8D5"/>
                </a:solidFill>
                <a:latin typeface="Consolas" panose="020B0609020204030204" pitchFamily="49" charset="0"/>
              </a:rPr>
              <a:t>-time</a:t>
            </a:r>
          </a:p>
          <a:p>
            <a:pPr lvl="1"/>
            <a:r>
              <a:rPr lang="nb-NO" sz="1050">
                <a:solidFill>
                  <a:srgbClr val="EEE8D5"/>
                </a:solidFill>
                <a:latin typeface="Consolas" panose="020B0609020204030204" pitchFamily="49" charset="0"/>
              </a:rPr>
              <a:t>0  </a:t>
            </a:r>
            <a:r>
              <a:rPr lang="nb-NO" sz="1050" err="1">
                <a:solidFill>
                  <a:srgbClr val="EEE8D5"/>
                </a:solidFill>
                <a:latin typeface="Consolas" panose="020B0609020204030204" pitchFamily="49" charset="0"/>
              </a:rPr>
              <a:t>4c:a6:4d:65:f9:4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9120E-ekms</a:t>
            </a:r>
            <a:r>
              <a:rPr lang="nb-NO" sz="1050">
                <a:solidFill>
                  <a:srgbClr val="EEE8D5"/>
                </a:solidFill>
                <a:latin typeface="Consolas" panose="020B0609020204030204" pitchFamily="49" charset="0"/>
              </a:rPr>
              <a:t>  192.168.10.182  ...                  </a:t>
            </a:r>
            <a:r>
              <a:rPr lang="nb-NO" sz="1050" err="1">
                <a:solidFill>
                  <a:srgbClr val="EEE8D5"/>
                </a:solidFill>
                <a:latin typeface="Consolas" panose="020B0609020204030204" pitchFamily="49" charset="0"/>
              </a:rPr>
              <a:t>registered</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25T00:28:12+00:0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25T00:30:04.335182+00:00</a:t>
            </a:r>
            <a:endParaRPr lang="nb-NO" sz="1050">
              <a:solidFill>
                <a:srgbClr val="EEE8D5"/>
              </a:solidFill>
              <a:latin typeface="Consolas" panose="020B0609020204030204" pitchFamily="49" charset="0"/>
            </a:endParaRPr>
          </a:p>
          <a:p>
            <a:pPr lvl="1"/>
            <a:r>
              <a:rPr lang="nb-NO" sz="1050">
                <a:solidFill>
                  <a:srgbClr val="EEE8D5"/>
                </a:solidFill>
                <a:latin typeface="Consolas" panose="020B0609020204030204" pitchFamily="49" charset="0"/>
              </a:rPr>
              <a:t>1  </a:t>
            </a:r>
            <a:r>
              <a:rPr lang="nb-NO" sz="1050" err="1">
                <a:solidFill>
                  <a:srgbClr val="EEE8D5"/>
                </a:solidFill>
                <a:latin typeface="Consolas" panose="020B0609020204030204" pitchFamily="49" charset="0"/>
              </a:rPr>
              <a:t>d4:2c:44:d9:24:4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APD42C-44D8-2F38</a:t>
            </a:r>
            <a:r>
              <a:rPr lang="nb-NO" sz="1050">
                <a:solidFill>
                  <a:srgbClr val="EEE8D5"/>
                </a:solidFill>
                <a:latin typeface="Consolas" panose="020B0609020204030204" pitchFamily="49" charset="0"/>
              </a:rPr>
              <a:t>  192.168.10.177  ...                  </a:t>
            </a:r>
            <a:r>
              <a:rPr lang="nb-NO" sz="1050" err="1">
                <a:solidFill>
                  <a:srgbClr val="EEE8D5"/>
                </a:solidFill>
                <a:latin typeface="Consolas" panose="020B0609020204030204" pitchFamily="49" charset="0"/>
              </a:rPr>
              <a:t>registered</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31T19:22:07+00:00</a:t>
            </a:r>
            <a:r>
              <a:rPr lang="nb-NO" sz="1050">
                <a:solidFill>
                  <a:srgbClr val="EEE8D5"/>
                </a:solidFill>
                <a:latin typeface="Consolas" panose="020B0609020204030204" pitchFamily="49" charset="0"/>
              </a:rPr>
              <a:t>  </a:t>
            </a:r>
            <a:r>
              <a:rPr lang="nb-NO" sz="1050" err="1">
                <a:solidFill>
                  <a:srgbClr val="EEE8D5"/>
                </a:solidFill>
                <a:latin typeface="Consolas" panose="020B0609020204030204" pitchFamily="49" charset="0"/>
              </a:rPr>
              <a:t>2024-07-31T19:23:42.643078+00:00</a:t>
            </a:r>
            <a:endParaRPr lang="fr-FR" sz="1050">
              <a:solidFill>
                <a:srgbClr val="EEE8D5"/>
              </a:solidFill>
              <a:latin typeface="Consolas" panose="020B0609020204030204" pitchFamily="49" charset="0"/>
            </a:endParaRPr>
          </a:p>
        </p:txBody>
      </p:sp>
      <p:sp>
        <p:nvSpPr>
          <p:cNvPr id="11" name="The distance between the headline and the start of the body copy is always constant.…">
            <a:extLst>
              <a:ext uri="{FF2B5EF4-FFF2-40B4-BE49-F238E27FC236}">
                <a16:creationId xmlns:a16="http://schemas.microsoft.com/office/drawing/2014/main" id="{09C476B3-6297-C4B7-4E56-CAAE4C864CDB}"/>
              </a:ext>
            </a:extLst>
          </p:cNvPr>
          <p:cNvSpPr txBox="1">
            <a:spLocks/>
          </p:cNvSpPr>
          <p:nvPr/>
        </p:nvSpPr>
        <p:spPr bwMode="gray">
          <a:xfrm>
            <a:off x="454562" y="4252271"/>
            <a:ext cx="11329408" cy="71817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Successful</a:t>
            </a:r>
            <a:r>
              <a:rPr lang="nb-NO" sz="1600"/>
              <a:t> run </a:t>
            </a:r>
            <a:r>
              <a:rPr lang="nb-NO" sz="1600" err="1"/>
              <a:t>will</a:t>
            </a:r>
            <a:r>
              <a:rPr lang="nb-NO" sz="1600"/>
              <a:t> </a:t>
            </a:r>
            <a:r>
              <a:rPr lang="nb-NO" sz="1600" err="1"/>
              <a:t>look</a:t>
            </a:r>
            <a:r>
              <a:rPr lang="nb-NO" sz="1600"/>
              <a:t> </a:t>
            </a:r>
            <a:r>
              <a:rPr lang="nb-NO" sz="1600" err="1"/>
              <a:t>something</a:t>
            </a:r>
            <a:r>
              <a:rPr lang="nb-NO" sz="1600"/>
              <a:t> like </a:t>
            </a:r>
            <a:r>
              <a:rPr lang="nb-NO" sz="1600" err="1"/>
              <a:t>this</a:t>
            </a:r>
            <a:r>
              <a:rPr lang="nb-NO" sz="1600"/>
              <a:t>:</a:t>
            </a:r>
            <a:endParaRPr lang="nb-NO" sz="1400"/>
          </a:p>
        </p:txBody>
      </p:sp>
      <p:sp>
        <p:nvSpPr>
          <p:cNvPr id="12" name="The distance between the headline and the start of the body copy is always constant.…">
            <a:extLst>
              <a:ext uri="{FF2B5EF4-FFF2-40B4-BE49-F238E27FC236}">
                <a16:creationId xmlns:a16="http://schemas.microsoft.com/office/drawing/2014/main" id="{D3D1F0DD-A4A6-2665-F113-B87D34E44079}"/>
              </a:ext>
            </a:extLst>
          </p:cNvPr>
          <p:cNvSpPr txBox="1">
            <a:spLocks/>
          </p:cNvSpPr>
          <p:nvPr/>
        </p:nvSpPr>
        <p:spPr bwMode="gray">
          <a:xfrm>
            <a:off x="454562" y="5317513"/>
            <a:ext cx="11329408" cy="71817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err="1"/>
              <a:t>Wrong</a:t>
            </a:r>
            <a:r>
              <a:rPr lang="nb-NO" sz="1600"/>
              <a:t> </a:t>
            </a:r>
            <a:r>
              <a:rPr lang="nb-NO" sz="1600" err="1"/>
              <a:t>username</a:t>
            </a:r>
            <a:r>
              <a:rPr lang="nb-NO" sz="1600"/>
              <a:t>/</a:t>
            </a:r>
            <a:r>
              <a:rPr lang="nb-NO" sz="1600" err="1"/>
              <a:t>password</a:t>
            </a:r>
            <a:r>
              <a:rPr lang="nb-NO" sz="1600"/>
              <a:t> </a:t>
            </a:r>
            <a:r>
              <a:rPr lang="nb-NO" sz="1600" err="1"/>
              <a:t>will</a:t>
            </a:r>
            <a:r>
              <a:rPr lang="nb-NO" sz="1600"/>
              <a:t> </a:t>
            </a:r>
            <a:r>
              <a:rPr lang="nb-NO" sz="1600" err="1"/>
              <a:t>look</a:t>
            </a:r>
            <a:r>
              <a:rPr lang="nb-NO" sz="1600"/>
              <a:t> </a:t>
            </a:r>
            <a:r>
              <a:rPr lang="nb-NO" sz="1600" err="1"/>
              <a:t>something</a:t>
            </a:r>
            <a:r>
              <a:rPr lang="nb-NO" sz="1600"/>
              <a:t> like </a:t>
            </a:r>
            <a:r>
              <a:rPr lang="nb-NO" sz="1600" err="1"/>
              <a:t>this</a:t>
            </a:r>
            <a:r>
              <a:rPr lang="nb-NO" sz="1600"/>
              <a:t>:</a:t>
            </a:r>
            <a:endParaRPr lang="nb-NO" sz="1400"/>
          </a:p>
        </p:txBody>
      </p:sp>
      <p:sp>
        <p:nvSpPr>
          <p:cNvPr id="13" name="TextBox 12">
            <a:extLst>
              <a:ext uri="{FF2B5EF4-FFF2-40B4-BE49-F238E27FC236}">
                <a16:creationId xmlns:a16="http://schemas.microsoft.com/office/drawing/2014/main" id="{4AC70EBF-331E-FBFE-894A-3E1D9A28E971}"/>
              </a:ext>
            </a:extLst>
          </p:cNvPr>
          <p:cNvSpPr txBox="1"/>
          <p:nvPr/>
        </p:nvSpPr>
        <p:spPr>
          <a:xfrm>
            <a:off x="674370" y="5749415"/>
            <a:ext cx="1110960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EEE8D5"/>
                </a:solidFill>
                <a:latin typeface="Consolas" panose="020B0609020204030204" pitchFamily="49" charset="0"/>
              </a:rPr>
              <a:t>Status</a:t>
            </a:r>
            <a:r>
              <a:rPr lang="fr-FR" sz="1050">
                <a:solidFill>
                  <a:srgbClr val="EEE8D5"/>
                </a:solidFill>
                <a:latin typeface="Consolas" panose="020B0609020204030204" pitchFamily="49" charset="0"/>
              </a:rPr>
              <a:t> code: 401: </a:t>
            </a:r>
            <a:r>
              <a:rPr lang="fr-FR" sz="1050" err="1">
                <a:solidFill>
                  <a:srgbClr val="EEE8D5"/>
                </a:solidFill>
                <a:latin typeface="Consolas" panose="020B0609020204030204" pitchFamily="49" charset="0"/>
              </a:rPr>
              <a:t>Unauthorized</a:t>
            </a:r>
            <a:endParaRPr lang="fr-FR" sz="1050">
              <a:solidFill>
                <a:srgbClr val="EEE8D5"/>
              </a:solidFill>
              <a:latin typeface="Consolas" panose="020B0609020204030204" pitchFamily="49" charset="0"/>
            </a:endParaRPr>
          </a:p>
        </p:txBody>
      </p:sp>
      <p:sp>
        <p:nvSpPr>
          <p:cNvPr id="8" name="TextBox 7">
            <a:extLst>
              <a:ext uri="{FF2B5EF4-FFF2-40B4-BE49-F238E27FC236}">
                <a16:creationId xmlns:a16="http://schemas.microsoft.com/office/drawing/2014/main" id="{E9582794-66E4-A7BC-7BCD-50662E83E4AA}"/>
              </a:ext>
            </a:extLst>
          </p:cNvPr>
          <p:cNvSpPr txBox="1"/>
          <p:nvPr/>
        </p:nvSpPr>
        <p:spPr>
          <a:xfrm>
            <a:off x="4191888" y="2843401"/>
            <a:ext cx="1671162" cy="276999"/>
          </a:xfrm>
          <a:prstGeom prst="rect">
            <a:avLst/>
          </a:prstGeom>
          <a:noFill/>
        </p:spPr>
        <p:txBody>
          <a:bodyPr wrap="square">
            <a:spAutoFit/>
          </a:bodyPr>
          <a:lstStyle/>
          <a:p>
            <a:r>
              <a:rPr lang="nb-NO" sz="1200" dirty="0" err="1">
                <a:solidFill>
                  <a:schemeClr val="tx1">
                    <a:lumMod val="25000"/>
                    <a:lumOff val="75000"/>
                  </a:schemeClr>
                </a:solidFill>
              </a:rPr>
              <a:t>Use</a:t>
            </a:r>
            <a:r>
              <a:rPr lang="nb-NO" sz="1200" dirty="0">
                <a:solidFill>
                  <a:schemeClr val="tx1">
                    <a:lumMod val="25000"/>
                    <a:lumOff val="75000"/>
                  </a:schemeClr>
                </a:solidFill>
              </a:rPr>
              <a:t> YOUR </a:t>
            </a:r>
            <a:r>
              <a:rPr lang="nb-NO" sz="1200" dirty="0" err="1">
                <a:solidFill>
                  <a:schemeClr val="tx1">
                    <a:lumMod val="25000"/>
                    <a:lumOff val="75000"/>
                  </a:schemeClr>
                </a:solidFill>
              </a:rPr>
              <a:t>WLC</a:t>
            </a:r>
            <a:r>
              <a:rPr lang="nb-NO" sz="1200" dirty="0">
                <a:solidFill>
                  <a:schemeClr val="tx1">
                    <a:lumMod val="25000"/>
                    <a:lumOff val="75000"/>
                  </a:schemeClr>
                </a:solidFill>
              </a:rPr>
              <a:t> IP</a:t>
            </a:r>
          </a:p>
        </p:txBody>
      </p:sp>
      <p:cxnSp>
        <p:nvCxnSpPr>
          <p:cNvPr id="10" name="Straight Arrow Connector 9">
            <a:extLst>
              <a:ext uri="{FF2B5EF4-FFF2-40B4-BE49-F238E27FC236}">
                <a16:creationId xmlns:a16="http://schemas.microsoft.com/office/drawing/2014/main" id="{2AFF8477-4E83-37D2-6503-F1C04F9808F9}"/>
              </a:ext>
            </a:extLst>
          </p:cNvPr>
          <p:cNvCxnSpPr>
            <a:cxnSpLocks/>
          </p:cNvCxnSpPr>
          <p:nvPr/>
        </p:nvCxnSpPr>
        <p:spPr>
          <a:xfrm flipH="1" flipV="1">
            <a:off x="2771480" y="2755030"/>
            <a:ext cx="1420408" cy="18677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087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406443" y="1009837"/>
            <a:ext cx="9242053" cy="1273010"/>
          </a:xfrm>
        </p:spPr>
        <p:txBody>
          <a:bodyPr>
            <a:normAutofit/>
          </a:bodyPr>
          <a:lstStyle/>
          <a:p>
            <a:pPr>
              <a:lnSpc>
                <a:spcPct val="110000"/>
              </a:lnSpc>
            </a:pPr>
            <a:r>
              <a:rPr lang="nb-NO" sz="1600"/>
              <a:t>Press </a:t>
            </a:r>
            <a:r>
              <a:rPr lang="nb-NO" sz="1600" err="1"/>
              <a:t>Ctrl+F5</a:t>
            </a:r>
            <a:r>
              <a:rPr lang="nb-NO" sz="1600"/>
              <a:t> to run </a:t>
            </a:r>
            <a:r>
              <a:rPr lang="nb-NO" sz="1600" err="1"/>
              <a:t>the</a:t>
            </a:r>
            <a:r>
              <a:rPr lang="nb-NO" sz="1600"/>
              <a:t> script in </a:t>
            </a:r>
            <a:r>
              <a:rPr lang="nb-NO" sz="1600" err="1"/>
              <a:t>VS</a:t>
            </a:r>
            <a:r>
              <a:rPr lang="nb-NO" sz="1600"/>
              <a:t> Code</a:t>
            </a:r>
          </a:p>
          <a:p>
            <a:pPr lvl="1">
              <a:lnSpc>
                <a:spcPct val="110000"/>
              </a:lnSpc>
            </a:pPr>
            <a:r>
              <a:rPr lang="nb-NO" sz="1200"/>
              <a:t>Select "Python Debugger" </a:t>
            </a:r>
            <a:r>
              <a:rPr lang="nb-NO" sz="1200" err="1"/>
              <a:t>if</a:t>
            </a:r>
            <a:r>
              <a:rPr lang="nb-NO" sz="1200"/>
              <a:t> </a:t>
            </a:r>
            <a:r>
              <a:rPr lang="nb-NO" sz="1200" err="1"/>
              <a:t>asked</a:t>
            </a:r>
            <a:endParaRPr lang="nb-NO" sz="12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Running the Python script from VS Code</a:t>
            </a:r>
          </a:p>
        </p:txBody>
      </p:sp>
      <p:sp>
        <p:nvSpPr>
          <p:cNvPr id="3" name="Footer Placeholder 6">
            <a:extLst>
              <a:ext uri="{FF2B5EF4-FFF2-40B4-BE49-F238E27FC236}">
                <a16:creationId xmlns:a16="http://schemas.microsoft.com/office/drawing/2014/main" id="{79050CB9-26BE-C05E-9743-93569823733D}"/>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BDF04420-95D5-A2F1-5C85-4410F0AD48E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t>
            </a:r>
            <a:r>
              <a:rPr lang="fr-FR" sz="1100" dirty="0" err="1"/>
              <a:t>Lab</a:t>
            </a:r>
            <a:r>
              <a:rPr lang="fr-FR" sz="1100" dirty="0"/>
              <a:t> </a:t>
            </a:r>
            <a:r>
              <a:rPr lang="fr-FR" sz="1100" dirty="0" err="1"/>
              <a:t>exercise</a:t>
            </a:r>
            <a:r>
              <a:rPr lang="fr-FR" sz="1100" dirty="0"/>
              <a:t> #9: Explore Python automation</a:t>
            </a:r>
            <a:endParaRPr lang="en-US" sz="1100" dirty="0"/>
          </a:p>
        </p:txBody>
      </p:sp>
      <p:pic>
        <p:nvPicPr>
          <p:cNvPr id="8" name="Picture 7">
            <a:extLst>
              <a:ext uri="{FF2B5EF4-FFF2-40B4-BE49-F238E27FC236}">
                <a16:creationId xmlns:a16="http://schemas.microsoft.com/office/drawing/2014/main" id="{A060B767-6031-4954-722B-36B62801E432}"/>
              </a:ext>
            </a:extLst>
          </p:cNvPr>
          <p:cNvPicPr>
            <a:picLocks noChangeAspect="1"/>
          </p:cNvPicPr>
          <p:nvPr/>
        </p:nvPicPr>
        <p:blipFill rotWithShape="1">
          <a:blip r:embed="rId3"/>
          <a:srcRect t="22882"/>
          <a:stretch/>
        </p:blipFill>
        <p:spPr>
          <a:xfrm>
            <a:off x="477546" y="1854447"/>
            <a:ext cx="10954396" cy="2315125"/>
          </a:xfrm>
          <a:prstGeom prst="rect">
            <a:avLst/>
          </a:prstGeom>
        </p:spPr>
      </p:pic>
      <p:pic>
        <p:nvPicPr>
          <p:cNvPr id="14" name="Picture 13">
            <a:extLst>
              <a:ext uri="{FF2B5EF4-FFF2-40B4-BE49-F238E27FC236}">
                <a16:creationId xmlns:a16="http://schemas.microsoft.com/office/drawing/2014/main" id="{EBA70FCD-EABD-C5ED-9ECC-D88EA5FA9056}"/>
              </a:ext>
            </a:extLst>
          </p:cNvPr>
          <p:cNvPicPr>
            <a:picLocks noChangeAspect="1"/>
          </p:cNvPicPr>
          <p:nvPr/>
        </p:nvPicPr>
        <p:blipFill>
          <a:blip r:embed="rId4"/>
          <a:stretch>
            <a:fillRect/>
          </a:stretch>
        </p:blipFill>
        <p:spPr>
          <a:xfrm>
            <a:off x="406443" y="4854608"/>
            <a:ext cx="11025499" cy="828455"/>
          </a:xfrm>
          <a:prstGeom prst="rect">
            <a:avLst/>
          </a:prstGeom>
        </p:spPr>
      </p:pic>
      <p:sp>
        <p:nvSpPr>
          <p:cNvPr id="15" name="The distance between the headline and the start of the body copy is always constant.…">
            <a:extLst>
              <a:ext uri="{FF2B5EF4-FFF2-40B4-BE49-F238E27FC236}">
                <a16:creationId xmlns:a16="http://schemas.microsoft.com/office/drawing/2014/main" id="{0AF21659-292B-D677-0005-89D78E171F43}"/>
              </a:ext>
            </a:extLst>
          </p:cNvPr>
          <p:cNvSpPr txBox="1">
            <a:spLocks/>
          </p:cNvSpPr>
          <p:nvPr/>
        </p:nvSpPr>
        <p:spPr bwMode="gray">
          <a:xfrm>
            <a:off x="406443" y="4176722"/>
            <a:ext cx="11025499" cy="2071078"/>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600" dirty="0"/>
              <a:t>The Excel file </a:t>
            </a:r>
            <a:r>
              <a:rPr lang="nb-NO" sz="1600" dirty="0" err="1"/>
              <a:t>will</a:t>
            </a:r>
            <a:r>
              <a:rPr lang="nb-NO" sz="1600" dirty="0"/>
              <a:t> </a:t>
            </a:r>
            <a:r>
              <a:rPr lang="nb-NO" sz="1600" dirty="0" err="1"/>
              <a:t>contain</a:t>
            </a:r>
            <a:r>
              <a:rPr lang="nb-NO" sz="1600" dirty="0"/>
              <a:t> </a:t>
            </a:r>
            <a:r>
              <a:rPr lang="nb-NO" sz="1600" dirty="0" err="1"/>
              <a:t>the</a:t>
            </a:r>
            <a:r>
              <a:rPr lang="nb-NO" sz="1600" dirty="0"/>
              <a:t> info, </a:t>
            </a:r>
            <a:r>
              <a:rPr lang="nb-NO" sz="1600" dirty="0" err="1"/>
              <a:t>but</a:t>
            </a:r>
            <a:r>
              <a:rPr lang="nb-NO" sz="1600" dirty="0"/>
              <a:t> </a:t>
            </a:r>
            <a:r>
              <a:rPr lang="nb-NO" sz="1600" dirty="0" err="1"/>
              <a:t>will</a:t>
            </a:r>
            <a:r>
              <a:rPr lang="nb-NO" sz="1600" dirty="0"/>
              <a:t> be </a:t>
            </a:r>
            <a:r>
              <a:rPr lang="nb-NO" sz="1600" dirty="0" err="1"/>
              <a:t>otherwise</a:t>
            </a:r>
            <a:r>
              <a:rPr lang="nb-NO" sz="1600" dirty="0"/>
              <a:t> </a:t>
            </a:r>
            <a:r>
              <a:rPr lang="nb-NO" sz="1600" dirty="0" err="1"/>
              <a:t>unformatted</a:t>
            </a:r>
            <a:r>
              <a:rPr lang="nb-NO" sz="1600" dirty="0"/>
              <a:t> (</a:t>
            </a:r>
            <a:r>
              <a:rPr lang="nb-NO" sz="1600" dirty="0" err="1"/>
              <a:t>downloading</a:t>
            </a:r>
            <a:r>
              <a:rPr lang="nb-NO" sz="1600" dirty="0"/>
              <a:t> </a:t>
            </a:r>
            <a:r>
              <a:rPr lang="nb-NO" sz="1600" dirty="0" err="1"/>
              <a:t>the</a:t>
            </a:r>
            <a:r>
              <a:rPr lang="nb-NO" sz="1600" dirty="0"/>
              <a:t> </a:t>
            </a:r>
            <a:r>
              <a:rPr lang="nb-NO" sz="1600" dirty="0" err="1"/>
              <a:t>XLSX</a:t>
            </a:r>
            <a:r>
              <a:rPr lang="nb-NO" sz="1600" dirty="0"/>
              <a:t> is not </a:t>
            </a:r>
            <a:r>
              <a:rPr lang="nb-NO" sz="1600" dirty="0" err="1"/>
              <a:t>covered</a:t>
            </a:r>
            <a:r>
              <a:rPr lang="nb-NO" sz="1600" dirty="0"/>
              <a:t> in </a:t>
            </a:r>
            <a:r>
              <a:rPr lang="nb-NO" sz="1600" dirty="0" err="1"/>
              <a:t>this</a:t>
            </a:r>
            <a:r>
              <a:rPr lang="nb-NO" sz="1600" dirty="0"/>
              <a:t> lab</a:t>
            </a:r>
          </a:p>
          <a:p>
            <a:pPr>
              <a:lnSpc>
                <a:spcPct val="110000"/>
              </a:lnSpc>
            </a:pPr>
            <a:endParaRPr lang="nb-NO" sz="1600" dirty="0"/>
          </a:p>
          <a:p>
            <a:pPr>
              <a:lnSpc>
                <a:spcPct val="110000"/>
              </a:lnSpc>
            </a:pPr>
            <a:endParaRPr lang="nb-NO" sz="1600" dirty="0"/>
          </a:p>
          <a:p>
            <a:pPr>
              <a:lnSpc>
                <a:spcPct val="110000"/>
              </a:lnSpc>
            </a:pPr>
            <a:r>
              <a:rPr lang="nb-NO" sz="1600" dirty="0" err="1"/>
              <a:t>You</a:t>
            </a:r>
            <a:r>
              <a:rPr lang="nb-NO" sz="1600" dirty="0"/>
              <a:t> </a:t>
            </a:r>
            <a:r>
              <a:rPr lang="nb-NO" sz="1600" dirty="0" err="1"/>
              <a:t>can</a:t>
            </a:r>
            <a:r>
              <a:rPr lang="nb-NO" sz="1600" dirty="0"/>
              <a:t> </a:t>
            </a:r>
            <a:r>
              <a:rPr lang="nb-NO" sz="1600" dirty="0" err="1"/>
              <a:t>open</a:t>
            </a:r>
            <a:r>
              <a:rPr lang="nb-NO" sz="1600" dirty="0"/>
              <a:t> </a:t>
            </a:r>
            <a:r>
              <a:rPr lang="nb-NO" sz="1600" dirty="0" err="1"/>
              <a:t>the</a:t>
            </a:r>
            <a:r>
              <a:rPr lang="nb-NO" sz="1600" dirty="0"/>
              <a:t> </a:t>
            </a:r>
            <a:r>
              <a:rPr lang="nb-NO" sz="1600" dirty="0" err="1"/>
              <a:t>CSV</a:t>
            </a:r>
            <a:r>
              <a:rPr lang="nb-NO" sz="1600" dirty="0"/>
              <a:t> file in </a:t>
            </a:r>
            <a:r>
              <a:rPr lang="nb-NO" sz="1600" dirty="0" err="1"/>
              <a:t>VS</a:t>
            </a:r>
            <a:r>
              <a:rPr lang="nb-NO" sz="1600" dirty="0"/>
              <a:t> Code, or in </a:t>
            </a:r>
            <a:r>
              <a:rPr lang="nb-NO" sz="1600" dirty="0" err="1"/>
              <a:t>the</a:t>
            </a:r>
            <a:r>
              <a:rPr lang="nb-NO" sz="1600" dirty="0"/>
              <a:t> terminal </a:t>
            </a:r>
            <a:r>
              <a:rPr lang="nb-NO" sz="1600" dirty="0" err="1"/>
              <a:t>using</a:t>
            </a:r>
            <a:r>
              <a:rPr lang="nb-NO" sz="1600" dirty="0"/>
              <a:t> "</a:t>
            </a:r>
            <a:r>
              <a:rPr lang="nb-NO" sz="1600" dirty="0" err="1"/>
              <a:t>cat</a:t>
            </a:r>
            <a:r>
              <a:rPr lang="nb-NO" sz="1600" dirty="0"/>
              <a:t> </a:t>
            </a:r>
            <a:r>
              <a:rPr lang="nb-NO" sz="1600" dirty="0" err="1"/>
              <a:t>ap_table.csv</a:t>
            </a:r>
            <a:r>
              <a:rPr lang="nb-NO" sz="1600" dirty="0"/>
              <a:t>" (or </a:t>
            </a:r>
            <a:r>
              <a:rPr lang="nb-NO" sz="1600" dirty="0" err="1"/>
              <a:t>several</a:t>
            </a:r>
            <a:r>
              <a:rPr lang="nb-NO" sz="1600" dirty="0"/>
              <a:t> alternatives)</a:t>
            </a:r>
          </a:p>
        </p:txBody>
      </p:sp>
      <p:pic>
        <p:nvPicPr>
          <p:cNvPr id="19" name="Picture 18">
            <a:extLst>
              <a:ext uri="{FF2B5EF4-FFF2-40B4-BE49-F238E27FC236}">
                <a16:creationId xmlns:a16="http://schemas.microsoft.com/office/drawing/2014/main" id="{10F100AA-3043-A290-835D-79D03ECD1E57}"/>
              </a:ext>
            </a:extLst>
          </p:cNvPr>
          <p:cNvPicPr>
            <a:picLocks noChangeAspect="1"/>
          </p:cNvPicPr>
          <p:nvPr/>
        </p:nvPicPr>
        <p:blipFill rotWithShape="1">
          <a:blip r:embed="rId5"/>
          <a:srcRect t="8224" b="25683"/>
          <a:stretch/>
        </p:blipFill>
        <p:spPr>
          <a:xfrm>
            <a:off x="6145528" y="1306942"/>
            <a:ext cx="3913797" cy="368918"/>
          </a:xfrm>
          <a:prstGeom prst="rect">
            <a:avLst/>
          </a:prstGeom>
        </p:spPr>
      </p:pic>
      <p:cxnSp>
        <p:nvCxnSpPr>
          <p:cNvPr id="20" name="Straight Arrow Connector 19">
            <a:extLst>
              <a:ext uri="{FF2B5EF4-FFF2-40B4-BE49-F238E27FC236}">
                <a16:creationId xmlns:a16="http://schemas.microsoft.com/office/drawing/2014/main" id="{D59D0FC3-DBC7-DC4A-D7D5-5A82D91263E8}"/>
              </a:ext>
            </a:extLst>
          </p:cNvPr>
          <p:cNvCxnSpPr>
            <a:cxnSpLocks/>
          </p:cNvCxnSpPr>
          <p:nvPr/>
        </p:nvCxnSpPr>
        <p:spPr>
          <a:xfrm flipV="1">
            <a:off x="3790030" y="1589164"/>
            <a:ext cx="2440502" cy="86696"/>
          </a:xfrm>
          <a:prstGeom prst="straightConnector1">
            <a:avLst/>
          </a:prstGeom>
          <a:ln w="190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83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04162DF8-DA6B-0C05-E682-1ACFDB6ABE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321594" y="269999"/>
            <a:ext cx="10099155" cy="5812485"/>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10" name="Title 9">
            <a:extLst>
              <a:ext uri="{FF2B5EF4-FFF2-40B4-BE49-F238E27FC236}">
                <a16:creationId xmlns:a16="http://schemas.microsoft.com/office/drawing/2014/main" id="{6EB95855-BA56-A1F6-5B13-3868BD47F00C}"/>
              </a:ext>
            </a:extLst>
          </p:cNvPr>
          <p:cNvSpPr>
            <a:spLocks noGrp="1"/>
          </p:cNvSpPr>
          <p:nvPr>
            <p:ph type="title"/>
          </p:nvPr>
        </p:nvSpPr>
        <p:spPr>
          <a:xfrm>
            <a:off x="50240" y="270000"/>
            <a:ext cx="2660400" cy="540000"/>
          </a:xfrm>
        </p:spPr>
        <p:txBody>
          <a:bodyPr/>
          <a:lstStyle/>
          <a:p>
            <a:r>
              <a:rPr lang="nb-NO" err="1"/>
              <a:t>Topology</a:t>
            </a:r>
            <a:endParaRPr lang="nb-NO"/>
          </a:p>
        </p:txBody>
      </p:sp>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11109600" cy="5348707"/>
          </a:xfrm>
        </p:spPr>
        <p:txBody>
          <a:bodyPr>
            <a:normAutofit/>
          </a:bodyPr>
          <a:lstStyle/>
          <a:p>
            <a:pPr>
              <a:lnSpc>
                <a:spcPct val="110000"/>
              </a:lnSpc>
            </a:pPr>
            <a:r>
              <a:rPr lang="nb-NO" sz="1600" dirty="0">
                <a:solidFill>
                  <a:srgbClr val="FF0000"/>
                </a:solidFill>
              </a:rPr>
              <a:t>!!! NOTE !!!</a:t>
            </a:r>
          </a:p>
          <a:p>
            <a:pPr lvl="1">
              <a:lnSpc>
                <a:spcPct val="110000"/>
              </a:lnSpc>
            </a:pPr>
            <a:r>
              <a:rPr lang="nb-NO" sz="1400" dirty="0">
                <a:solidFill>
                  <a:srgbClr val="FF0000"/>
                </a:solidFill>
              </a:rPr>
              <a:t>This </a:t>
            </a:r>
            <a:r>
              <a:rPr lang="nb-NO" sz="1400" dirty="0" err="1">
                <a:solidFill>
                  <a:srgbClr val="FF0000"/>
                </a:solidFill>
              </a:rPr>
              <a:t>exercise</a:t>
            </a:r>
            <a:r>
              <a:rPr lang="nb-NO" sz="1400" dirty="0">
                <a:solidFill>
                  <a:srgbClr val="FF0000"/>
                </a:solidFill>
              </a:rPr>
              <a:t> is marked as </a:t>
            </a:r>
            <a:r>
              <a:rPr lang="nb-NO" sz="1400" dirty="0" err="1">
                <a:solidFill>
                  <a:srgbClr val="FF0000"/>
                </a:solidFill>
              </a:rPr>
              <a:t>optional</a:t>
            </a:r>
            <a:r>
              <a:rPr lang="nb-NO" sz="1400" dirty="0">
                <a:solidFill>
                  <a:srgbClr val="FF0000"/>
                </a:solidFill>
              </a:rPr>
              <a:t>. </a:t>
            </a:r>
            <a:r>
              <a:rPr lang="nb-NO" sz="1400" dirty="0" err="1">
                <a:solidFill>
                  <a:srgbClr val="FF0000"/>
                </a:solidFill>
              </a:rPr>
              <a:t>However</a:t>
            </a:r>
            <a:r>
              <a:rPr lang="nb-NO" sz="1400" dirty="0">
                <a:solidFill>
                  <a:srgbClr val="FF0000"/>
                </a:solidFill>
              </a:rPr>
              <a:t>, </a:t>
            </a:r>
            <a:r>
              <a:rPr lang="nb-NO" sz="1400" dirty="0" err="1">
                <a:solidFill>
                  <a:srgbClr val="FF0000"/>
                </a:solidFill>
              </a:rPr>
              <a:t>if</a:t>
            </a:r>
            <a:r>
              <a:rPr lang="nb-NO" sz="1400" dirty="0">
                <a:solidFill>
                  <a:srgbClr val="FF0000"/>
                </a:solidFill>
              </a:rPr>
              <a:t> </a:t>
            </a:r>
            <a:r>
              <a:rPr lang="nb-NO" sz="1400" dirty="0" err="1">
                <a:solidFill>
                  <a:srgbClr val="FF0000"/>
                </a:solidFill>
              </a:rPr>
              <a:t>you</a:t>
            </a:r>
            <a:r>
              <a:rPr lang="nb-NO" sz="1400" dirty="0">
                <a:solidFill>
                  <a:srgbClr val="FF0000"/>
                </a:solidFill>
              </a:rPr>
              <a:t> plan </a:t>
            </a:r>
            <a:r>
              <a:rPr lang="nb-NO" sz="1400" dirty="0" err="1">
                <a:solidFill>
                  <a:srgbClr val="FF0000"/>
                </a:solidFill>
              </a:rPr>
              <a:t>on</a:t>
            </a:r>
            <a:r>
              <a:rPr lang="nb-NO" sz="1400" dirty="0">
                <a:solidFill>
                  <a:srgbClr val="FF0000"/>
                </a:solidFill>
              </a:rPr>
              <a:t> </a:t>
            </a:r>
            <a:r>
              <a:rPr lang="nb-NO" sz="1400" dirty="0" err="1">
                <a:solidFill>
                  <a:srgbClr val="FF0000"/>
                </a:solidFill>
              </a:rPr>
              <a:t>doing</a:t>
            </a:r>
            <a:r>
              <a:rPr lang="nb-NO" sz="1400" dirty="0">
                <a:solidFill>
                  <a:srgbClr val="FF0000"/>
                </a:solidFill>
              </a:rPr>
              <a:t> more </a:t>
            </a:r>
            <a:r>
              <a:rPr lang="nb-NO" sz="1400" dirty="0" err="1">
                <a:solidFill>
                  <a:srgbClr val="FF0000"/>
                </a:solidFill>
              </a:rPr>
              <a:t>Grafana</a:t>
            </a:r>
            <a:r>
              <a:rPr lang="nb-NO" sz="1400" dirty="0">
                <a:solidFill>
                  <a:srgbClr val="FF0000"/>
                </a:solidFill>
              </a:rPr>
              <a:t> </a:t>
            </a:r>
            <a:r>
              <a:rPr lang="nb-NO" sz="1400" dirty="0" err="1">
                <a:solidFill>
                  <a:srgbClr val="FF0000"/>
                </a:solidFill>
              </a:rPr>
              <a:t>stu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day</a:t>
            </a:r>
            <a:r>
              <a:rPr lang="nb-NO" sz="1400" dirty="0">
                <a:solidFill>
                  <a:srgbClr val="FF0000"/>
                </a:solidFill>
              </a:rPr>
              <a:t> to </a:t>
            </a:r>
            <a:r>
              <a:rPr lang="nb-NO" sz="1400" dirty="0" err="1">
                <a:solidFill>
                  <a:srgbClr val="FF0000"/>
                </a:solidFill>
              </a:rPr>
              <a:t>we</a:t>
            </a:r>
            <a:r>
              <a:rPr lang="nb-NO" sz="1400" dirty="0">
                <a:solidFill>
                  <a:srgbClr val="FF0000"/>
                </a:solidFill>
              </a:rPr>
              <a:t> </a:t>
            </a:r>
            <a:r>
              <a:rPr lang="nb-NO" sz="1400" dirty="0" err="1">
                <a:solidFill>
                  <a:srgbClr val="FF0000"/>
                </a:solidFill>
              </a:rPr>
              <a:t>highly</a:t>
            </a:r>
            <a:r>
              <a:rPr lang="nb-NO" sz="1400" dirty="0">
                <a:solidFill>
                  <a:srgbClr val="FF0000"/>
                </a:solidFill>
              </a:rPr>
              <a:t> </a:t>
            </a:r>
            <a:r>
              <a:rPr lang="nb-NO" sz="1400" dirty="0" err="1">
                <a:solidFill>
                  <a:srgbClr val="FF0000"/>
                </a:solidFill>
              </a:rPr>
              <a:t>recommend</a:t>
            </a:r>
            <a:r>
              <a:rPr lang="nb-NO" sz="1400" dirty="0">
                <a:solidFill>
                  <a:srgbClr val="FF0000"/>
                </a:solidFill>
              </a:rPr>
              <a:t> </a:t>
            </a:r>
            <a:r>
              <a:rPr lang="nb-NO" sz="1400" dirty="0" err="1">
                <a:solidFill>
                  <a:srgbClr val="FF0000"/>
                </a:solidFill>
              </a:rPr>
              <a:t>that</a:t>
            </a:r>
            <a:r>
              <a:rPr lang="nb-NO" sz="1400" dirty="0">
                <a:solidFill>
                  <a:srgbClr val="FF0000"/>
                </a:solidFill>
              </a:rPr>
              <a:t> </a:t>
            </a:r>
            <a:r>
              <a:rPr lang="nb-NO" sz="1400" dirty="0" err="1">
                <a:solidFill>
                  <a:srgbClr val="FF0000"/>
                </a:solidFill>
              </a:rPr>
              <a:t>you</a:t>
            </a:r>
            <a:r>
              <a:rPr lang="nb-NO" sz="1400" dirty="0">
                <a:solidFill>
                  <a:srgbClr val="FF0000"/>
                </a:solidFill>
              </a:rPr>
              <a:t> do </a:t>
            </a:r>
            <a:r>
              <a:rPr lang="nb-NO" sz="1400" dirty="0" err="1">
                <a:solidFill>
                  <a:srgbClr val="FF0000"/>
                </a:solidFill>
              </a:rPr>
              <a:t>this</a:t>
            </a:r>
            <a:r>
              <a:rPr lang="nb-NO" sz="1400" dirty="0">
                <a:solidFill>
                  <a:srgbClr val="FF0000"/>
                </a:solidFill>
              </a:rPr>
              <a:t>, </a:t>
            </a:r>
            <a:r>
              <a:rPr lang="nb-NO" sz="1400" dirty="0" err="1">
                <a:solidFill>
                  <a:srgbClr val="FF0000"/>
                </a:solidFill>
              </a:rPr>
              <a:t>even</a:t>
            </a:r>
            <a:r>
              <a:rPr lang="nb-NO" sz="1400" dirty="0">
                <a:solidFill>
                  <a:srgbClr val="FF0000"/>
                </a:solidFill>
              </a:rPr>
              <a:t> </a:t>
            </a:r>
            <a:r>
              <a:rPr lang="nb-NO" sz="1400" dirty="0" err="1">
                <a:solidFill>
                  <a:srgbClr val="FF0000"/>
                </a:solidFill>
              </a:rPr>
              <a:t>if</a:t>
            </a:r>
            <a:r>
              <a:rPr lang="nb-NO" sz="1400" dirty="0">
                <a:solidFill>
                  <a:srgbClr val="FF0000"/>
                </a:solidFill>
              </a:rPr>
              <a:t> it </a:t>
            </a:r>
            <a:r>
              <a:rPr lang="nb-NO" sz="1400" dirty="0" err="1">
                <a:solidFill>
                  <a:srgbClr val="FF0000"/>
                </a:solidFill>
              </a:rPr>
              <a:t>will</a:t>
            </a:r>
            <a:r>
              <a:rPr lang="nb-NO" sz="1400" dirty="0">
                <a:solidFill>
                  <a:srgbClr val="FF0000"/>
                </a:solidFill>
              </a:rPr>
              <a:t> </a:t>
            </a:r>
            <a:r>
              <a:rPr lang="nb-NO" sz="1400" dirty="0" err="1">
                <a:solidFill>
                  <a:srgbClr val="FF0000"/>
                </a:solidFill>
              </a:rPr>
              <a:t>take</a:t>
            </a:r>
            <a:r>
              <a:rPr lang="nb-NO" sz="1400" dirty="0">
                <a:solidFill>
                  <a:srgbClr val="FF0000"/>
                </a:solidFill>
              </a:rPr>
              <a:t> </a:t>
            </a:r>
            <a:r>
              <a:rPr lang="nb-NO" sz="1400" dirty="0" err="1">
                <a:solidFill>
                  <a:srgbClr val="FF0000"/>
                </a:solidFill>
              </a:rPr>
              <a:t>some</a:t>
            </a:r>
            <a:r>
              <a:rPr lang="nb-NO" sz="1400" dirty="0">
                <a:solidFill>
                  <a:srgbClr val="FF0000"/>
                </a:solidFill>
              </a:rPr>
              <a:t> </a:t>
            </a:r>
            <a:r>
              <a:rPr lang="nb-NO" sz="1400" dirty="0" err="1">
                <a:solidFill>
                  <a:srgbClr val="FF0000"/>
                </a:solidFill>
              </a:rPr>
              <a:t>extra</a:t>
            </a:r>
            <a:r>
              <a:rPr lang="nb-NO" sz="1400" dirty="0">
                <a:solidFill>
                  <a:srgbClr val="FF0000"/>
                </a:solidFill>
              </a:rPr>
              <a:t> time </a:t>
            </a:r>
            <a:r>
              <a:rPr lang="nb-NO" sz="1400" dirty="0" err="1">
                <a:solidFill>
                  <a:srgbClr val="FF0000"/>
                </a:solidFill>
              </a:rPr>
              <a:t>today</a:t>
            </a:r>
            <a:r>
              <a:rPr lang="nb-NO" sz="1400" dirty="0">
                <a:solidFill>
                  <a:srgbClr val="FF0000"/>
                </a:solidFill>
              </a:rPr>
              <a:t>, or </a:t>
            </a:r>
            <a:r>
              <a:rPr lang="nb-NO" sz="1400" dirty="0" err="1">
                <a:solidFill>
                  <a:srgbClr val="FF0000"/>
                </a:solidFill>
              </a:rPr>
              <a:t>continue</a:t>
            </a:r>
            <a:r>
              <a:rPr lang="nb-NO" sz="1400" dirty="0">
                <a:solidFill>
                  <a:srgbClr val="FF0000"/>
                </a:solidFill>
              </a:rPr>
              <a:t> </a:t>
            </a:r>
            <a:r>
              <a:rPr lang="nb-NO" sz="1400" dirty="0" err="1">
                <a:solidFill>
                  <a:srgbClr val="FF0000"/>
                </a:solidFill>
              </a:rPr>
              <a:t>on</a:t>
            </a:r>
            <a:r>
              <a:rPr lang="nb-NO" sz="1400" dirty="0">
                <a:solidFill>
                  <a:srgbClr val="FF0000"/>
                </a:solidFill>
              </a:rPr>
              <a:t> to </a:t>
            </a:r>
            <a:r>
              <a:rPr lang="nb-NO" sz="1400" dirty="0" err="1">
                <a:solidFill>
                  <a:srgbClr val="FF0000"/>
                </a:solidFill>
              </a:rPr>
              <a:t>day</a:t>
            </a:r>
            <a:r>
              <a:rPr lang="nb-NO" sz="1400" dirty="0">
                <a:solidFill>
                  <a:srgbClr val="FF0000"/>
                </a:solidFill>
              </a:rPr>
              <a:t> 2</a:t>
            </a:r>
          </a:p>
          <a:p>
            <a:pPr lvl="1">
              <a:lnSpc>
                <a:spcPct val="110000"/>
              </a:lnSpc>
            </a:pPr>
            <a:r>
              <a:rPr lang="nb-NO" sz="1400" dirty="0">
                <a:solidFill>
                  <a:srgbClr val="FF0000"/>
                </a:solidFill>
              </a:rPr>
              <a:t>If </a:t>
            </a:r>
            <a:r>
              <a:rPr lang="nb-NO" sz="1400" dirty="0" err="1">
                <a:solidFill>
                  <a:srgbClr val="FF0000"/>
                </a:solidFill>
              </a:rPr>
              <a:t>you</a:t>
            </a:r>
            <a:r>
              <a:rPr lang="nb-NO" sz="1400" dirty="0">
                <a:solidFill>
                  <a:srgbClr val="FF0000"/>
                </a:solidFill>
              </a:rPr>
              <a:t> plan </a:t>
            </a:r>
            <a:r>
              <a:rPr lang="nb-NO" sz="1400" dirty="0" err="1">
                <a:solidFill>
                  <a:srgbClr val="FF0000"/>
                </a:solidFill>
              </a:rPr>
              <a:t>doing</a:t>
            </a:r>
            <a:r>
              <a:rPr lang="nb-NO" sz="1400" dirty="0">
                <a:solidFill>
                  <a:srgbClr val="FF0000"/>
                </a:solidFill>
              </a:rPr>
              <a:t> </a:t>
            </a:r>
            <a:r>
              <a:rPr lang="nb-NO" sz="1400" dirty="0" err="1">
                <a:solidFill>
                  <a:srgbClr val="FF0000"/>
                </a:solidFill>
              </a:rPr>
              <a:t>primarily</a:t>
            </a:r>
            <a:r>
              <a:rPr lang="nb-NO" sz="1400" dirty="0">
                <a:solidFill>
                  <a:srgbClr val="FF0000"/>
                </a:solidFill>
              </a:rPr>
              <a:t> Python or </a:t>
            </a:r>
            <a:r>
              <a:rPr lang="nb-NO" sz="1400" dirty="0" err="1">
                <a:solidFill>
                  <a:srgbClr val="FF0000"/>
                </a:solidFill>
              </a:rPr>
              <a:t>Ansible</a:t>
            </a:r>
            <a:r>
              <a:rPr lang="nb-NO" sz="1400" dirty="0">
                <a:solidFill>
                  <a:srgbClr val="FF0000"/>
                </a:solidFill>
              </a:rPr>
              <a:t> </a:t>
            </a:r>
            <a:r>
              <a:rPr lang="nb-NO" sz="1400" dirty="0" err="1">
                <a:solidFill>
                  <a:srgbClr val="FF0000"/>
                </a:solidFill>
              </a:rPr>
              <a:t>stu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day</a:t>
            </a:r>
            <a:r>
              <a:rPr lang="nb-NO" sz="1400" dirty="0">
                <a:solidFill>
                  <a:srgbClr val="FF0000"/>
                </a:solidFill>
              </a:rPr>
              <a:t> 2, </a:t>
            </a:r>
            <a:r>
              <a:rPr lang="nb-NO" sz="1400" dirty="0" err="1">
                <a:solidFill>
                  <a:srgbClr val="FF0000"/>
                </a:solidFill>
              </a:rPr>
              <a:t>you</a:t>
            </a:r>
            <a:r>
              <a:rPr lang="nb-NO" sz="1400" dirty="0">
                <a:solidFill>
                  <a:srgbClr val="FF0000"/>
                </a:solidFill>
              </a:rPr>
              <a:t> </a:t>
            </a:r>
            <a:r>
              <a:rPr lang="nb-NO" sz="1400" dirty="0" err="1">
                <a:solidFill>
                  <a:srgbClr val="FF0000"/>
                </a:solidFill>
              </a:rPr>
              <a:t>can</a:t>
            </a:r>
            <a:r>
              <a:rPr lang="nb-NO" sz="1400" dirty="0">
                <a:solidFill>
                  <a:srgbClr val="FF0000"/>
                </a:solidFill>
              </a:rPr>
              <a:t> skip </a:t>
            </a:r>
            <a:r>
              <a:rPr lang="nb-NO" sz="1400" dirty="0" err="1">
                <a:solidFill>
                  <a:srgbClr val="FF0000"/>
                </a:solidFill>
              </a:rPr>
              <a:t>exercise</a:t>
            </a:r>
            <a:r>
              <a:rPr lang="nb-NO" sz="1400" dirty="0">
                <a:solidFill>
                  <a:srgbClr val="FF0000"/>
                </a:solidFill>
              </a:rPr>
              <a:t> 10 (</a:t>
            </a:r>
            <a:r>
              <a:rPr lang="nb-NO" sz="1400" dirty="0" err="1">
                <a:solidFill>
                  <a:srgbClr val="FF0000"/>
                </a:solidFill>
              </a:rPr>
              <a:t>installing</a:t>
            </a:r>
            <a:r>
              <a:rPr lang="nb-NO" sz="1400" dirty="0">
                <a:solidFill>
                  <a:srgbClr val="FF0000"/>
                </a:solidFill>
              </a:rPr>
              <a:t> </a:t>
            </a:r>
            <a:r>
              <a:rPr lang="nb-NO" sz="1400" dirty="0" err="1">
                <a:solidFill>
                  <a:srgbClr val="FF0000"/>
                </a:solidFill>
              </a:rPr>
              <a:t>TIG</a:t>
            </a:r>
            <a:r>
              <a:rPr lang="nb-NO" sz="1400" dirty="0">
                <a:solidFill>
                  <a:srgbClr val="FF0000"/>
                </a:solidFill>
              </a:rPr>
              <a:t> </a:t>
            </a:r>
            <a:r>
              <a:rPr lang="nb-NO" sz="1400" dirty="0" err="1">
                <a:solidFill>
                  <a:srgbClr val="FF0000"/>
                </a:solidFill>
              </a:rPr>
              <a:t>stack</a:t>
            </a:r>
            <a:r>
              <a:rPr lang="nb-NO" sz="1400" dirty="0">
                <a:solidFill>
                  <a:srgbClr val="FF0000"/>
                </a:solidFill>
              </a:rPr>
              <a:t>) and skip to Lab </a:t>
            </a:r>
            <a:r>
              <a:rPr lang="nb-NO" sz="1400" dirty="0" err="1">
                <a:solidFill>
                  <a:srgbClr val="FF0000"/>
                </a:solidFill>
              </a:rPr>
              <a:t>exercise</a:t>
            </a:r>
            <a:r>
              <a:rPr lang="nb-NO" sz="1400" dirty="0">
                <a:solidFill>
                  <a:srgbClr val="FF0000"/>
                </a:solidFill>
              </a:rPr>
              <a:t> 11: </a:t>
            </a:r>
            <a:r>
              <a:rPr lang="nb-NO" sz="1400" dirty="0" err="1">
                <a:solidFill>
                  <a:srgbClr val="FF0000"/>
                </a:solidFill>
              </a:rPr>
              <a:t>Build</a:t>
            </a:r>
            <a:r>
              <a:rPr lang="nb-NO" sz="1400" dirty="0">
                <a:solidFill>
                  <a:srgbClr val="FF0000"/>
                </a:solidFill>
              </a:rPr>
              <a:t> </a:t>
            </a:r>
            <a:r>
              <a:rPr lang="nb-NO" sz="1400" dirty="0" err="1">
                <a:solidFill>
                  <a:srgbClr val="FF0000"/>
                </a:solidFill>
              </a:rPr>
              <a:t>your</a:t>
            </a:r>
            <a:r>
              <a:rPr lang="nb-NO" sz="1400" dirty="0">
                <a:solidFill>
                  <a:srgbClr val="FF0000"/>
                </a:solidFill>
              </a:rPr>
              <a:t> first </a:t>
            </a:r>
            <a:r>
              <a:rPr lang="nb-NO" sz="1400" dirty="0" err="1">
                <a:solidFill>
                  <a:srgbClr val="FF0000"/>
                </a:solidFill>
              </a:rPr>
              <a:t>Grafana</a:t>
            </a:r>
            <a:r>
              <a:rPr lang="nb-NO" sz="1400" dirty="0">
                <a:solidFill>
                  <a:srgbClr val="FF0000"/>
                </a:solidFill>
              </a:rPr>
              <a:t> </a:t>
            </a:r>
            <a:r>
              <a:rPr lang="nb-NO" sz="1400" dirty="0" err="1">
                <a:solidFill>
                  <a:srgbClr val="FF0000"/>
                </a:solidFill>
              </a:rPr>
              <a:t>dashboard</a:t>
            </a:r>
            <a:r>
              <a:rPr lang="nb-NO" sz="1400" dirty="0">
                <a:solidFill>
                  <a:srgbClr val="FF0000"/>
                </a:solidFill>
              </a:rPr>
              <a:t> just to </a:t>
            </a:r>
            <a:r>
              <a:rPr lang="nb-NO" sz="1400" dirty="0" err="1">
                <a:solidFill>
                  <a:srgbClr val="FF0000"/>
                </a:solidFill>
              </a:rPr>
              <a:t>get</a:t>
            </a:r>
            <a:r>
              <a:rPr lang="nb-NO" sz="1400" dirty="0">
                <a:solidFill>
                  <a:srgbClr val="FF0000"/>
                </a:solidFill>
              </a:rPr>
              <a:t> a </a:t>
            </a:r>
            <a:r>
              <a:rPr lang="nb-NO" sz="1400" dirty="0" err="1">
                <a:solidFill>
                  <a:srgbClr val="FF0000"/>
                </a:solidFill>
              </a:rPr>
              <a:t>small</a:t>
            </a:r>
            <a:r>
              <a:rPr lang="nb-NO" sz="1400" dirty="0">
                <a:solidFill>
                  <a:srgbClr val="FF0000"/>
                </a:solidFill>
              </a:rPr>
              <a:t> touch </a:t>
            </a:r>
            <a:r>
              <a:rPr lang="nb-NO" sz="1400" dirty="0" err="1">
                <a:solidFill>
                  <a:srgbClr val="FF0000"/>
                </a:solidFill>
              </a:rPr>
              <a:t>of</a:t>
            </a:r>
            <a:r>
              <a:rPr lang="nb-NO" sz="1400" dirty="0">
                <a:solidFill>
                  <a:srgbClr val="FF0000"/>
                </a:solidFill>
              </a:rPr>
              <a:t> </a:t>
            </a:r>
            <a:r>
              <a:rPr lang="nb-NO" sz="1400" dirty="0" err="1">
                <a:solidFill>
                  <a:srgbClr val="FF0000"/>
                </a:solidFill>
              </a:rPr>
              <a:t>the</a:t>
            </a:r>
            <a:r>
              <a:rPr lang="nb-NO" sz="1400" dirty="0">
                <a:solidFill>
                  <a:srgbClr val="FF0000"/>
                </a:solidFill>
              </a:rPr>
              <a:t> </a:t>
            </a:r>
            <a:r>
              <a:rPr lang="nb-NO" sz="1400" dirty="0" err="1">
                <a:solidFill>
                  <a:srgbClr val="FF0000"/>
                </a:solidFill>
              </a:rPr>
              <a:t>Grafana-magic</a:t>
            </a:r>
            <a:r>
              <a:rPr lang="nb-NO" sz="1400" dirty="0">
                <a:solidFill>
                  <a:srgbClr val="FF0000"/>
                </a:solidFill>
              </a:rPr>
              <a:t> </a:t>
            </a:r>
            <a:r>
              <a:rPr lang="nb-NO" sz="1400" dirty="0">
                <a:solidFill>
                  <a:srgbClr val="FF0000"/>
                </a:solidFill>
                <a:sym typeface="Wingdings" panose="05000000000000000000" pitchFamily="2" charset="2"/>
              </a:rPr>
              <a:t></a:t>
            </a:r>
            <a:endParaRPr lang="nb-NO" sz="1400" dirty="0">
              <a:solidFill>
                <a:srgbClr val="FF0000"/>
              </a:solidFill>
            </a:endParaRPr>
          </a:p>
          <a:p>
            <a:pPr>
              <a:lnSpc>
                <a:spcPct val="110000"/>
              </a:lnSpc>
            </a:pPr>
            <a:r>
              <a:rPr lang="nb-NO" sz="1600" dirty="0"/>
              <a:t>In </a:t>
            </a:r>
            <a:r>
              <a:rPr lang="nb-NO" sz="1600" dirty="0" err="1"/>
              <a:t>this</a:t>
            </a:r>
            <a:r>
              <a:rPr lang="nb-NO" sz="1600" dirty="0"/>
              <a:t> lab </a:t>
            </a:r>
            <a:r>
              <a:rPr lang="nb-NO" sz="1600" dirty="0" err="1"/>
              <a:t>exercise</a:t>
            </a:r>
            <a:r>
              <a:rPr lang="nb-NO" sz="1600" dirty="0"/>
              <a:t>, </a:t>
            </a:r>
            <a:r>
              <a:rPr lang="nb-NO" sz="1600" dirty="0" err="1"/>
              <a:t>we</a:t>
            </a:r>
            <a:r>
              <a:rPr lang="nb-NO" sz="1600" dirty="0"/>
              <a:t> </a:t>
            </a:r>
            <a:r>
              <a:rPr lang="nb-NO" sz="1600" dirty="0" err="1"/>
              <a:t>will</a:t>
            </a:r>
            <a:r>
              <a:rPr lang="nb-NO" sz="1600" dirty="0"/>
              <a:t> </a:t>
            </a:r>
            <a:r>
              <a:rPr lang="nb-NO" sz="1600" dirty="0" err="1"/>
              <a:t>install</a:t>
            </a:r>
            <a:r>
              <a:rPr lang="nb-NO" sz="1600" dirty="0"/>
              <a:t> "</a:t>
            </a:r>
            <a:r>
              <a:rPr lang="nb-NO" sz="1600" dirty="0" err="1"/>
              <a:t>TIG</a:t>
            </a:r>
            <a:r>
              <a:rPr lang="nb-NO" sz="1600" dirty="0"/>
              <a:t> </a:t>
            </a:r>
            <a:r>
              <a:rPr lang="nb-NO" sz="1600" dirty="0" err="1"/>
              <a:t>Stack</a:t>
            </a:r>
            <a:r>
              <a:rPr lang="nb-NO" sz="1600" dirty="0"/>
              <a:t>" as a </a:t>
            </a:r>
            <a:r>
              <a:rPr lang="nb-NO" sz="1600" dirty="0" err="1"/>
              <a:t>Docker</a:t>
            </a:r>
            <a:r>
              <a:rPr lang="nb-NO" sz="1600" dirty="0"/>
              <a:t> container </a:t>
            </a:r>
            <a:r>
              <a:rPr lang="nb-NO" sz="1600" dirty="0" err="1"/>
              <a:t>on</a:t>
            </a:r>
            <a:r>
              <a:rPr lang="nb-NO" sz="1600" dirty="0"/>
              <a:t> </a:t>
            </a:r>
            <a:r>
              <a:rPr lang="nb-NO" sz="1600" dirty="0" err="1"/>
              <a:t>the</a:t>
            </a:r>
            <a:r>
              <a:rPr lang="nb-NO" sz="1600" dirty="0"/>
              <a:t> </a:t>
            </a:r>
            <a:r>
              <a:rPr lang="nb-NO" sz="1600" dirty="0" err="1"/>
              <a:t>Ubuntu</a:t>
            </a:r>
            <a:r>
              <a:rPr lang="nb-NO" sz="1600" dirty="0"/>
              <a:t> Server</a:t>
            </a:r>
          </a:p>
          <a:p>
            <a:pPr>
              <a:lnSpc>
                <a:spcPct val="110000"/>
              </a:lnSpc>
            </a:pPr>
            <a:r>
              <a:rPr lang="nb-NO" sz="1600" dirty="0"/>
              <a:t>As part </a:t>
            </a:r>
            <a:r>
              <a:rPr lang="nb-NO" sz="1600" dirty="0" err="1"/>
              <a:t>of</a:t>
            </a:r>
            <a:r>
              <a:rPr lang="nb-NO" sz="1600" dirty="0"/>
              <a:t> </a:t>
            </a:r>
            <a:r>
              <a:rPr lang="nb-NO" sz="1600" dirty="0" err="1"/>
              <a:t>the</a:t>
            </a:r>
            <a:r>
              <a:rPr lang="nb-NO" sz="1600" dirty="0"/>
              <a:t> </a:t>
            </a:r>
            <a:r>
              <a:rPr lang="nb-NO" sz="1600" dirty="0" err="1"/>
              <a:t>installation</a:t>
            </a:r>
            <a:r>
              <a:rPr lang="nb-NO" sz="1600" dirty="0"/>
              <a:t> </a:t>
            </a:r>
            <a:r>
              <a:rPr lang="nb-NO" sz="1600" dirty="0" err="1"/>
              <a:t>we</a:t>
            </a:r>
            <a:r>
              <a:rPr lang="nb-NO" sz="1600" dirty="0"/>
              <a:t> </a:t>
            </a:r>
            <a:r>
              <a:rPr lang="nb-NO" sz="1600" dirty="0" err="1"/>
              <a:t>will</a:t>
            </a:r>
            <a:endParaRPr lang="nb-NO" sz="1600" dirty="0"/>
          </a:p>
          <a:p>
            <a:pPr lvl="1">
              <a:lnSpc>
                <a:spcPct val="110000"/>
              </a:lnSpc>
            </a:pPr>
            <a:r>
              <a:rPr lang="nb-NO" sz="1600" dirty="0" err="1"/>
              <a:t>Create</a:t>
            </a:r>
            <a:r>
              <a:rPr lang="nb-NO" sz="1600" dirty="0"/>
              <a:t> .</a:t>
            </a:r>
            <a:r>
              <a:rPr lang="nb-NO" sz="1600" dirty="0" err="1"/>
              <a:t>env</a:t>
            </a:r>
            <a:r>
              <a:rPr lang="nb-NO" sz="1600" dirty="0"/>
              <a:t> file </a:t>
            </a:r>
            <a:r>
              <a:rPr lang="nb-NO" sz="1600" dirty="0" err="1"/>
              <a:t>containing</a:t>
            </a:r>
            <a:r>
              <a:rPr lang="nb-NO" sz="1600" dirty="0"/>
              <a:t> variables</a:t>
            </a:r>
          </a:p>
          <a:p>
            <a:pPr lvl="1">
              <a:lnSpc>
                <a:spcPct val="110000"/>
              </a:lnSpc>
            </a:pPr>
            <a:r>
              <a:rPr lang="nb-NO" sz="1600" dirty="0"/>
              <a:t>Ensure </a:t>
            </a:r>
            <a:r>
              <a:rPr lang="nb-NO" sz="1600" dirty="0" err="1"/>
              <a:t>persistant</a:t>
            </a:r>
            <a:r>
              <a:rPr lang="nb-NO" sz="1600" dirty="0"/>
              <a:t> </a:t>
            </a:r>
            <a:r>
              <a:rPr lang="nb-NO" sz="1600" dirty="0" err="1"/>
              <a:t>storage</a:t>
            </a:r>
            <a:endParaRPr lang="nb-NO" sz="1600" dirty="0"/>
          </a:p>
          <a:p>
            <a:pPr lvl="1">
              <a:lnSpc>
                <a:spcPct val="110000"/>
              </a:lnSpc>
            </a:pPr>
            <a:r>
              <a:rPr lang="nb-NO" sz="1600" dirty="0" err="1"/>
              <a:t>Create</a:t>
            </a:r>
            <a:r>
              <a:rPr lang="nb-NO" sz="1600" dirty="0"/>
              <a:t> </a:t>
            </a:r>
            <a:r>
              <a:rPr lang="nb-NO" sz="1600" dirty="0" err="1"/>
              <a:t>new</a:t>
            </a:r>
            <a:r>
              <a:rPr lang="nb-NO" sz="1600" dirty="0"/>
              <a:t> </a:t>
            </a:r>
            <a:r>
              <a:rPr lang="nb-NO" sz="1600" dirty="0" err="1"/>
              <a:t>bucket</a:t>
            </a:r>
            <a:r>
              <a:rPr lang="nb-NO" sz="1600" dirty="0"/>
              <a:t> and </a:t>
            </a:r>
            <a:r>
              <a:rPr lang="nb-NO" sz="1600" dirty="0" err="1"/>
              <a:t>adapt</a:t>
            </a:r>
            <a:r>
              <a:rPr lang="nb-NO" sz="1600" dirty="0"/>
              <a:t> it so </a:t>
            </a:r>
            <a:r>
              <a:rPr lang="nb-NO" sz="1600" dirty="0" err="1"/>
              <a:t>we</a:t>
            </a:r>
            <a:r>
              <a:rPr lang="nb-NO" sz="1600" dirty="0"/>
              <a:t> </a:t>
            </a:r>
            <a:r>
              <a:rPr lang="nb-NO" sz="1600" dirty="0" err="1"/>
              <a:t>can</a:t>
            </a:r>
            <a:r>
              <a:rPr lang="nb-NO" sz="1600" dirty="0"/>
              <a:t> </a:t>
            </a:r>
            <a:r>
              <a:rPr lang="nb-NO" sz="1600" dirty="0" err="1"/>
              <a:t>use</a:t>
            </a:r>
            <a:r>
              <a:rPr lang="nb-NO" sz="1600" dirty="0"/>
              <a:t> </a:t>
            </a:r>
            <a:r>
              <a:rPr lang="nb-NO" sz="1600" dirty="0" err="1"/>
              <a:t>InfluxDB</a:t>
            </a:r>
            <a:endParaRPr lang="nb-NO" sz="1050" dirty="0"/>
          </a:p>
          <a:p>
            <a:pPr>
              <a:lnSpc>
                <a:spcPct val="110000"/>
              </a:lnSpc>
            </a:pPr>
            <a:r>
              <a:rPr lang="nb-NO" sz="1600" dirty="0"/>
              <a:t>The </a:t>
            </a:r>
            <a:r>
              <a:rPr lang="nb-NO" sz="1600" dirty="0" err="1"/>
              <a:t>next</a:t>
            </a:r>
            <a:r>
              <a:rPr lang="nb-NO" sz="1600" dirty="0"/>
              <a:t> slides </a:t>
            </a:r>
            <a:r>
              <a:rPr lang="nb-NO" sz="1600" dirty="0" err="1"/>
              <a:t>will</a:t>
            </a:r>
            <a:r>
              <a:rPr lang="nb-NO" sz="1600" dirty="0"/>
              <a:t> </a:t>
            </a:r>
            <a:r>
              <a:rPr lang="nb-NO" sz="1600" dirty="0" err="1"/>
              <a:t>give</a:t>
            </a:r>
            <a:r>
              <a:rPr lang="nb-NO" sz="1600" dirty="0"/>
              <a:t> </a:t>
            </a:r>
            <a:r>
              <a:rPr lang="nb-NO" sz="1600" dirty="0" err="1"/>
              <a:t>some</a:t>
            </a:r>
            <a:r>
              <a:rPr lang="nb-NO" sz="1600" dirty="0"/>
              <a:t> </a:t>
            </a:r>
            <a:r>
              <a:rPr lang="nb-NO" sz="1600" dirty="0" err="1"/>
              <a:t>basic</a:t>
            </a:r>
            <a:r>
              <a:rPr lang="nb-NO" sz="1600" dirty="0"/>
              <a:t> </a:t>
            </a:r>
            <a:r>
              <a:rPr lang="nb-NO" sz="1600" dirty="0" err="1"/>
              <a:t>overview</a:t>
            </a:r>
            <a:r>
              <a:rPr lang="nb-NO" sz="1600" dirty="0"/>
              <a:t> </a:t>
            </a:r>
            <a:r>
              <a:rPr lang="nb-NO" sz="1600" dirty="0" err="1"/>
              <a:t>of</a:t>
            </a:r>
            <a:r>
              <a:rPr lang="nb-NO" sz="1600" dirty="0"/>
              <a:t> </a:t>
            </a:r>
            <a:r>
              <a:rPr lang="nb-NO" sz="1600" dirty="0" err="1"/>
              <a:t>the</a:t>
            </a:r>
            <a:r>
              <a:rPr lang="nb-NO" sz="1600" dirty="0"/>
              <a:t> </a:t>
            </a:r>
            <a:r>
              <a:rPr lang="nb-NO" sz="1600" dirty="0" err="1"/>
              <a:t>TIG</a:t>
            </a:r>
            <a:r>
              <a:rPr lang="nb-NO" sz="1600" dirty="0"/>
              <a:t> </a:t>
            </a:r>
            <a:r>
              <a:rPr lang="nb-NO" sz="1600" dirty="0" err="1"/>
              <a:t>Stack</a:t>
            </a:r>
            <a:r>
              <a:rPr lang="nb-NO" sz="1600" dirty="0"/>
              <a:t>, and </a:t>
            </a:r>
            <a:r>
              <a:rPr lang="nb-NO" sz="1600" dirty="0" err="1"/>
              <a:t>how</a:t>
            </a:r>
            <a:r>
              <a:rPr lang="nb-NO" sz="1600" dirty="0"/>
              <a:t> all </a:t>
            </a:r>
            <a:r>
              <a:rPr lang="nb-NO" sz="1600" dirty="0" err="1"/>
              <a:t>fits</a:t>
            </a:r>
            <a:r>
              <a:rPr lang="nb-NO" sz="1600" dirty="0"/>
              <a:t> </a:t>
            </a:r>
            <a:r>
              <a:rPr lang="nb-NO" sz="1600" dirty="0" err="1"/>
              <a:t>together</a:t>
            </a:r>
            <a:endParaRPr lang="nb-NO" sz="1600" dirty="0"/>
          </a:p>
          <a:p>
            <a:pPr lvl="1">
              <a:lnSpc>
                <a:spcPct val="110000"/>
              </a:lnSpc>
            </a:pPr>
            <a:r>
              <a:rPr lang="nb-NO" sz="1400" dirty="0"/>
              <a:t>T = Telegraf</a:t>
            </a:r>
          </a:p>
          <a:p>
            <a:pPr lvl="1">
              <a:lnSpc>
                <a:spcPct val="110000"/>
              </a:lnSpc>
            </a:pPr>
            <a:r>
              <a:rPr lang="nb-NO" sz="1400" dirty="0"/>
              <a:t>I = </a:t>
            </a:r>
            <a:r>
              <a:rPr lang="nb-NO" sz="1400" dirty="0" err="1"/>
              <a:t>InfluxDB</a:t>
            </a:r>
            <a:endParaRPr lang="nb-NO" sz="1400" dirty="0"/>
          </a:p>
          <a:p>
            <a:pPr lvl="1">
              <a:lnSpc>
                <a:spcPct val="110000"/>
              </a:lnSpc>
            </a:pPr>
            <a:r>
              <a:rPr lang="nb-NO" sz="1400" dirty="0"/>
              <a:t>G = </a:t>
            </a:r>
            <a:r>
              <a:rPr lang="nb-NO" sz="1400" dirty="0" err="1"/>
              <a:t>Grafana</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sv-SE" dirty="0"/>
              <a:t>Lab </a:t>
            </a:r>
            <a:r>
              <a:rPr lang="sv-SE" dirty="0" err="1"/>
              <a:t>exercise</a:t>
            </a:r>
            <a:r>
              <a:rPr lang="sv-SE" dirty="0"/>
              <a:t> #10: </a:t>
            </a:r>
            <a:r>
              <a:rPr lang="sv-SE" dirty="0" err="1"/>
              <a:t>Install</a:t>
            </a:r>
            <a:r>
              <a:rPr lang="sv-SE" dirty="0"/>
              <a:t> TIG stack (</a:t>
            </a:r>
            <a:r>
              <a:rPr lang="sv-SE" dirty="0" err="1"/>
              <a:t>optional</a:t>
            </a:r>
            <a:r>
              <a:rPr lang="sv-SE" dirty="0"/>
              <a:t>)</a:t>
            </a:r>
            <a:endParaRPr lang="en-GB" dirty="0"/>
          </a:p>
        </p:txBody>
      </p:sp>
      <p:sp>
        <p:nvSpPr>
          <p:cNvPr id="3" name="Footer Placeholder 6">
            <a:extLst>
              <a:ext uri="{FF2B5EF4-FFF2-40B4-BE49-F238E27FC236}">
                <a16:creationId xmlns:a16="http://schemas.microsoft.com/office/drawing/2014/main" id="{657E3D2A-489A-3951-E385-2B1472FCB49B}"/>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DE28A13-DC0E-C4C0-5958-28FED7170CC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2" name="Picture 1" descr="A blue logo with a black background&#10;&#10;Description automatically generated">
            <a:extLst>
              <a:ext uri="{FF2B5EF4-FFF2-40B4-BE49-F238E27FC236}">
                <a16:creationId xmlns:a16="http://schemas.microsoft.com/office/drawing/2014/main" id="{397270F9-18C1-FD4A-FDE3-7BAD57518C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22303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651E5492-ECA3-48BF-ADA9-8A8CA4BD60D6}"/>
              </a:ext>
            </a:extLst>
          </p:cNvPr>
          <p:cNvPicPr>
            <a:picLocks noChangeAspect="1"/>
          </p:cNvPicPr>
          <p:nvPr/>
        </p:nvPicPr>
        <p:blipFill>
          <a:blip r:embed="rId2"/>
          <a:stretch>
            <a:fillRect/>
          </a:stretch>
        </p:blipFill>
        <p:spPr>
          <a:xfrm>
            <a:off x="6563107" y="2212170"/>
            <a:ext cx="2170148" cy="811270"/>
          </a:xfrm>
          <a:prstGeom prst="rect">
            <a:avLst/>
          </a:prstGeom>
        </p:spPr>
      </p:pic>
      <p:cxnSp>
        <p:nvCxnSpPr>
          <p:cNvPr id="24" name="Rett pilkobling 23">
            <a:extLst>
              <a:ext uri="{FF2B5EF4-FFF2-40B4-BE49-F238E27FC236}">
                <a16:creationId xmlns:a16="http://schemas.microsoft.com/office/drawing/2014/main" id="{FA93C578-8801-481A-9226-540C7EA5859C}"/>
              </a:ext>
            </a:extLst>
          </p:cNvPr>
          <p:cNvCxnSpPr>
            <a:cxnSpLocks/>
          </p:cNvCxnSpPr>
          <p:nvPr/>
        </p:nvCxnSpPr>
        <p:spPr>
          <a:xfrm>
            <a:off x="7777166" y="2907094"/>
            <a:ext cx="0" cy="70709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Rett linje 14">
            <a:extLst>
              <a:ext uri="{FF2B5EF4-FFF2-40B4-BE49-F238E27FC236}">
                <a16:creationId xmlns:a16="http://schemas.microsoft.com/office/drawing/2014/main" id="{FAE3F118-BBCB-41F9-9114-B48A13648618}"/>
              </a:ext>
            </a:extLst>
          </p:cNvPr>
          <p:cNvCxnSpPr>
            <a:cxnSpLocks/>
          </p:cNvCxnSpPr>
          <p:nvPr/>
        </p:nvCxnSpPr>
        <p:spPr>
          <a:xfrm flipV="1">
            <a:off x="2905232" y="2705117"/>
            <a:ext cx="3657875" cy="1"/>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FF912EFC-1A2A-4370-A61B-92EBE8EAA8A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50573" y="3145842"/>
            <a:ext cx="3426713" cy="127074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1">
            <a:extLst>
              <a:ext uri="{FF2B5EF4-FFF2-40B4-BE49-F238E27FC236}">
                <a16:creationId xmlns:a16="http://schemas.microsoft.com/office/drawing/2014/main" id="{E7E28A32-5C5C-4143-9FE1-2284E7CA9CD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8950" y="1805590"/>
            <a:ext cx="2148365" cy="1450701"/>
          </a:xfrm>
          <a:prstGeom prst="rect">
            <a:avLst/>
          </a:prstGeom>
        </p:spPr>
      </p:pic>
      <p:sp>
        <p:nvSpPr>
          <p:cNvPr id="4" name="Tittel 3">
            <a:extLst>
              <a:ext uri="{FF2B5EF4-FFF2-40B4-BE49-F238E27FC236}">
                <a16:creationId xmlns:a16="http://schemas.microsoft.com/office/drawing/2014/main" id="{9941A77A-F3E5-48EB-A326-C1427FFD684B}"/>
              </a:ext>
            </a:extLst>
          </p:cNvPr>
          <p:cNvSpPr>
            <a:spLocks noGrp="1"/>
          </p:cNvSpPr>
          <p:nvPr>
            <p:ph type="title"/>
          </p:nvPr>
        </p:nvSpPr>
        <p:spPr>
          <a:xfrm>
            <a:off x="233558" y="89383"/>
            <a:ext cx="11109600" cy="1080000"/>
          </a:xfrm>
        </p:spPr>
        <p:txBody>
          <a:bodyPr/>
          <a:lstStyle/>
          <a:p>
            <a:r>
              <a:rPr lang="nb-NO" err="1"/>
              <a:t>TIG</a:t>
            </a:r>
            <a:r>
              <a:rPr lang="nb-NO"/>
              <a:t> </a:t>
            </a:r>
            <a:r>
              <a:rPr lang="nb-NO" err="1"/>
              <a:t>Stack</a:t>
            </a:r>
            <a:r>
              <a:rPr lang="nb-NO"/>
              <a:t> </a:t>
            </a:r>
            <a:r>
              <a:rPr lang="nb-NO" err="1"/>
              <a:t>overview</a:t>
            </a:r>
            <a:endParaRPr lang="nb-NO"/>
          </a:p>
        </p:txBody>
      </p:sp>
      <p:sp>
        <p:nvSpPr>
          <p:cNvPr id="3" name="Plassholder for lysbildenummer 2">
            <a:extLst>
              <a:ext uri="{FF2B5EF4-FFF2-40B4-BE49-F238E27FC236}">
                <a16:creationId xmlns:a16="http://schemas.microsoft.com/office/drawing/2014/main" id="{030FCF2D-D655-4649-A342-F4585AA7D304}"/>
              </a:ext>
            </a:extLst>
          </p:cNvPr>
          <p:cNvSpPr>
            <a:spLocks noGrp="1"/>
          </p:cNvSpPr>
          <p:nvPr>
            <p:ph type="sldNum" sz="quarter" idx="12"/>
          </p:nvPr>
        </p:nvSpPr>
        <p:spPr>
          <a:xfrm>
            <a:off x="275219" y="6237890"/>
            <a:ext cx="900000" cy="450000"/>
          </a:xfrm>
        </p:spPr>
        <p:txBody>
          <a:bodyPr/>
          <a:lstStyle/>
          <a:p>
            <a:fld id="{2BD4C55C-91BA-4AEF-BEB5-575FB73C14D8}" type="slidenum">
              <a:rPr lang="uk-UA" smtClean="0"/>
              <a:pPr/>
              <a:t>81</a:t>
            </a:fld>
            <a:endParaRPr lang="uk-UA"/>
          </a:p>
        </p:txBody>
      </p:sp>
      <p:pic>
        <p:nvPicPr>
          <p:cNvPr id="8" name="Bilde 7">
            <a:extLst>
              <a:ext uri="{FF2B5EF4-FFF2-40B4-BE49-F238E27FC236}">
                <a16:creationId xmlns:a16="http://schemas.microsoft.com/office/drawing/2014/main" id="{D3EF2985-D129-4BB2-B31D-62DF912C2326}"/>
              </a:ext>
            </a:extLst>
          </p:cNvPr>
          <p:cNvPicPr>
            <a:picLocks noChangeAspect="1"/>
          </p:cNvPicPr>
          <p:nvPr/>
        </p:nvPicPr>
        <p:blipFill>
          <a:blip r:embed="rId5"/>
          <a:stretch>
            <a:fillRect/>
          </a:stretch>
        </p:blipFill>
        <p:spPr>
          <a:xfrm>
            <a:off x="1175219" y="2530941"/>
            <a:ext cx="1555825" cy="309833"/>
          </a:xfrm>
          <a:prstGeom prst="rect">
            <a:avLst/>
          </a:prstGeom>
        </p:spPr>
      </p:pic>
      <p:pic>
        <p:nvPicPr>
          <p:cNvPr id="12" name="Bilde 11">
            <a:extLst>
              <a:ext uri="{FF2B5EF4-FFF2-40B4-BE49-F238E27FC236}">
                <a16:creationId xmlns:a16="http://schemas.microsoft.com/office/drawing/2014/main" id="{F5E45912-9F46-4E65-84B6-D58007B4F232}"/>
              </a:ext>
            </a:extLst>
          </p:cNvPr>
          <p:cNvPicPr>
            <a:picLocks noChangeAspect="1"/>
          </p:cNvPicPr>
          <p:nvPr/>
        </p:nvPicPr>
        <p:blipFill>
          <a:blip r:embed="rId6"/>
          <a:stretch>
            <a:fillRect/>
          </a:stretch>
        </p:blipFill>
        <p:spPr>
          <a:xfrm>
            <a:off x="6610617" y="4593695"/>
            <a:ext cx="2122639" cy="645397"/>
          </a:xfrm>
          <a:prstGeom prst="rect">
            <a:avLst/>
          </a:prstGeom>
        </p:spPr>
      </p:pic>
      <p:sp>
        <p:nvSpPr>
          <p:cNvPr id="20" name="TekstSylinder 19">
            <a:extLst>
              <a:ext uri="{FF2B5EF4-FFF2-40B4-BE49-F238E27FC236}">
                <a16:creationId xmlns:a16="http://schemas.microsoft.com/office/drawing/2014/main" id="{3D3BBE5A-5045-464B-A43D-CD18323AAEC1}"/>
              </a:ext>
            </a:extLst>
          </p:cNvPr>
          <p:cNvSpPr txBox="1"/>
          <p:nvPr/>
        </p:nvSpPr>
        <p:spPr>
          <a:xfrm>
            <a:off x="4032346" y="2358095"/>
            <a:ext cx="2052550" cy="369332"/>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gRPC</a:t>
            </a:r>
            <a:r>
              <a:rPr lang="nb-NO">
                <a:latin typeface="Tahoma" panose="020B0604030504040204" pitchFamily="34" charset="0"/>
                <a:ea typeface="Tahoma" panose="020B0604030504040204" pitchFamily="34" charset="0"/>
                <a:cs typeface="Tahoma" panose="020B0604030504040204" pitchFamily="34" charset="0"/>
              </a:rPr>
              <a:t> / TCP 57000</a:t>
            </a:r>
          </a:p>
        </p:txBody>
      </p:sp>
      <p:sp>
        <p:nvSpPr>
          <p:cNvPr id="27" name="TekstSylinder 26">
            <a:extLst>
              <a:ext uri="{FF2B5EF4-FFF2-40B4-BE49-F238E27FC236}">
                <a16:creationId xmlns:a16="http://schemas.microsoft.com/office/drawing/2014/main" id="{33F8AD58-191B-40FA-ACB9-A3EAC8098A3D}"/>
              </a:ext>
            </a:extLst>
          </p:cNvPr>
          <p:cNvSpPr txBox="1"/>
          <p:nvPr/>
        </p:nvSpPr>
        <p:spPr>
          <a:xfrm>
            <a:off x="1496008" y="2838798"/>
            <a:ext cx="936475" cy="369332"/>
          </a:xfrm>
          <a:prstGeom prst="rect">
            <a:avLst/>
          </a:prstGeom>
          <a:noFill/>
        </p:spPr>
        <p:txBody>
          <a:bodyPr wrap="none" rtlCol="0">
            <a:spAutoFit/>
          </a:bodyPr>
          <a:lstStyle/>
          <a:p>
            <a:r>
              <a:rPr lang="nb-NO" err="1"/>
              <a:t>C9800</a:t>
            </a:r>
            <a:endParaRPr lang="nb-NO"/>
          </a:p>
        </p:txBody>
      </p:sp>
      <p:sp>
        <p:nvSpPr>
          <p:cNvPr id="36" name="TekstSylinder 35">
            <a:extLst>
              <a:ext uri="{FF2B5EF4-FFF2-40B4-BE49-F238E27FC236}">
                <a16:creationId xmlns:a16="http://schemas.microsoft.com/office/drawing/2014/main" id="{76228BA0-9EA6-4229-B721-227565F4B807}"/>
              </a:ext>
            </a:extLst>
          </p:cNvPr>
          <p:cNvSpPr txBox="1"/>
          <p:nvPr/>
        </p:nvSpPr>
        <p:spPr>
          <a:xfrm>
            <a:off x="7761315" y="3080263"/>
            <a:ext cx="3140194" cy="369284"/>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metrics</a:t>
            </a:r>
            <a:r>
              <a:rPr lang="nb-NO">
                <a:latin typeface="Tahoma" panose="020B0604030504040204" pitchFamily="34" charset="0"/>
                <a:ea typeface="Tahoma" panose="020B0604030504040204" pitchFamily="34" charset="0"/>
                <a:cs typeface="Tahoma" panose="020B0604030504040204" pitchFamily="34" charset="0"/>
              </a:rPr>
              <a:t> </a:t>
            </a:r>
            <a:r>
              <a:rPr lang="nb-NO" err="1">
                <a:latin typeface="Tahoma" panose="020B0604030504040204" pitchFamily="34" charset="0"/>
                <a:ea typeface="Tahoma" panose="020B0604030504040204" pitchFamily="34" charset="0"/>
                <a:cs typeface="Tahoma" panose="020B0604030504040204" pitchFamily="34" charset="0"/>
              </a:rPr>
              <a:t>goes</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the</a:t>
            </a:r>
            <a:r>
              <a:rPr lang="nb-NO">
                <a:latin typeface="Tahoma" panose="020B0604030504040204" pitchFamily="34" charset="0"/>
                <a:ea typeface="Tahoma" panose="020B0604030504040204" pitchFamily="34" charset="0"/>
                <a:cs typeface="Tahoma" panose="020B0604030504040204" pitchFamily="34" charset="0"/>
              </a:rPr>
              <a:t> database</a:t>
            </a:r>
          </a:p>
        </p:txBody>
      </p:sp>
      <p:cxnSp>
        <p:nvCxnSpPr>
          <p:cNvPr id="37" name="Rett pilkobling 36">
            <a:extLst>
              <a:ext uri="{FF2B5EF4-FFF2-40B4-BE49-F238E27FC236}">
                <a16:creationId xmlns:a16="http://schemas.microsoft.com/office/drawing/2014/main" id="{B76043B2-6D1D-417A-AB48-116DB32A60B0}"/>
              </a:ext>
            </a:extLst>
          </p:cNvPr>
          <p:cNvCxnSpPr>
            <a:cxnSpLocks/>
          </p:cNvCxnSpPr>
          <p:nvPr/>
        </p:nvCxnSpPr>
        <p:spPr>
          <a:xfrm>
            <a:off x="7786693" y="4066971"/>
            <a:ext cx="0" cy="60456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40" name="TekstSylinder 39">
            <a:extLst>
              <a:ext uri="{FF2B5EF4-FFF2-40B4-BE49-F238E27FC236}">
                <a16:creationId xmlns:a16="http://schemas.microsoft.com/office/drawing/2014/main" id="{07FDF74E-2FC5-4506-B69A-DFD6438D9DD6}"/>
              </a:ext>
            </a:extLst>
          </p:cNvPr>
          <p:cNvSpPr txBox="1"/>
          <p:nvPr/>
        </p:nvSpPr>
        <p:spPr>
          <a:xfrm>
            <a:off x="7814443" y="4090845"/>
            <a:ext cx="2167305" cy="369284"/>
          </a:xfrm>
          <a:prstGeom prst="rect">
            <a:avLst/>
          </a:prstGeom>
          <a:noFill/>
        </p:spPr>
        <p:txBody>
          <a:bodyPr wrap="square">
            <a:spAutoFit/>
          </a:bodyPr>
          <a:lstStyle/>
          <a:p>
            <a:r>
              <a:rPr lang="nb-NO" err="1">
                <a:latin typeface="Tahoma" panose="020B0604030504040204" pitchFamily="34" charset="0"/>
                <a:ea typeface="Tahoma" panose="020B0604030504040204" pitchFamily="34" charset="0"/>
                <a:cs typeface="Tahoma" panose="020B0604030504040204" pitchFamily="34" charset="0"/>
              </a:rPr>
              <a:t>Grafana</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visualize</a:t>
            </a:r>
            <a:endParaRPr lang="nb-NO">
              <a:latin typeface="Tahoma" panose="020B0604030504040204" pitchFamily="34" charset="0"/>
              <a:ea typeface="Tahoma" panose="020B0604030504040204" pitchFamily="34" charset="0"/>
              <a:cs typeface="Tahoma" panose="020B0604030504040204" pitchFamily="34" charset="0"/>
            </a:endParaRPr>
          </a:p>
        </p:txBody>
      </p:sp>
      <p:sp>
        <p:nvSpPr>
          <p:cNvPr id="41" name="TekstSylinder 40">
            <a:extLst>
              <a:ext uri="{FF2B5EF4-FFF2-40B4-BE49-F238E27FC236}">
                <a16:creationId xmlns:a16="http://schemas.microsoft.com/office/drawing/2014/main" id="{1B9231B8-A2FD-4B59-A088-94C929EA9C38}"/>
              </a:ext>
            </a:extLst>
          </p:cNvPr>
          <p:cNvSpPr txBox="1"/>
          <p:nvPr/>
        </p:nvSpPr>
        <p:spPr>
          <a:xfrm>
            <a:off x="8545837" y="3581256"/>
            <a:ext cx="1157923" cy="369284"/>
          </a:xfrm>
          <a:prstGeom prst="rect">
            <a:avLst/>
          </a:prstGeom>
          <a:noFill/>
        </p:spPr>
        <p:txBody>
          <a:bodyPr wrap="non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8086</a:t>
            </a:r>
          </a:p>
        </p:txBody>
      </p:sp>
      <p:sp>
        <p:nvSpPr>
          <p:cNvPr id="42" name="TekstSylinder 41">
            <a:extLst>
              <a:ext uri="{FF2B5EF4-FFF2-40B4-BE49-F238E27FC236}">
                <a16:creationId xmlns:a16="http://schemas.microsoft.com/office/drawing/2014/main" id="{F8572590-5537-48EB-9E54-797BF497CBAD}"/>
              </a:ext>
            </a:extLst>
          </p:cNvPr>
          <p:cNvSpPr txBox="1"/>
          <p:nvPr/>
        </p:nvSpPr>
        <p:spPr>
          <a:xfrm>
            <a:off x="8674731" y="4788859"/>
            <a:ext cx="1157923" cy="369284"/>
          </a:xfrm>
          <a:prstGeom prst="rect">
            <a:avLst/>
          </a:prstGeom>
          <a:noFill/>
        </p:spPr>
        <p:txBody>
          <a:bodyPr wrap="non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3000</a:t>
            </a:r>
          </a:p>
        </p:txBody>
      </p:sp>
      <p:sp>
        <p:nvSpPr>
          <p:cNvPr id="33" name="Rektangel: avrundede hjørner 32">
            <a:extLst>
              <a:ext uri="{FF2B5EF4-FFF2-40B4-BE49-F238E27FC236}">
                <a16:creationId xmlns:a16="http://schemas.microsoft.com/office/drawing/2014/main" id="{B852FF27-2742-470E-BF5F-E35946052875}"/>
              </a:ext>
            </a:extLst>
          </p:cNvPr>
          <p:cNvSpPr/>
          <p:nvPr/>
        </p:nvSpPr>
        <p:spPr>
          <a:xfrm>
            <a:off x="6563107" y="2146946"/>
            <a:ext cx="4386012" cy="32914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Tahoma" charset="0"/>
              <a:ea typeface="Tahoma" charset="0"/>
              <a:cs typeface="Tahoma" charset="0"/>
            </a:endParaRPr>
          </a:p>
        </p:txBody>
      </p:sp>
      <p:pic>
        <p:nvPicPr>
          <p:cNvPr id="9" name="Graphic 286">
            <a:extLst>
              <a:ext uri="{FF2B5EF4-FFF2-40B4-BE49-F238E27FC236}">
                <a16:creationId xmlns:a16="http://schemas.microsoft.com/office/drawing/2014/main" id="{809E2451-DB6A-41FC-9C3A-0D747846BD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01535" y="957238"/>
            <a:ext cx="1152375" cy="1599992"/>
          </a:xfrm>
          <a:prstGeom prst="rect">
            <a:avLst/>
          </a:prstGeom>
        </p:spPr>
      </p:pic>
      <p:pic>
        <p:nvPicPr>
          <p:cNvPr id="3074" name="Picture 2" descr="Docker Logos | Docker">
            <a:extLst>
              <a:ext uri="{FF2B5EF4-FFF2-40B4-BE49-F238E27FC236}">
                <a16:creationId xmlns:a16="http://schemas.microsoft.com/office/drawing/2014/main" id="{9CFEE451-DEA3-4FDB-8856-AC7F336DCB1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189461" y="1491292"/>
            <a:ext cx="1916783" cy="1373695"/>
          </a:xfrm>
          <a:prstGeom prst="rect">
            <a:avLst/>
          </a:prstGeom>
          <a:noFill/>
          <a:extLst>
            <a:ext uri="{909E8E84-426E-40DD-AFC4-6F175D3DCCD1}">
              <a14:hiddenFill xmlns:a14="http://schemas.microsoft.com/office/drawing/2010/main">
                <a:solidFill>
                  <a:srgbClr val="FFFFFF"/>
                </a:solidFill>
              </a14:hiddenFill>
            </a:ext>
          </a:extLst>
        </p:spPr>
      </p:pic>
      <p:pic>
        <p:nvPicPr>
          <p:cNvPr id="45" name="Graphic 278">
            <a:extLst>
              <a:ext uri="{FF2B5EF4-FFF2-40B4-BE49-F238E27FC236}">
                <a16:creationId xmlns:a16="http://schemas.microsoft.com/office/drawing/2014/main" id="{743AFE82-D612-43B4-B640-B6D504E4C5A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97795" y="4135913"/>
            <a:ext cx="1380945" cy="1599992"/>
          </a:xfrm>
          <a:prstGeom prst="rect">
            <a:avLst/>
          </a:prstGeom>
        </p:spPr>
      </p:pic>
      <p:cxnSp>
        <p:nvCxnSpPr>
          <p:cNvPr id="50" name="Rett linje 49">
            <a:extLst>
              <a:ext uri="{FF2B5EF4-FFF2-40B4-BE49-F238E27FC236}">
                <a16:creationId xmlns:a16="http://schemas.microsoft.com/office/drawing/2014/main" id="{D4DCA802-C27B-4AB4-B476-C2CD159247D3}"/>
              </a:ext>
            </a:extLst>
          </p:cNvPr>
          <p:cNvCxnSpPr>
            <a:cxnSpLocks/>
            <a:stCxn id="45" idx="3"/>
          </p:cNvCxnSpPr>
          <p:nvPr/>
        </p:nvCxnSpPr>
        <p:spPr>
          <a:xfrm>
            <a:off x="4178739" y="4935909"/>
            <a:ext cx="2384367"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5" name="TekstSylinder 54">
            <a:extLst>
              <a:ext uri="{FF2B5EF4-FFF2-40B4-BE49-F238E27FC236}">
                <a16:creationId xmlns:a16="http://schemas.microsoft.com/office/drawing/2014/main" id="{3C2608EB-DCD8-49F8-A3AB-E645C41F888C}"/>
              </a:ext>
            </a:extLst>
          </p:cNvPr>
          <p:cNvSpPr txBox="1"/>
          <p:nvPr/>
        </p:nvSpPr>
        <p:spPr>
          <a:xfrm>
            <a:off x="4193383" y="4597564"/>
            <a:ext cx="2357261" cy="369284"/>
          </a:xfrm>
          <a:prstGeom prst="rect">
            <a:avLst/>
          </a:prstGeom>
          <a:noFill/>
        </p:spPr>
        <p:txBody>
          <a:bodyPr wrap="non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WebUI</a:t>
            </a:r>
            <a:r>
              <a:rPr lang="nb-NO">
                <a:latin typeface="Tahoma" panose="020B0604030504040204" pitchFamily="34" charset="0"/>
                <a:ea typeface="Tahoma" panose="020B0604030504040204" pitchFamily="34" charset="0"/>
                <a:cs typeface="Tahoma" panose="020B0604030504040204" pitchFamily="34" charset="0"/>
              </a:rPr>
              <a:t> - </a:t>
            </a:r>
            <a:r>
              <a:rPr lang="nb-NO" err="1">
                <a:latin typeface="Tahoma" panose="020B0604030504040204" pitchFamily="34" charset="0"/>
                <a:ea typeface="Tahoma" panose="020B0604030504040204" pitchFamily="34" charset="0"/>
                <a:cs typeface="Tahoma" panose="020B0604030504040204" pitchFamily="34" charset="0"/>
              </a:rPr>
              <a:t>server:3000</a:t>
            </a:r>
            <a:endParaRPr lang="nb-NO">
              <a:latin typeface="Tahoma" panose="020B0604030504040204" pitchFamily="34" charset="0"/>
              <a:ea typeface="Tahoma" panose="020B0604030504040204" pitchFamily="34" charset="0"/>
              <a:cs typeface="Tahoma" panose="020B0604030504040204" pitchFamily="34" charset="0"/>
            </a:endParaRPr>
          </a:p>
        </p:txBody>
      </p:sp>
      <p:sp>
        <p:nvSpPr>
          <p:cNvPr id="51" name="Snakkeboble: oval 50">
            <a:extLst>
              <a:ext uri="{FF2B5EF4-FFF2-40B4-BE49-F238E27FC236}">
                <a16:creationId xmlns:a16="http://schemas.microsoft.com/office/drawing/2014/main" id="{FA436203-7D96-47D5-B8C0-506644B5BDE7}"/>
              </a:ext>
            </a:extLst>
          </p:cNvPr>
          <p:cNvSpPr/>
          <p:nvPr/>
        </p:nvSpPr>
        <p:spPr>
          <a:xfrm>
            <a:off x="3104981" y="3401768"/>
            <a:ext cx="1097564" cy="791390"/>
          </a:xfrm>
          <a:prstGeom prst="wedgeEllipse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latin typeface="Tahoma" charset="0"/>
                <a:ea typeface="Tahoma" charset="0"/>
                <a:cs typeface="Tahoma" charset="0"/>
              </a:rPr>
              <a:t>Wow! </a:t>
            </a:r>
          </a:p>
        </p:txBody>
      </p:sp>
      <p:pic>
        <p:nvPicPr>
          <p:cNvPr id="10" name="Picture 9" descr="A blue logo with a black background&#10;&#10;Description automatically generated">
            <a:extLst>
              <a:ext uri="{FF2B5EF4-FFF2-40B4-BE49-F238E27FC236}">
                <a16:creationId xmlns:a16="http://schemas.microsoft.com/office/drawing/2014/main" id="{B9766AF7-9548-3BB4-B4D8-9B507A47458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90772" y="4973501"/>
            <a:ext cx="1703044" cy="708180"/>
          </a:xfrm>
          <a:prstGeom prst="rect">
            <a:avLst/>
          </a:prstGeom>
        </p:spPr>
      </p:pic>
      <p:sp>
        <p:nvSpPr>
          <p:cNvPr id="5" name="Footer Placeholder 6">
            <a:extLst>
              <a:ext uri="{FF2B5EF4-FFF2-40B4-BE49-F238E27FC236}">
                <a16:creationId xmlns:a16="http://schemas.microsoft.com/office/drawing/2014/main" id="{38FB9DFA-3157-1960-D22E-E946DC4CBC4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6F84CC48-36DF-35F3-EBA0-316CF1C39A4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2" name="Picture 1">
            <a:extLst>
              <a:ext uri="{FF2B5EF4-FFF2-40B4-BE49-F238E27FC236}">
                <a16:creationId xmlns:a16="http://schemas.microsoft.com/office/drawing/2014/main" id="{3CC0B268-DE12-B9B9-1F6B-34E4015CFA4C}"/>
              </a:ext>
            </a:extLst>
          </p:cNvPr>
          <p:cNvPicPr>
            <a:picLocks noChangeAspect="1"/>
          </p:cNvPicPr>
          <p:nvPr/>
        </p:nvPicPr>
        <p:blipFill>
          <a:blip r:embed="rId13"/>
          <a:stretch>
            <a:fillRect/>
          </a:stretch>
        </p:blipFill>
        <p:spPr>
          <a:xfrm>
            <a:off x="3580126" y="4437949"/>
            <a:ext cx="633506" cy="350909"/>
          </a:xfrm>
          <a:prstGeom prst="rect">
            <a:avLst/>
          </a:prstGeom>
        </p:spPr>
      </p:pic>
      <p:pic>
        <p:nvPicPr>
          <p:cNvPr id="11" name="Picture 10" descr="A blue logo with a black background&#10;&#10;Description automatically generated">
            <a:extLst>
              <a:ext uri="{FF2B5EF4-FFF2-40B4-BE49-F238E27FC236}">
                <a16:creationId xmlns:a16="http://schemas.microsoft.com/office/drawing/2014/main" id="{D7FCCE69-7E02-DE4E-0C24-5E64674987D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20542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Installation of Telegraf on Ubuntu 20.04 | by Vijay ...">
            <a:extLst>
              <a:ext uri="{FF2B5EF4-FFF2-40B4-BE49-F238E27FC236}">
                <a16:creationId xmlns:a16="http://schemas.microsoft.com/office/drawing/2014/main" id="{E2C413B2-55E0-CC98-9E28-723D344DE6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000" y="1062056"/>
            <a:ext cx="2755969" cy="1271986"/>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he TIG in the TIG stack</a:t>
            </a:r>
          </a:p>
        </p:txBody>
      </p:sp>
      <p:sp>
        <p:nvSpPr>
          <p:cNvPr id="4" name="The distance between the headline and the start of the body copy is always constant.…">
            <a:extLst>
              <a:ext uri="{FF2B5EF4-FFF2-40B4-BE49-F238E27FC236}">
                <a16:creationId xmlns:a16="http://schemas.microsoft.com/office/drawing/2014/main" id="{7B2B45CA-95BD-2704-AA56-E8D306F64CB7}"/>
              </a:ext>
            </a:extLst>
          </p:cNvPr>
          <p:cNvSpPr txBox="1">
            <a:spLocks/>
          </p:cNvSpPr>
          <p:nvPr/>
        </p:nvSpPr>
        <p:spPr bwMode="gray">
          <a:xfrm>
            <a:off x="540000" y="2657429"/>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Open Source Agent: </a:t>
            </a:r>
            <a:r>
              <a:rPr lang="en-US" sz="1600"/>
              <a:t>Collects and sends metrics from databases, systems, and IoT devices</a:t>
            </a:r>
            <a:endParaRPr lang="nb-NO" sz="1600"/>
          </a:p>
          <a:p>
            <a:pPr>
              <a:lnSpc>
                <a:spcPct val="110000"/>
              </a:lnSpc>
            </a:pPr>
            <a:r>
              <a:rPr lang="en-US" sz="1600" b="1"/>
              <a:t>Versatile Monitoring: </a:t>
            </a:r>
            <a:r>
              <a:rPr lang="en-US" sz="1600"/>
              <a:t>Works with databases, systems, and IoT sensors</a:t>
            </a:r>
            <a:endParaRPr lang="nb-NO" sz="1600"/>
          </a:p>
        </p:txBody>
      </p:sp>
      <p:sp>
        <p:nvSpPr>
          <p:cNvPr id="6" name="Footer Placeholder 6">
            <a:extLst>
              <a:ext uri="{FF2B5EF4-FFF2-40B4-BE49-F238E27FC236}">
                <a16:creationId xmlns:a16="http://schemas.microsoft.com/office/drawing/2014/main" id="{E608A65F-B9C5-1984-F17F-8C6358DBAB3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4BBD0E0B-CE5A-A623-9813-5C4BAB3A6CC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8" name="Picture 2" descr="InfluxDB - Wikipedia">
            <a:extLst>
              <a:ext uri="{FF2B5EF4-FFF2-40B4-BE49-F238E27FC236}">
                <a16:creationId xmlns:a16="http://schemas.microsoft.com/office/drawing/2014/main" id="{B978A251-72A0-BC4D-8943-8BEC7FB15AFB}"/>
              </a:ext>
            </a:extLst>
          </p:cNvPr>
          <p:cNvPicPr>
            <a:picLocks noGrp="1" noChangeAspect="1" noChangeArrowheads="1"/>
          </p:cNvPicPr>
          <p:nvPr>
            <p:ph idx="1"/>
          </p:nvPr>
        </p:nvPicPr>
        <p:blipFill>
          <a:blip r:embed="rId4" cstate="print">
            <a:extLst>
              <a:ext uri="{28A0092B-C50C-407E-A947-70E740481C1C}">
                <a14:useLocalDpi xmlns:a14="http://schemas.microsoft.com/office/drawing/2010/main" val="0"/>
              </a:ext>
            </a:extLst>
          </a:blip>
          <a:srcRect/>
          <a:stretch>
            <a:fillRect/>
          </a:stretch>
        </p:blipFill>
        <p:spPr bwMode="auto">
          <a:xfrm>
            <a:off x="4156993" y="1014294"/>
            <a:ext cx="3682716" cy="1367510"/>
          </a:xfrm>
          <a:prstGeom prst="rect">
            <a:avLst/>
          </a:prstGeom>
          <a:noFill/>
          <a:extLst>
            <a:ext uri="{909E8E84-426E-40DD-AFC4-6F175D3DCCD1}">
              <a14:hiddenFill xmlns:a14="http://schemas.microsoft.com/office/drawing/2010/main">
                <a:solidFill>
                  <a:srgbClr val="FFFFFF"/>
                </a:solidFill>
              </a14:hiddenFill>
            </a:ext>
          </a:extLst>
        </p:spPr>
      </p:pic>
      <p:sp>
        <p:nvSpPr>
          <p:cNvPr id="9" name="The distance between the headline and the start of the body copy is always constant.…">
            <a:extLst>
              <a:ext uri="{FF2B5EF4-FFF2-40B4-BE49-F238E27FC236}">
                <a16:creationId xmlns:a16="http://schemas.microsoft.com/office/drawing/2014/main" id="{18CB23D5-D297-3031-111E-DFDE531C75C9}"/>
              </a:ext>
            </a:extLst>
          </p:cNvPr>
          <p:cNvSpPr txBox="1">
            <a:spLocks/>
          </p:cNvSpPr>
          <p:nvPr/>
        </p:nvSpPr>
        <p:spPr bwMode="gray">
          <a:xfrm>
            <a:off x="4156993" y="2506085"/>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endParaRPr lang="nb-NO" sz="1600"/>
          </a:p>
          <a:p>
            <a:pPr>
              <a:lnSpc>
                <a:spcPct val="110000"/>
              </a:lnSpc>
            </a:pPr>
            <a:endParaRPr lang="nb-NO" sz="1600"/>
          </a:p>
        </p:txBody>
      </p:sp>
      <p:sp>
        <p:nvSpPr>
          <p:cNvPr id="16" name="The distance between the headline and the start of the body copy is always constant.…">
            <a:extLst>
              <a:ext uri="{FF2B5EF4-FFF2-40B4-BE49-F238E27FC236}">
                <a16:creationId xmlns:a16="http://schemas.microsoft.com/office/drawing/2014/main" id="{39B5BA0D-BFAD-CCA9-43FF-F14FA2DE742A}"/>
              </a:ext>
            </a:extLst>
          </p:cNvPr>
          <p:cNvSpPr txBox="1">
            <a:spLocks/>
          </p:cNvSpPr>
          <p:nvPr/>
        </p:nvSpPr>
        <p:spPr bwMode="gray">
          <a:xfrm>
            <a:off x="4408852" y="2657429"/>
            <a:ext cx="3535043" cy="3146768"/>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Time Series Data at Scale:</a:t>
            </a:r>
            <a:r>
              <a:rPr lang="en-US" sz="1600"/>
              <a:t> Store and query large volumes of time-stamped data</a:t>
            </a:r>
          </a:p>
          <a:p>
            <a:pPr>
              <a:lnSpc>
                <a:spcPct val="110000"/>
              </a:lnSpc>
            </a:pPr>
            <a:r>
              <a:rPr lang="en-US" sz="1600" b="1"/>
              <a:t>Real Time Analytics:</a:t>
            </a:r>
            <a:r>
              <a:rPr lang="en-US" sz="1600"/>
              <a:t> Fast processing for immediate insights</a:t>
            </a:r>
            <a:br>
              <a:rPr lang="en-US" sz="1600"/>
            </a:br>
            <a:endParaRPr lang="en-US" sz="1600"/>
          </a:p>
          <a:p>
            <a:pPr>
              <a:lnSpc>
                <a:spcPct val="110000"/>
              </a:lnSpc>
            </a:pPr>
            <a:r>
              <a:rPr lang="en-US" sz="1600" b="1"/>
              <a:t>Seamless Integration:</a:t>
            </a:r>
            <a:r>
              <a:rPr lang="en-US" sz="1600"/>
              <a:t> Compatible with various tools and platforms</a:t>
            </a:r>
          </a:p>
        </p:txBody>
      </p:sp>
      <p:pic>
        <p:nvPicPr>
          <p:cNvPr id="2" name="Picture 4">
            <a:extLst>
              <a:ext uri="{FF2B5EF4-FFF2-40B4-BE49-F238E27FC236}">
                <a16:creationId xmlns:a16="http://schemas.microsoft.com/office/drawing/2014/main" id="{2887199D-8555-F2C0-F458-9DCD4D71310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80496" y="1015708"/>
            <a:ext cx="1333430" cy="1364682"/>
          </a:xfrm>
          <a:prstGeom prst="rect">
            <a:avLst/>
          </a:prstGeom>
          <a:noFill/>
          <a:extLst>
            <a:ext uri="{909E8E84-426E-40DD-AFC4-6F175D3DCCD1}">
              <a14:hiddenFill xmlns:a14="http://schemas.microsoft.com/office/drawing/2010/main">
                <a:solidFill>
                  <a:srgbClr val="FFFFFF"/>
                </a:solidFill>
              </a14:hiddenFill>
            </a:ext>
          </a:extLst>
        </p:spPr>
      </p:pic>
      <p:sp>
        <p:nvSpPr>
          <p:cNvPr id="3" name="The distance between the headline and the start of the body copy is always constant.…">
            <a:extLst>
              <a:ext uri="{FF2B5EF4-FFF2-40B4-BE49-F238E27FC236}">
                <a16:creationId xmlns:a16="http://schemas.microsoft.com/office/drawing/2014/main" id="{F413C8AF-5ADF-796B-05EF-5C4BAC838722}"/>
              </a:ext>
            </a:extLst>
          </p:cNvPr>
          <p:cNvSpPr txBox="1">
            <a:spLocks/>
          </p:cNvSpPr>
          <p:nvPr/>
        </p:nvSpPr>
        <p:spPr bwMode="gray">
          <a:xfrm>
            <a:off x="8277703" y="2657429"/>
            <a:ext cx="3535043" cy="3146768"/>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b="1"/>
              <a:t>Visualize Anything: </a:t>
            </a:r>
            <a:r>
              <a:rPr lang="en-US" sz="1600"/>
              <a:t>Create dashboards for any data</a:t>
            </a:r>
          </a:p>
          <a:p>
            <a:pPr>
              <a:lnSpc>
                <a:spcPct val="110000"/>
              </a:lnSpc>
            </a:pPr>
            <a:r>
              <a:rPr lang="en-US" sz="1600" b="1"/>
              <a:t>Real Time Insights: </a:t>
            </a:r>
            <a:r>
              <a:rPr lang="en-US" sz="1600"/>
              <a:t>Customizable, interactive visuals</a:t>
            </a:r>
          </a:p>
          <a:p>
            <a:pPr>
              <a:lnSpc>
                <a:spcPct val="110000"/>
              </a:lnSpc>
            </a:pPr>
            <a:r>
              <a:rPr lang="en-US" sz="1600" b="1"/>
              <a:t>Flexible Integration: </a:t>
            </a:r>
            <a:r>
              <a:rPr lang="en-US" sz="1600"/>
              <a:t>Connects to multiple data sources</a:t>
            </a:r>
            <a:endParaRPr lang="nb-NO" sz="1600"/>
          </a:p>
          <a:p>
            <a:pPr>
              <a:lnSpc>
                <a:spcPct val="110000"/>
              </a:lnSpc>
            </a:pPr>
            <a:endParaRPr lang="nb-NO" sz="1600"/>
          </a:p>
        </p:txBody>
      </p:sp>
      <p:pic>
        <p:nvPicPr>
          <p:cNvPr id="5" name="Picture 4" descr="A blue logo with a black background&#10;&#10;Description automatically generated">
            <a:extLst>
              <a:ext uri="{FF2B5EF4-FFF2-40B4-BE49-F238E27FC236}">
                <a16:creationId xmlns:a16="http://schemas.microsoft.com/office/drawing/2014/main" id="{EC1178FA-4878-E423-7F2B-4CE51DC99A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87525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3</a:t>
            </a:fld>
            <a:endParaRPr lang="en-GB"/>
          </a:p>
        </p:txBody>
      </p:sp>
      <p:sp>
        <p:nvSpPr>
          <p:cNvPr id="7" name="The distance between the headline and the start of the body copy is always constant.…">
            <a:extLst>
              <a:ext uri="{FF2B5EF4-FFF2-40B4-BE49-F238E27FC236}">
                <a16:creationId xmlns:a16="http://schemas.microsoft.com/office/drawing/2014/main" id="{09A20890-2FF6-48B1-61C4-4497CEDCF140}"/>
              </a:ext>
            </a:extLst>
          </p:cNvPr>
          <p:cNvSpPr txBox="1">
            <a:spLocks/>
          </p:cNvSpPr>
          <p:nvPr/>
        </p:nvSpPr>
        <p:spPr bwMode="gray">
          <a:xfrm>
            <a:off x="294839" y="2997599"/>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1.x - </a:t>
            </a:r>
            <a:r>
              <a:rPr lang="nb-NO" sz="1400" err="1"/>
              <a:t>InfluxQL</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pic>
        <p:nvPicPr>
          <p:cNvPr id="1028" name="Picture 4" descr="graf-db1-query">
            <a:extLst>
              <a:ext uri="{FF2B5EF4-FFF2-40B4-BE49-F238E27FC236}">
                <a16:creationId xmlns:a16="http://schemas.microsoft.com/office/drawing/2014/main" id="{ABB3A1EB-5D5E-1068-2C1A-A6CA3820C4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4839" y="1001190"/>
            <a:ext cx="5281013" cy="216521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raf-db2-query">
            <a:extLst>
              <a:ext uri="{FF2B5EF4-FFF2-40B4-BE49-F238E27FC236}">
                <a16:creationId xmlns:a16="http://schemas.microsoft.com/office/drawing/2014/main" id="{FFC20655-F26E-16FB-82F9-B528DCA19FA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9550" b="24421"/>
          <a:stretch/>
        </p:blipFill>
        <p:spPr bwMode="auto">
          <a:xfrm>
            <a:off x="6372911" y="1001190"/>
            <a:ext cx="5522663" cy="215882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103531-CD2A-899D-77D8-0F3237536242}"/>
              </a:ext>
            </a:extLst>
          </p:cNvPr>
          <p:cNvPicPr>
            <a:picLocks noChangeAspect="1"/>
          </p:cNvPicPr>
          <p:nvPr/>
        </p:nvPicPr>
        <p:blipFill>
          <a:blip r:embed="rId5"/>
          <a:stretch>
            <a:fillRect/>
          </a:stretch>
        </p:blipFill>
        <p:spPr>
          <a:xfrm>
            <a:off x="3255956" y="3337619"/>
            <a:ext cx="5678499" cy="2512510"/>
          </a:xfrm>
          <a:prstGeom prst="rect">
            <a:avLst/>
          </a:prstGeom>
        </p:spPr>
      </p:pic>
      <p:sp>
        <p:nvSpPr>
          <p:cNvPr id="2" name="Footer Placeholder 6">
            <a:extLst>
              <a:ext uri="{FF2B5EF4-FFF2-40B4-BE49-F238E27FC236}">
                <a16:creationId xmlns:a16="http://schemas.microsoft.com/office/drawing/2014/main" id="{46DF7738-42A1-8C66-D062-51901113189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8C1DF1F2-C95B-AB58-1B3A-7CE8CFCA2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9" name="Text+Image 50:50">
            <a:extLst>
              <a:ext uri="{FF2B5EF4-FFF2-40B4-BE49-F238E27FC236}">
                <a16:creationId xmlns:a16="http://schemas.microsoft.com/office/drawing/2014/main" id="{B66C70C0-D173-ED33-D98B-8B27F37F9FD3}"/>
              </a:ext>
            </a:extLst>
          </p:cNvPr>
          <p:cNvSpPr txBox="1">
            <a:spLocks noGrp="1"/>
          </p:cNvSpPr>
          <p:nvPr>
            <p:ph type="title"/>
          </p:nvPr>
        </p:nvSpPr>
        <p:spPr>
          <a:xfrm>
            <a:off x="540000" y="432000"/>
            <a:ext cx="11109600" cy="540000"/>
          </a:xfrm>
        </p:spPr>
        <p:txBody>
          <a:bodyPr anchor="ctr">
            <a:normAutofit/>
          </a:bodyPr>
          <a:lstStyle/>
          <a:p>
            <a:r>
              <a:rPr lang="en-GB"/>
              <a:t>Different flavours of Influx</a:t>
            </a:r>
          </a:p>
        </p:txBody>
      </p:sp>
      <p:sp>
        <p:nvSpPr>
          <p:cNvPr id="14" name="The distance between the headline and the start of the body copy is always constant.…">
            <a:extLst>
              <a:ext uri="{FF2B5EF4-FFF2-40B4-BE49-F238E27FC236}">
                <a16:creationId xmlns:a16="http://schemas.microsoft.com/office/drawing/2014/main" id="{28E34A08-B319-0484-B666-1844E85C4B34}"/>
              </a:ext>
            </a:extLst>
          </p:cNvPr>
          <p:cNvSpPr txBox="1">
            <a:spLocks/>
          </p:cNvSpPr>
          <p:nvPr/>
        </p:nvSpPr>
        <p:spPr bwMode="gray">
          <a:xfrm>
            <a:off x="9732295" y="522001"/>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2.x - </a:t>
            </a:r>
            <a:r>
              <a:rPr lang="nb-NO" sz="1400"/>
              <a:t>FLUX</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sp>
        <p:nvSpPr>
          <p:cNvPr id="15" name="The distance between the headline and the start of the body copy is always constant.…">
            <a:extLst>
              <a:ext uri="{FF2B5EF4-FFF2-40B4-BE49-F238E27FC236}">
                <a16:creationId xmlns:a16="http://schemas.microsoft.com/office/drawing/2014/main" id="{BFF971EF-33DC-E3FC-3B05-D7DF2FA742CB}"/>
              </a:ext>
            </a:extLst>
          </p:cNvPr>
          <p:cNvSpPr txBox="1">
            <a:spLocks/>
          </p:cNvSpPr>
          <p:nvPr/>
        </p:nvSpPr>
        <p:spPr bwMode="gray">
          <a:xfrm>
            <a:off x="9024709" y="5400130"/>
            <a:ext cx="2960338" cy="899997"/>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600" err="1"/>
              <a:t>InfluxDB</a:t>
            </a:r>
            <a:r>
              <a:rPr lang="nb-NO" sz="1600"/>
              <a:t> 3.x – </a:t>
            </a:r>
            <a:r>
              <a:rPr lang="nb-NO" sz="1400" err="1"/>
              <a:t>InfluxQL</a:t>
            </a:r>
            <a:r>
              <a:rPr lang="nb-NO" sz="1400"/>
              <a:t> (v2)</a:t>
            </a:r>
            <a:endParaRPr lang="nb-NO" sz="1600"/>
          </a:p>
          <a:p>
            <a:pPr marL="0" indent="0">
              <a:lnSpc>
                <a:spcPct val="110000"/>
              </a:lnSpc>
              <a:buNone/>
            </a:pPr>
            <a:endParaRPr lang="nb-NO" sz="1600"/>
          </a:p>
          <a:p>
            <a:pPr marL="0" indent="0">
              <a:lnSpc>
                <a:spcPct val="110000"/>
              </a:lnSpc>
              <a:buNone/>
            </a:pPr>
            <a:endParaRPr lang="nb-NO" sz="1600"/>
          </a:p>
          <a:p>
            <a:pPr marL="450000" lvl="1" indent="0">
              <a:lnSpc>
                <a:spcPct val="110000"/>
              </a:lnSpc>
              <a:buNone/>
            </a:pPr>
            <a:endParaRPr lang="nb-NO" sz="1400"/>
          </a:p>
          <a:p>
            <a:pPr marL="0" indent="0">
              <a:lnSpc>
                <a:spcPct val="110000"/>
              </a:lnSpc>
              <a:buNone/>
            </a:pPr>
            <a:endParaRPr lang="nb-NO" sz="1600"/>
          </a:p>
        </p:txBody>
      </p:sp>
      <p:sp>
        <p:nvSpPr>
          <p:cNvPr id="16" name="Rectangle 15">
            <a:extLst>
              <a:ext uri="{FF2B5EF4-FFF2-40B4-BE49-F238E27FC236}">
                <a16:creationId xmlns:a16="http://schemas.microsoft.com/office/drawing/2014/main" id="{C2EAE385-2A94-5930-31ED-C38133D818F6}"/>
              </a:ext>
            </a:extLst>
          </p:cNvPr>
          <p:cNvSpPr/>
          <p:nvPr/>
        </p:nvSpPr>
        <p:spPr>
          <a:xfrm>
            <a:off x="398675" y="3905527"/>
            <a:ext cx="2541130" cy="178904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GB"/>
              <a:t>We will use </a:t>
            </a:r>
            <a:r>
              <a:rPr lang="en-GB" err="1"/>
              <a:t>InfluxDB</a:t>
            </a:r>
            <a:r>
              <a:rPr lang="en-GB"/>
              <a:t> 2.x but query data using </a:t>
            </a:r>
            <a:r>
              <a:rPr lang="en-GB" err="1"/>
              <a:t>InfluxQL</a:t>
            </a:r>
            <a:endParaRPr lang="en-GB"/>
          </a:p>
        </p:txBody>
      </p:sp>
      <p:pic>
        <p:nvPicPr>
          <p:cNvPr id="4" name="Picture 3" descr="A blue logo with a black background&#10;&#10;Description automatically generated">
            <a:extLst>
              <a:ext uri="{FF2B5EF4-FFF2-40B4-BE49-F238E27FC236}">
                <a16:creationId xmlns:a16="http://schemas.microsoft.com/office/drawing/2014/main" id="{ABDACE6B-DA46-AB19-FFE4-E991F05D4F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8435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4</a:t>
            </a:fld>
            <a:endParaRPr lang="en-GB"/>
          </a:p>
        </p:txBody>
      </p:sp>
      <p:sp>
        <p:nvSpPr>
          <p:cNvPr id="2" name="Footer Placeholder 6">
            <a:extLst>
              <a:ext uri="{FF2B5EF4-FFF2-40B4-BE49-F238E27FC236}">
                <a16:creationId xmlns:a16="http://schemas.microsoft.com/office/drawing/2014/main" id="{46DF7738-42A1-8C66-D062-51901113189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8" name="Footer Placeholder 6">
            <a:extLst>
              <a:ext uri="{FF2B5EF4-FFF2-40B4-BE49-F238E27FC236}">
                <a16:creationId xmlns:a16="http://schemas.microsoft.com/office/drawing/2014/main" id="{8C1DF1F2-C95B-AB58-1B3A-7CE8CFCA2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9" name="Text+Image 50:50">
            <a:extLst>
              <a:ext uri="{FF2B5EF4-FFF2-40B4-BE49-F238E27FC236}">
                <a16:creationId xmlns:a16="http://schemas.microsoft.com/office/drawing/2014/main" id="{B66C70C0-D173-ED33-D98B-8B27F37F9FD3}"/>
              </a:ext>
            </a:extLst>
          </p:cNvPr>
          <p:cNvSpPr txBox="1">
            <a:spLocks noGrp="1"/>
          </p:cNvSpPr>
          <p:nvPr>
            <p:ph type="title"/>
          </p:nvPr>
        </p:nvSpPr>
        <p:spPr>
          <a:xfrm>
            <a:off x="540000" y="432000"/>
            <a:ext cx="11109600" cy="540000"/>
          </a:xfrm>
        </p:spPr>
        <p:txBody>
          <a:bodyPr anchor="ctr">
            <a:normAutofit/>
          </a:bodyPr>
          <a:lstStyle/>
          <a:p>
            <a:r>
              <a:rPr lang="en-GB">
                <a:latin typeface="Verdana"/>
                <a:ea typeface="Verdana"/>
              </a:rPr>
              <a:t>Make some notes</a:t>
            </a:r>
            <a:endParaRPr lang="nb-NO"/>
          </a:p>
        </p:txBody>
      </p:sp>
      <p:sp>
        <p:nvSpPr>
          <p:cNvPr id="5" name="Content Placeholder 5">
            <a:extLst>
              <a:ext uri="{FF2B5EF4-FFF2-40B4-BE49-F238E27FC236}">
                <a16:creationId xmlns:a16="http://schemas.microsoft.com/office/drawing/2014/main" id="{B369A2B1-F9F4-366B-0FB5-12E0EEA13082}"/>
              </a:ext>
            </a:extLst>
          </p:cNvPr>
          <p:cNvSpPr>
            <a:spLocks noGrp="1"/>
          </p:cNvSpPr>
          <p:nvPr>
            <p:ph idx="1"/>
          </p:nvPr>
        </p:nvSpPr>
        <p:spPr>
          <a:xfrm>
            <a:off x="540000" y="890898"/>
            <a:ext cx="5850861" cy="5122276"/>
          </a:xfrm>
        </p:spPr>
        <p:txBody>
          <a:bodyPr vert="horz" lIns="0" tIns="180000" rIns="0" bIns="180000" rtlCol="0" anchor="t">
            <a:noAutofit/>
          </a:bodyPr>
          <a:lstStyle/>
          <a:p>
            <a:r>
              <a:rPr lang="nb-NO" sz="1600" dirty="0" err="1">
                <a:latin typeface="Verdana"/>
                <a:ea typeface="Verdana"/>
              </a:rPr>
              <a:t>There</a:t>
            </a:r>
            <a:r>
              <a:rPr lang="nb-NO" sz="1600" dirty="0">
                <a:latin typeface="Verdana"/>
                <a:ea typeface="Verdana"/>
              </a:rPr>
              <a:t> </a:t>
            </a:r>
            <a:r>
              <a:rPr lang="nb-NO" sz="1600" dirty="0" err="1">
                <a:latin typeface="Verdana"/>
                <a:ea typeface="Verdana"/>
              </a:rPr>
              <a:t>are</a:t>
            </a:r>
            <a:r>
              <a:rPr lang="nb-NO" sz="1600" dirty="0">
                <a:latin typeface="Verdana"/>
                <a:ea typeface="Verdana"/>
              </a:rPr>
              <a:t> </a:t>
            </a:r>
            <a:r>
              <a:rPr lang="nb-NO" sz="1600" dirty="0" err="1">
                <a:latin typeface="Verdana"/>
                <a:ea typeface="Verdana"/>
              </a:rPr>
              <a:t>some</a:t>
            </a:r>
            <a:r>
              <a:rPr lang="nb-NO" sz="1600" dirty="0">
                <a:latin typeface="Verdana"/>
                <a:ea typeface="Verdana"/>
              </a:rPr>
              <a:t> variables </a:t>
            </a:r>
            <a:r>
              <a:rPr lang="nb-NO" sz="1600" dirty="0" err="1">
                <a:latin typeface="Verdana"/>
                <a:ea typeface="Verdana"/>
              </a:rPr>
              <a:t>that</a:t>
            </a:r>
            <a:r>
              <a:rPr lang="nb-NO" sz="1600" dirty="0">
                <a:latin typeface="Verdana"/>
                <a:ea typeface="Verdana"/>
              </a:rPr>
              <a:t> </a:t>
            </a:r>
            <a:r>
              <a:rPr lang="nb-NO" sz="1600" dirty="0" err="1">
                <a:latin typeface="Verdana"/>
                <a:ea typeface="Verdana"/>
              </a:rPr>
              <a:t>need</a:t>
            </a:r>
            <a:r>
              <a:rPr lang="nb-NO" sz="1600" dirty="0">
                <a:latin typeface="Verdana"/>
                <a:ea typeface="Verdana"/>
              </a:rPr>
              <a:t> to be </a:t>
            </a:r>
            <a:r>
              <a:rPr lang="nb-NO" sz="1600" dirty="0" err="1">
                <a:latin typeface="Verdana"/>
                <a:ea typeface="Verdana"/>
              </a:rPr>
              <a:t>typed</a:t>
            </a:r>
            <a:r>
              <a:rPr lang="nb-NO" sz="1600" dirty="0">
                <a:latin typeface="Verdana"/>
                <a:ea typeface="Verdana"/>
              </a:rPr>
              <a:t> later, so to save time </a:t>
            </a:r>
            <a:r>
              <a:rPr lang="nb-NO" sz="1600" dirty="0" err="1">
                <a:latin typeface="Verdana"/>
                <a:ea typeface="Verdana"/>
              </a:rPr>
              <a:t>you</a:t>
            </a:r>
            <a:r>
              <a:rPr lang="nb-NO" sz="1600" dirty="0">
                <a:latin typeface="Verdana"/>
                <a:ea typeface="Verdana"/>
              </a:rPr>
              <a:t> </a:t>
            </a:r>
            <a:r>
              <a:rPr lang="nb-NO" sz="1600" dirty="0" err="1">
                <a:latin typeface="Verdana"/>
                <a:ea typeface="Verdana"/>
              </a:rPr>
              <a:t>can</a:t>
            </a:r>
            <a:r>
              <a:rPr lang="nb-NO" sz="1600" dirty="0">
                <a:latin typeface="Verdana"/>
                <a:ea typeface="Verdana"/>
              </a:rPr>
              <a:t> make a .</a:t>
            </a:r>
            <a:r>
              <a:rPr lang="nb-NO" sz="1600" dirty="0" err="1">
                <a:latin typeface="Verdana"/>
                <a:ea typeface="Verdana"/>
              </a:rPr>
              <a:t>txt</a:t>
            </a:r>
            <a:r>
              <a:rPr lang="nb-NO" sz="1600" dirty="0">
                <a:latin typeface="Verdana"/>
                <a:ea typeface="Verdana"/>
              </a:rPr>
              <a:t> file </a:t>
            </a:r>
            <a:r>
              <a:rPr lang="nb-NO" sz="1600" dirty="0" err="1">
                <a:latin typeface="Verdana"/>
                <a:ea typeface="Verdana"/>
              </a:rPr>
              <a:t>while</a:t>
            </a:r>
            <a:r>
              <a:rPr lang="nb-NO" sz="1600" dirty="0">
                <a:latin typeface="Verdana"/>
                <a:ea typeface="Verdana"/>
              </a:rPr>
              <a:t> </a:t>
            </a:r>
            <a:r>
              <a:rPr lang="nb-NO" sz="1600" dirty="0" err="1">
                <a:latin typeface="Verdana"/>
                <a:ea typeface="Verdana"/>
              </a:rPr>
              <a:t>we</a:t>
            </a:r>
            <a:r>
              <a:rPr lang="nb-NO" sz="1600" dirty="0">
                <a:latin typeface="Verdana"/>
                <a:ea typeface="Verdana"/>
              </a:rPr>
              <a:t> </a:t>
            </a:r>
            <a:r>
              <a:rPr lang="en-US" sz="1600" dirty="0">
                <a:latin typeface="Verdana"/>
                <a:ea typeface="Verdana"/>
              </a:rPr>
              <a:t>continue </a:t>
            </a:r>
            <a:r>
              <a:rPr lang="nb-NO" sz="1600" dirty="0">
                <a:latin typeface="Verdana"/>
                <a:ea typeface="Verdana"/>
              </a:rPr>
              <a:t>in </a:t>
            </a:r>
            <a:r>
              <a:rPr lang="nb-NO" sz="1600" dirty="0" err="1">
                <a:latin typeface="Verdana"/>
                <a:ea typeface="Verdana"/>
              </a:rPr>
              <a:t>this</a:t>
            </a:r>
            <a:r>
              <a:rPr lang="nb-NO" sz="1600" dirty="0">
                <a:latin typeface="Verdana"/>
                <a:ea typeface="Verdana"/>
              </a:rPr>
              <a:t> lab</a:t>
            </a:r>
          </a:p>
          <a:p>
            <a:endParaRPr lang="nb-NO" sz="1600" dirty="0">
              <a:latin typeface="Verdana"/>
              <a:ea typeface="Verdana"/>
            </a:endParaRPr>
          </a:p>
          <a:p>
            <a:endParaRPr lang="nb-NO" sz="1600" dirty="0">
              <a:latin typeface="Verdana"/>
              <a:ea typeface="Verdana"/>
            </a:endParaRPr>
          </a:p>
          <a:p>
            <a:endParaRPr lang="nb-NO" sz="1600" dirty="0">
              <a:latin typeface="Verdana"/>
              <a:ea typeface="Verdana"/>
            </a:endParaRPr>
          </a:p>
          <a:p>
            <a:endParaRPr lang="nb-NO" sz="1600" dirty="0">
              <a:latin typeface="Verdana"/>
              <a:ea typeface="Verdana"/>
            </a:endParaRPr>
          </a:p>
          <a:p>
            <a:r>
              <a:rPr lang="nb-NO" sz="1600" dirty="0">
                <a:latin typeface="Verdana"/>
                <a:ea typeface="Verdana"/>
              </a:rPr>
              <a:t>Even </a:t>
            </a:r>
            <a:r>
              <a:rPr lang="nb-NO" sz="1600" dirty="0" err="1">
                <a:latin typeface="Verdana"/>
                <a:ea typeface="Verdana"/>
              </a:rPr>
              <a:t>better</a:t>
            </a:r>
            <a:r>
              <a:rPr lang="nb-NO" sz="1600" dirty="0">
                <a:latin typeface="Verdana"/>
                <a:ea typeface="Verdana"/>
              </a:rPr>
              <a:t>, </a:t>
            </a:r>
            <a:r>
              <a:rPr lang="nb-NO" sz="1600" dirty="0" err="1">
                <a:latin typeface="Verdana"/>
                <a:ea typeface="Verdana"/>
              </a:rPr>
              <a:t>you</a:t>
            </a:r>
            <a:r>
              <a:rPr lang="nb-NO" sz="1600" dirty="0">
                <a:latin typeface="Verdana"/>
                <a:ea typeface="Verdana"/>
              </a:rPr>
              <a:t> </a:t>
            </a:r>
            <a:r>
              <a:rPr lang="nb-NO" sz="1600" dirty="0" err="1">
                <a:latin typeface="Verdana"/>
                <a:ea typeface="Verdana"/>
              </a:rPr>
              <a:t>could</a:t>
            </a:r>
            <a:r>
              <a:rPr lang="nb-NO" sz="1600" dirty="0">
                <a:latin typeface="Verdana"/>
                <a:ea typeface="Verdana"/>
              </a:rPr>
              <a:t> </a:t>
            </a:r>
            <a:r>
              <a:rPr lang="nb-NO" sz="1600" dirty="0" err="1">
                <a:latin typeface="Verdana"/>
                <a:ea typeface="Verdana"/>
              </a:rPr>
              <a:t>use</a:t>
            </a:r>
            <a:r>
              <a:rPr lang="nb-NO" sz="1600" dirty="0">
                <a:latin typeface="Verdana"/>
                <a:ea typeface="Verdana"/>
              </a:rPr>
              <a:t> </a:t>
            </a:r>
            <a:r>
              <a:rPr lang="nb-NO" sz="1600" dirty="0" err="1">
                <a:latin typeface="Verdana"/>
                <a:ea typeface="Verdana"/>
              </a:rPr>
              <a:t>your</a:t>
            </a:r>
            <a:r>
              <a:rPr lang="nb-NO" sz="1600" dirty="0">
                <a:latin typeface="Verdana"/>
                <a:ea typeface="Verdana"/>
              </a:rPr>
              <a:t> </a:t>
            </a:r>
            <a:r>
              <a:rPr lang="nb-NO" sz="1600" dirty="0" err="1">
                <a:latin typeface="Verdana"/>
                <a:ea typeface="Verdana"/>
              </a:rPr>
              <a:t>favorite</a:t>
            </a:r>
            <a:r>
              <a:rPr lang="nb-NO" sz="1600" dirty="0">
                <a:latin typeface="Verdana"/>
                <a:ea typeface="Verdana"/>
              </a:rPr>
              <a:t> </a:t>
            </a:r>
            <a:r>
              <a:rPr lang="nb-NO" sz="1600" dirty="0" err="1">
                <a:latin typeface="Verdana"/>
                <a:ea typeface="Verdana"/>
              </a:rPr>
              <a:t>password</a:t>
            </a:r>
            <a:r>
              <a:rPr lang="nb-NO" sz="1600" dirty="0">
                <a:latin typeface="Verdana"/>
                <a:ea typeface="Verdana"/>
              </a:rPr>
              <a:t> manager (</a:t>
            </a:r>
            <a:r>
              <a:rPr lang="nb-NO" sz="1600" dirty="0" err="1">
                <a:latin typeface="Verdana"/>
                <a:ea typeface="Verdana"/>
              </a:rPr>
              <a:t>KeePass</a:t>
            </a:r>
            <a:r>
              <a:rPr lang="nb-NO" sz="1600" dirty="0">
                <a:latin typeface="Verdana"/>
                <a:ea typeface="Verdana"/>
              </a:rPr>
              <a:t> </a:t>
            </a:r>
            <a:r>
              <a:rPr lang="nb-NO" sz="1600" dirty="0" err="1">
                <a:latin typeface="Verdana"/>
                <a:ea typeface="Verdana"/>
              </a:rPr>
              <a:t>etc</a:t>
            </a:r>
            <a:r>
              <a:rPr lang="nb-NO" sz="1600" dirty="0">
                <a:latin typeface="Verdana"/>
                <a:ea typeface="Verdana"/>
              </a:rPr>
              <a:t>)</a:t>
            </a:r>
            <a:endParaRPr lang="nb-NO" dirty="0"/>
          </a:p>
        </p:txBody>
      </p:sp>
      <p:sp>
        <p:nvSpPr>
          <p:cNvPr id="11" name="TextBox 9">
            <a:extLst>
              <a:ext uri="{FF2B5EF4-FFF2-40B4-BE49-F238E27FC236}">
                <a16:creationId xmlns:a16="http://schemas.microsoft.com/office/drawing/2014/main" id="{C721C041-8862-0D84-2115-A62F64AE6AC1}"/>
              </a:ext>
            </a:extLst>
          </p:cNvPr>
          <p:cNvSpPr txBox="1"/>
          <p:nvPr/>
        </p:nvSpPr>
        <p:spPr>
          <a:xfrm>
            <a:off x="628128" y="2213602"/>
            <a:ext cx="5679931" cy="1096775"/>
          </a:xfrm>
          <a:prstGeom prst="rect">
            <a:avLst/>
          </a:prstGeom>
          <a:solidFill>
            <a:srgbClr val="002B36"/>
          </a:solidFill>
          <a:ln>
            <a:solidFill>
              <a:srgbClr val="002B36"/>
            </a:solidFill>
          </a:ln>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dirty="0"/>
              <a:t>Admin </a:t>
            </a:r>
            <a:r>
              <a:rPr lang="fr-FR" dirty="0" err="1"/>
              <a:t>token</a:t>
            </a:r>
            <a:r>
              <a:rPr lang="fr-FR" dirty="0"/>
              <a:t>: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dirty="0" err="1"/>
              <a:t>Grafana</a:t>
            </a:r>
            <a:r>
              <a:rPr lang="fr-FR" dirty="0"/>
              <a:t> </a:t>
            </a:r>
            <a:r>
              <a:rPr lang="fr-FR" dirty="0" err="1"/>
              <a:t>token</a:t>
            </a:r>
            <a:r>
              <a:rPr lang="fr-FR" dirty="0"/>
              <a:t>: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dirty="0" err="1"/>
              <a:t>Optional</a:t>
            </a:r>
            <a:r>
              <a:rPr lang="fr-FR" dirty="0"/>
              <a:t> </a:t>
            </a:r>
            <a:r>
              <a:rPr lang="fr-FR" dirty="0" err="1"/>
              <a:t>Telegraf</a:t>
            </a:r>
            <a:r>
              <a:rPr lang="fr-FR" dirty="0"/>
              <a:t> </a:t>
            </a:r>
            <a:r>
              <a:rPr lang="fr-FR" dirty="0" err="1"/>
              <a:t>token</a:t>
            </a:r>
            <a:r>
              <a:rPr lang="fr-FR" dirty="0"/>
              <a:t>: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dirty="0" err="1"/>
              <a:t>Org</a:t>
            </a:r>
            <a:r>
              <a:rPr lang="fr-FR" dirty="0"/>
              <a:t> ID: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a:p>
            <a:pPr lvl="1" indent="-97155"/>
            <a:r>
              <a:rPr lang="fr-FR" dirty="0"/>
              <a:t>Container ID: {</a:t>
            </a:r>
            <a:r>
              <a:rPr lang="fr-FR" dirty="0" err="1"/>
              <a:t>we</a:t>
            </a:r>
            <a:r>
              <a:rPr lang="fr-FR" dirty="0"/>
              <a:t> </a:t>
            </a:r>
            <a:r>
              <a:rPr lang="fr-FR" dirty="0" err="1"/>
              <a:t>will</a:t>
            </a:r>
            <a:r>
              <a:rPr lang="fr-FR" dirty="0"/>
              <a:t> </a:t>
            </a:r>
            <a:r>
              <a:rPr lang="fr-FR" dirty="0" err="1"/>
              <a:t>fill</a:t>
            </a:r>
            <a:r>
              <a:rPr lang="fr-FR" dirty="0"/>
              <a:t> in </a:t>
            </a:r>
            <a:r>
              <a:rPr lang="fr-FR" dirty="0" err="1"/>
              <a:t>this</a:t>
            </a:r>
            <a:r>
              <a:rPr lang="fr-FR" dirty="0"/>
              <a:t> </a:t>
            </a:r>
            <a:r>
              <a:rPr lang="fr-FR" dirty="0" err="1"/>
              <a:t>later</a:t>
            </a:r>
            <a:r>
              <a:rPr lang="fr-FR" dirty="0"/>
              <a:t>}</a:t>
            </a:r>
          </a:p>
        </p:txBody>
      </p:sp>
      <p:sp>
        <p:nvSpPr>
          <p:cNvPr id="6" name="Rectangle: Rounded Corners 5">
            <a:extLst>
              <a:ext uri="{FF2B5EF4-FFF2-40B4-BE49-F238E27FC236}">
                <a16:creationId xmlns:a16="http://schemas.microsoft.com/office/drawing/2014/main" id="{1116CFCC-250F-B283-1E1D-50EBEDB62315}"/>
              </a:ext>
            </a:extLst>
          </p:cNvPr>
          <p:cNvSpPr/>
          <p:nvPr/>
        </p:nvSpPr>
        <p:spPr>
          <a:xfrm>
            <a:off x="628128" y="1937291"/>
            <a:ext cx="1718553" cy="323238"/>
          </a:xfrm>
          <a:prstGeom prst="roundRect">
            <a:avLst/>
          </a:prstGeom>
          <a:noFill/>
          <a:ln w="12700">
            <a:solidFill>
              <a:srgbClr val="002B3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nb-NO" sz="1200" dirty="0" err="1">
                <a:solidFill>
                  <a:srgbClr val="002B36"/>
                </a:solidFill>
                <a:latin typeface="Consolas" panose="020B0609020204030204" pitchFamily="49" charset="0"/>
              </a:rPr>
              <a:t>Lab10_Notes.txt</a:t>
            </a:r>
            <a:endParaRPr lang="nb-NO" sz="1200" dirty="0">
              <a:solidFill>
                <a:srgbClr val="002B36"/>
              </a:solidFill>
              <a:latin typeface="Consolas" panose="020B0609020204030204" pitchFamily="49" charset="0"/>
            </a:endParaRPr>
          </a:p>
        </p:txBody>
      </p:sp>
      <p:pic>
        <p:nvPicPr>
          <p:cNvPr id="4" name="Picture 3" descr="A blue logo with a black background&#10;&#10;Description automatically generated">
            <a:extLst>
              <a:ext uri="{FF2B5EF4-FFF2-40B4-BE49-F238E27FC236}">
                <a16:creationId xmlns:a16="http://schemas.microsoft.com/office/drawing/2014/main" id="{33D1FD94-B4D3-7515-3502-E36902FDE0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85992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5485B025-69EF-89C1-6489-284E2DAA1110}"/>
              </a:ext>
            </a:extLst>
          </p:cNvPr>
          <p:cNvSpPr>
            <a:spLocks noGrp="1"/>
          </p:cNvSpPr>
          <p:nvPr>
            <p:ph idx="1"/>
          </p:nvPr>
        </p:nvSpPr>
        <p:spPr>
          <a:xfrm>
            <a:off x="540000" y="780402"/>
            <a:ext cx="6173316" cy="5122276"/>
          </a:xfrm>
        </p:spPr>
        <p:txBody>
          <a:bodyPr vert="horz" lIns="0" tIns="180000" rIns="0" bIns="180000" rtlCol="0" anchor="t">
            <a:noAutofit/>
          </a:bodyPr>
          <a:lstStyle/>
          <a:p>
            <a:pPr marL="342900" indent="-342900">
              <a:buFont typeface="+mj-lt"/>
              <a:buAutoNum type="arabicPeriod"/>
            </a:pPr>
            <a:r>
              <a:rPr lang="nb-NO" sz="1600" err="1">
                <a:latin typeface="Verdana"/>
                <a:ea typeface="Verdana"/>
              </a:rPr>
              <a:t>Create</a:t>
            </a:r>
            <a:r>
              <a:rPr lang="nb-NO" sz="1600">
                <a:latin typeface="Verdana"/>
                <a:ea typeface="Verdana"/>
              </a:rPr>
              <a:t> a .</a:t>
            </a:r>
            <a:r>
              <a:rPr lang="nb-NO" sz="1600" err="1">
                <a:latin typeface="Verdana"/>
                <a:ea typeface="Verdana"/>
              </a:rPr>
              <a:t>env</a:t>
            </a:r>
            <a:r>
              <a:rPr lang="nb-NO" sz="1600">
                <a:latin typeface="Verdana"/>
                <a:ea typeface="Verdana"/>
              </a:rPr>
              <a:t> file to store variables</a:t>
            </a:r>
          </a:p>
          <a:p>
            <a:pPr marL="792480" lvl="1" indent="-342900">
              <a:buFont typeface="Arial"/>
              <a:buChar char="–"/>
            </a:pPr>
            <a:endParaRPr lang="nb-NO">
              <a:solidFill>
                <a:srgbClr val="0C1026"/>
              </a:solidFill>
            </a:endParaRPr>
          </a:p>
          <a:p>
            <a:pPr marL="342900" indent="-342900">
              <a:buClr>
                <a:srgbClr val="19AAF8"/>
              </a:buClr>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719455" lvl="1" indent="-269875">
              <a:buFont typeface="Arial"/>
              <a:buChar char="–"/>
            </a:pPr>
            <a:r>
              <a:rPr lang="nb-NO" sz="1400" err="1">
                <a:latin typeface="Verdana"/>
                <a:ea typeface="Verdana"/>
              </a:rPr>
              <a:t>Add</a:t>
            </a:r>
            <a:r>
              <a:rPr lang="nb-NO" sz="1400">
                <a:latin typeface="Verdana"/>
                <a:ea typeface="Verdana"/>
              </a:rPr>
              <a:t> </a:t>
            </a:r>
            <a:r>
              <a:rPr lang="nb-NO" sz="1400" err="1">
                <a:latin typeface="Verdana"/>
                <a:ea typeface="Verdana"/>
              </a:rPr>
              <a:t>the</a:t>
            </a:r>
            <a:r>
              <a:rPr lang="nb-NO" sz="1400">
                <a:latin typeface="Verdana"/>
                <a:ea typeface="Verdana"/>
              </a:rPr>
              <a:t> </a:t>
            </a:r>
            <a:r>
              <a:rPr lang="nb-NO" sz="1400" err="1">
                <a:latin typeface="Verdana"/>
                <a:ea typeface="Verdana"/>
              </a:rPr>
              <a:t>INFLUXDB_ADMIN_TOKEN</a:t>
            </a:r>
            <a:r>
              <a:rPr lang="nb-NO" sz="1400">
                <a:latin typeface="Verdana"/>
                <a:ea typeface="Verdana"/>
              </a:rPr>
              <a:t> to </a:t>
            </a:r>
            <a:r>
              <a:rPr lang="nb-NO" sz="1400" err="1">
                <a:latin typeface="Verdana"/>
                <a:ea typeface="Verdana"/>
              </a:rPr>
              <a:t>your</a:t>
            </a:r>
            <a:r>
              <a:rPr lang="nb-NO" sz="1400">
                <a:latin typeface="Verdana"/>
                <a:ea typeface="Verdana"/>
              </a:rPr>
              <a:t> .</a:t>
            </a:r>
            <a:r>
              <a:rPr lang="nb-NO" sz="1400" err="1">
                <a:latin typeface="Verdana"/>
                <a:ea typeface="Verdana"/>
              </a:rPr>
              <a:t>txt</a:t>
            </a:r>
            <a:r>
              <a:rPr lang="nb-NO" sz="1400">
                <a:latin typeface="Verdana"/>
                <a:ea typeface="Verdana"/>
              </a:rPr>
              <a:t> file</a:t>
            </a:r>
            <a:endParaRPr lang="nb-NO" sz="1400"/>
          </a:p>
          <a:p>
            <a:pPr marL="719455" lvl="1" indent="-269875">
              <a:buFont typeface="Arial"/>
              <a:buChar char="–"/>
            </a:pPr>
            <a:endParaRPr lang="nb-NO" sz="1400">
              <a:latin typeface="Verdana"/>
              <a:ea typeface="Verdana"/>
            </a:endParaRPr>
          </a:p>
          <a:p>
            <a:pPr marL="342900" indent="-342900">
              <a:buAutoNum type="arabicPeriod"/>
            </a:pPr>
            <a:r>
              <a:rPr lang="nb-NO" sz="1600" err="1">
                <a:latin typeface="Verdana"/>
                <a:ea typeface="Verdana"/>
              </a:rPr>
              <a:t>Create</a:t>
            </a:r>
            <a:r>
              <a:rPr lang="nb-NO" sz="1600">
                <a:latin typeface="Verdana"/>
                <a:ea typeface="Verdana"/>
              </a:rPr>
              <a:t> </a:t>
            </a:r>
            <a:r>
              <a:rPr lang="nb-NO" sz="1600" err="1">
                <a:latin typeface="Verdana"/>
                <a:ea typeface="Verdana"/>
              </a:rPr>
              <a:t>persistant</a:t>
            </a:r>
            <a:r>
              <a:rPr lang="nb-NO" sz="1600">
                <a:latin typeface="Verdana"/>
                <a:ea typeface="Verdana"/>
              </a:rPr>
              <a:t> </a:t>
            </a:r>
            <a:r>
              <a:rPr lang="nb-NO" sz="1600" err="1">
                <a:latin typeface="Verdana"/>
                <a:ea typeface="Verdana"/>
              </a:rPr>
              <a:t>storage</a:t>
            </a:r>
            <a:endParaRPr lang="nb-NO" sz="1600">
              <a:latin typeface="Verdana"/>
              <a:ea typeface="Verdana"/>
            </a:endParaRPr>
          </a:p>
          <a:p>
            <a:pPr marL="342900" indent="-342900">
              <a:buFont typeface="+mj-lt"/>
              <a:buAutoNum type="arabicPeriod"/>
            </a:pPr>
            <a:endParaRPr lang="nb-NO"/>
          </a:p>
          <a:p>
            <a:pPr marL="342900" indent="-342900">
              <a:buFont typeface="+mj-lt"/>
              <a:buAutoNum type="arabicPeriod"/>
            </a:pPr>
            <a:r>
              <a:rPr lang="nb-NO" sz="1600" err="1">
                <a:latin typeface="Verdana"/>
                <a:ea typeface="Verdana"/>
              </a:rPr>
              <a:t>Create</a:t>
            </a:r>
            <a:r>
              <a:rPr lang="nb-NO" sz="1600">
                <a:latin typeface="Verdana"/>
                <a:ea typeface="Verdana"/>
              </a:rPr>
              <a:t> </a:t>
            </a:r>
            <a:r>
              <a:rPr lang="nb-NO" sz="1600" err="1">
                <a:latin typeface="Verdana"/>
                <a:ea typeface="Verdana"/>
              </a:rPr>
              <a:t>the</a:t>
            </a:r>
            <a:r>
              <a:rPr lang="nb-NO" sz="1600">
                <a:latin typeface="Verdana"/>
                <a:ea typeface="Verdana"/>
              </a:rPr>
              <a:t> Telegraf </a:t>
            </a:r>
            <a:r>
              <a:rPr lang="nb-NO" sz="1600" err="1">
                <a:latin typeface="Verdana"/>
                <a:ea typeface="Verdana"/>
              </a:rPr>
              <a:t>config</a:t>
            </a:r>
            <a:r>
              <a:rPr lang="nb-NO" sz="1600">
                <a:latin typeface="Verdana"/>
                <a:ea typeface="Verdana"/>
              </a:rPr>
              <a:t> file</a:t>
            </a:r>
          </a:p>
        </p:txBody>
      </p:sp>
      <p:sp>
        <p:nvSpPr>
          <p:cNvPr id="5" name="TextBox 4">
            <a:extLst>
              <a:ext uri="{FF2B5EF4-FFF2-40B4-BE49-F238E27FC236}">
                <a16:creationId xmlns:a16="http://schemas.microsoft.com/office/drawing/2014/main" id="{00E1F5B3-1484-766D-1E22-9E733F769AAF}"/>
              </a:ext>
            </a:extLst>
          </p:cNvPr>
          <p:cNvSpPr txBox="1"/>
          <p:nvPr/>
        </p:nvSpPr>
        <p:spPr>
          <a:xfrm>
            <a:off x="722033" y="1240264"/>
            <a:ext cx="4122342" cy="1264962"/>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endParaRPr lang="nb-NO"/>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a:t>
            </a:r>
            <a:r>
              <a:rPr lang="fr-FR" sz="1050"/>
              <a:t> </a:t>
            </a:r>
            <a:r>
              <a:rPr lang="fr-FR" sz="1050" err="1"/>
              <a:t>mkdir</a:t>
            </a:r>
            <a:r>
              <a:rPr lang="fr-FR" sz="1050"/>
              <a:t> </a:t>
            </a:r>
            <a:r>
              <a:rPr lang="fr-FR" sz="1050" err="1"/>
              <a:t>tig</a:t>
            </a:r>
            <a:r>
              <a:rPr lang="fr-FR" sz="1050"/>
              <a:t>-stack</a:t>
            </a:r>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endParaRPr lang="fr-FR" sz="1050">
              <a:solidFill>
                <a:srgbClr val="EEE8D5"/>
              </a:solidFill>
            </a:endParaRPr>
          </a:p>
          <a:p>
            <a:pPr lvl="1" indent="-97155"/>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err="1">
                <a:solidFill>
                  <a:srgbClr val="8C8C8C"/>
                </a:solidFill>
                <a:latin typeface="Consolas" panose="020B0609020204030204" pitchFamily="49" charset="0"/>
              </a:rPr>
              <a:t>tig</a:t>
            </a:r>
            <a:r>
              <a:rPr lang="fr-FR" sz="1050">
                <a:solidFill>
                  <a:srgbClr val="8C8C8C"/>
                </a:solidFill>
                <a:latin typeface="Consolas" panose="020B0609020204030204" pitchFamily="49" charset="0"/>
              </a:rPr>
              <a:t>-stack</a:t>
            </a:r>
            <a:r>
              <a:rPr lang="fr-FR" sz="1050">
                <a:solidFill>
                  <a:srgbClr val="EEE8D5"/>
                </a:solidFill>
                <a:latin typeface="Consolas" panose="020B0609020204030204" pitchFamily="49" charset="0"/>
              </a:rPr>
              <a:t>$ nano .</a:t>
            </a:r>
            <a:r>
              <a:rPr lang="fr-FR" sz="1050" err="1">
                <a:solidFill>
                  <a:srgbClr val="EEE8D5"/>
                </a:solidFill>
                <a:latin typeface="Consolas" panose="020B0609020204030204" pitchFamily="49" charset="0"/>
              </a:rPr>
              <a:t>env</a:t>
            </a:r>
            <a:endParaRPr lang="fr-FR" sz="1050">
              <a:solidFill>
                <a:srgbClr val="EEE8D5"/>
              </a:solidFill>
            </a:endParaRPr>
          </a:p>
          <a:p>
            <a:pPr marL="0" indent="0">
              <a:spcAft>
                <a:spcPts val="0"/>
              </a:spcAft>
              <a:buNone/>
            </a:pPr>
            <a:r>
              <a:rPr lang="en-US" sz="1000">
                <a:solidFill>
                  <a:srgbClr val="00B050"/>
                </a:solidFill>
                <a:latin typeface="Consolas" panose="020B0609020204030204" pitchFamily="49" charset="0"/>
              </a:rPr>
              <a:t>!</a:t>
            </a:r>
          </a:p>
          <a:p>
            <a:r>
              <a:rPr lang="en-US" sz="1000">
                <a:solidFill>
                  <a:srgbClr val="00B050"/>
                </a:solidFill>
                <a:latin typeface="Consolas"/>
              </a:rPr>
              <a:t>#add the following, and change the variables if needed</a:t>
            </a:r>
            <a:endParaRPr lang="en-US" sz="1000">
              <a:solidFill>
                <a:srgbClr val="00B050"/>
              </a:solidFill>
              <a:latin typeface="Consolas" panose="020B0609020204030204" pitchFamily="49" charset="0"/>
            </a:endParaRPr>
          </a:p>
          <a:p>
            <a:pPr marL="0" indent="0">
              <a:spcAft>
                <a:spcPts val="0"/>
              </a:spcAft>
              <a:buNone/>
            </a:pPr>
            <a:r>
              <a:rPr lang="en-US" sz="1000">
                <a:solidFill>
                  <a:srgbClr val="00B050"/>
                </a:solidFill>
                <a:latin typeface="Consolas"/>
              </a:rPr>
              <a:t>!</a:t>
            </a:r>
            <a:endParaRPr lang="en-US" sz="1000">
              <a:solidFill>
                <a:srgbClr val="00B050"/>
              </a:solidFill>
              <a:latin typeface="Consolas" panose="020B0609020204030204" pitchFamily="49" charset="0"/>
            </a:endParaRP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IG stack installation</a:t>
            </a:r>
          </a:p>
        </p:txBody>
      </p:sp>
      <p:sp>
        <p:nvSpPr>
          <p:cNvPr id="2" name="Footer Placeholder 6">
            <a:extLst>
              <a:ext uri="{FF2B5EF4-FFF2-40B4-BE49-F238E27FC236}">
                <a16:creationId xmlns:a16="http://schemas.microsoft.com/office/drawing/2014/main" id="{0F6178F5-1298-A98B-1AF5-01C018926D4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5AC3D159-A1AF-77AF-BA96-70EF6E15A64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3" name="Rectangle 2">
            <a:extLst>
              <a:ext uri="{FF2B5EF4-FFF2-40B4-BE49-F238E27FC236}">
                <a16:creationId xmlns:a16="http://schemas.microsoft.com/office/drawing/2014/main" id="{A94D6359-16CD-D4B4-D85E-072A669FA314}"/>
              </a:ext>
            </a:extLst>
          </p:cNvPr>
          <p:cNvSpPr/>
          <p:nvPr/>
        </p:nvSpPr>
        <p:spPr>
          <a:xfrm>
            <a:off x="789826" y="2078178"/>
            <a:ext cx="3859381" cy="299803"/>
          </a:xfrm>
          <a:prstGeom prst="rect">
            <a:avLst/>
          </a:prstGeom>
          <a:no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sp>
        <p:nvSpPr>
          <p:cNvPr id="16" name="Content Placeholder 5">
            <a:extLst>
              <a:ext uri="{FF2B5EF4-FFF2-40B4-BE49-F238E27FC236}">
                <a16:creationId xmlns:a16="http://schemas.microsoft.com/office/drawing/2014/main" id="{DD5715AA-BC76-6864-A558-27BBDC3A8CDF}"/>
              </a:ext>
            </a:extLst>
          </p:cNvPr>
          <p:cNvSpPr txBox="1">
            <a:spLocks/>
          </p:cNvSpPr>
          <p:nvPr/>
        </p:nvSpPr>
        <p:spPr bwMode="gray">
          <a:xfrm>
            <a:off x="8895219" y="202197"/>
            <a:ext cx="3295194" cy="1036413"/>
          </a:xfrm>
          <a:prstGeom prst="rect">
            <a:avLst/>
          </a:prstGeom>
        </p:spPr>
        <p:txBody>
          <a:bodyPr vert="horz" lIns="0" tIns="180000" rIns="0" bIns="180000" rtlCol="0" anchor="t">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nb-NO">
              <a:solidFill>
                <a:srgbClr val="FF0000"/>
              </a:solidFill>
              <a:latin typeface="Verdana"/>
              <a:ea typeface="Verdana"/>
            </a:endParaRPr>
          </a:p>
          <a:p>
            <a:pPr marL="342900" indent="-342900">
              <a:buFont typeface="+mj-lt"/>
              <a:buAutoNum type="arabicPeriod"/>
            </a:pPr>
            <a:endParaRPr lang="nb-NO"/>
          </a:p>
          <a:p>
            <a:pPr marL="719455" lvl="1" indent="-269875"/>
            <a:endParaRPr lang="nb-NO" sz="100"/>
          </a:p>
          <a:p>
            <a:pPr marL="719455" lvl="1" indent="-269875"/>
            <a:endParaRPr lang="nb-NO" sz="100"/>
          </a:p>
          <a:p>
            <a:pPr marL="719455" lvl="1" indent="-269875"/>
            <a:endParaRPr lang="nb-NO" sz="1000"/>
          </a:p>
        </p:txBody>
      </p:sp>
      <p:sp>
        <p:nvSpPr>
          <p:cNvPr id="10" name="TextBox 9">
            <a:extLst>
              <a:ext uri="{FF2B5EF4-FFF2-40B4-BE49-F238E27FC236}">
                <a16:creationId xmlns:a16="http://schemas.microsoft.com/office/drawing/2014/main" id="{51763FFD-D04A-58D5-774B-B2B30F7D9C40}"/>
              </a:ext>
            </a:extLst>
          </p:cNvPr>
          <p:cNvSpPr txBox="1"/>
          <p:nvPr/>
        </p:nvSpPr>
        <p:spPr>
          <a:xfrm>
            <a:off x="722032" y="4794751"/>
            <a:ext cx="5483587"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volume </a:t>
            </a:r>
            <a:r>
              <a:rPr lang="fr-FR" sz="1050" dirty="0" err="1">
                <a:solidFill>
                  <a:srgbClr val="EEE8D5"/>
                </a:solidFill>
                <a:latin typeface="Consolas" panose="020B0609020204030204" pitchFamily="49" charset="0"/>
              </a:rPr>
              <a:t>creat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grafana</a:t>
            </a:r>
            <a:r>
              <a:rPr lang="fr-FR" sz="1050" dirty="0">
                <a:solidFill>
                  <a:srgbClr val="EEE8D5"/>
                </a:solidFill>
                <a:latin typeface="Consolas" panose="020B0609020204030204" pitchFamily="49" charset="0"/>
              </a:rPr>
              <a:t>-data</a:t>
            </a: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volume </a:t>
            </a:r>
            <a:r>
              <a:rPr lang="fr-FR" sz="1050" dirty="0" err="1">
                <a:solidFill>
                  <a:srgbClr val="EEE8D5"/>
                </a:solidFill>
                <a:latin typeface="Consolas" panose="020B0609020204030204" pitchFamily="49" charset="0"/>
              </a:rPr>
              <a:t>create</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a:t>
            </a:r>
            <a:r>
              <a:rPr lang="fr-FR" sz="1050" dirty="0">
                <a:solidFill>
                  <a:srgbClr val="EEE8D5"/>
                </a:solidFill>
                <a:latin typeface="Consolas" panose="020B0609020204030204" pitchFamily="49" charset="0"/>
              </a:rPr>
              <a:t>-data</a:t>
            </a:r>
          </a:p>
        </p:txBody>
      </p:sp>
      <p:sp>
        <p:nvSpPr>
          <p:cNvPr id="11" name="TextBox 10">
            <a:extLst>
              <a:ext uri="{FF2B5EF4-FFF2-40B4-BE49-F238E27FC236}">
                <a16:creationId xmlns:a16="http://schemas.microsoft.com/office/drawing/2014/main" id="{2D539C48-4CCB-9354-C904-1A35366D90C5}"/>
              </a:ext>
            </a:extLst>
          </p:cNvPr>
          <p:cNvSpPr txBox="1"/>
          <p:nvPr/>
        </p:nvSpPr>
        <p:spPr>
          <a:xfrm>
            <a:off x="722031" y="5625016"/>
            <a:ext cx="5483588" cy="438005"/>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50" dirty="0" err="1">
                <a:solidFill>
                  <a:srgbClr val="6D6D6D"/>
                </a:solidFill>
                <a:latin typeface="Consolas"/>
              </a:rPr>
              <a:t>devnet-adm@ubuntu-devnet</a:t>
            </a:r>
            <a:r>
              <a:rPr lang="fr-FR" sz="1050" dirty="0">
                <a:solidFill>
                  <a:srgbClr val="6D6D6D"/>
                </a:solidFill>
                <a:latin typeface="Consolas"/>
              </a:rPr>
              <a:t>:</a:t>
            </a:r>
            <a:r>
              <a:rPr lang="fr-FR" sz="1050" dirty="0">
                <a:solidFill>
                  <a:srgbClr val="8C8C8C"/>
                </a:solidFill>
                <a:latin typeface="Consolas"/>
              </a:rPr>
              <a:t>~/</a:t>
            </a:r>
            <a:r>
              <a:rPr lang="fr-FR" sz="1050" dirty="0" err="1">
                <a:solidFill>
                  <a:srgbClr val="8C8C8C"/>
                </a:solidFill>
                <a:latin typeface="Consolas"/>
              </a:rPr>
              <a:t>tig</a:t>
            </a:r>
            <a:r>
              <a:rPr lang="fr-FR" sz="1050" dirty="0">
                <a:solidFill>
                  <a:srgbClr val="8C8C8C"/>
                </a:solidFill>
                <a:latin typeface="Consolas"/>
              </a:rPr>
              <a:t>-stack</a:t>
            </a:r>
            <a:r>
              <a:rPr lang="fr-FR" sz="1050" dirty="0">
                <a:solidFill>
                  <a:srgbClr val="EEE8D5"/>
                </a:solidFill>
                <a:latin typeface="Consolas"/>
              </a:rPr>
              <a:t>$ </a:t>
            </a:r>
            <a:r>
              <a:rPr lang="fr-FR" sz="1050" dirty="0" err="1">
                <a:solidFill>
                  <a:srgbClr val="EEE8D5"/>
                </a:solidFill>
                <a:latin typeface="Consolas"/>
              </a:rPr>
              <a:t>mkdir</a:t>
            </a:r>
            <a:r>
              <a:rPr lang="fr-FR" sz="1050" dirty="0">
                <a:solidFill>
                  <a:srgbClr val="EEE8D5"/>
                </a:solidFill>
                <a:latin typeface="Consolas"/>
              </a:rPr>
              <a:t> -p </a:t>
            </a:r>
            <a:r>
              <a:rPr lang="fr-FR" sz="1050" dirty="0" err="1">
                <a:solidFill>
                  <a:srgbClr val="EEE8D5"/>
                </a:solidFill>
                <a:latin typeface="Consolas"/>
              </a:rPr>
              <a:t>telegraf</a:t>
            </a:r>
            <a:r>
              <a:rPr lang="fr-FR" sz="1050" dirty="0">
                <a:solidFill>
                  <a:srgbClr val="EEE8D5"/>
                </a:solidFill>
                <a:latin typeface="Consolas"/>
              </a:rPr>
              <a:t>/conf</a:t>
            </a:r>
            <a:endParaRPr lang="nb-NO" dirty="0">
              <a:latin typeface="Consolas"/>
            </a:endParaRPr>
          </a:p>
          <a:p>
            <a:pPr lvl="1" indent="-97155"/>
            <a:r>
              <a:rPr lang="fr-FR" sz="1050" dirty="0" err="1">
                <a:solidFill>
                  <a:srgbClr val="6D6D6D"/>
                </a:solidFill>
                <a:latin typeface="Consolas"/>
              </a:rPr>
              <a:t>devnet-adm@ubuntu-devnet</a:t>
            </a:r>
            <a:r>
              <a:rPr lang="fr-FR" sz="1050" dirty="0">
                <a:solidFill>
                  <a:srgbClr val="6D6D6D"/>
                </a:solidFill>
                <a:latin typeface="Consolas"/>
              </a:rPr>
              <a:t>:</a:t>
            </a:r>
            <a:r>
              <a:rPr lang="fr-FR" sz="1050" dirty="0">
                <a:solidFill>
                  <a:srgbClr val="8C8C8C"/>
                </a:solidFill>
                <a:latin typeface="Consolas"/>
              </a:rPr>
              <a:t>~/</a:t>
            </a:r>
            <a:r>
              <a:rPr lang="fr-FR" sz="1050" dirty="0" err="1">
                <a:solidFill>
                  <a:srgbClr val="8C8C8C"/>
                </a:solidFill>
                <a:latin typeface="Consolas"/>
              </a:rPr>
              <a:t>tig</a:t>
            </a:r>
            <a:r>
              <a:rPr lang="fr-FR" sz="1050" dirty="0">
                <a:solidFill>
                  <a:srgbClr val="8C8C8C"/>
                </a:solidFill>
                <a:latin typeface="Consolas"/>
              </a:rPr>
              <a:t>-stack</a:t>
            </a:r>
            <a:r>
              <a:rPr lang="fr-FR" sz="1050" dirty="0">
                <a:solidFill>
                  <a:srgbClr val="EEE8D5"/>
                </a:solidFill>
                <a:latin typeface="Consolas"/>
              </a:rPr>
              <a:t>$ nano </a:t>
            </a:r>
            <a:r>
              <a:rPr lang="fr-FR" sz="1050" dirty="0" err="1">
                <a:solidFill>
                  <a:srgbClr val="EEE8D5"/>
                </a:solidFill>
                <a:latin typeface="Consolas"/>
              </a:rPr>
              <a:t>telegraf</a:t>
            </a:r>
            <a:r>
              <a:rPr lang="fr-FR" sz="1050" dirty="0">
                <a:solidFill>
                  <a:srgbClr val="EEE8D5"/>
                </a:solidFill>
                <a:latin typeface="Consolas"/>
              </a:rPr>
              <a:t>/conf/</a:t>
            </a:r>
            <a:r>
              <a:rPr lang="fr-FR" sz="1050" dirty="0" err="1">
                <a:solidFill>
                  <a:srgbClr val="EEE8D5"/>
                </a:solidFill>
                <a:latin typeface="Consolas"/>
              </a:rPr>
              <a:t>telegraf.conf</a:t>
            </a:r>
            <a:endParaRPr lang="fr-FR" sz="1050" dirty="0">
              <a:solidFill>
                <a:srgbClr val="EEE8D5"/>
              </a:solidFill>
              <a:latin typeface="Consolas"/>
            </a:endParaRPr>
          </a:p>
        </p:txBody>
      </p:sp>
      <p:cxnSp>
        <p:nvCxnSpPr>
          <p:cNvPr id="4" name="Straight Arrow Connector 3">
            <a:extLst>
              <a:ext uri="{FF2B5EF4-FFF2-40B4-BE49-F238E27FC236}">
                <a16:creationId xmlns:a16="http://schemas.microsoft.com/office/drawing/2014/main" id="{3BE94264-C2AE-A7EA-AFE7-98C55355CECC}"/>
              </a:ext>
            </a:extLst>
          </p:cNvPr>
          <p:cNvCxnSpPr>
            <a:cxnSpLocks/>
            <a:endCxn id="8" idx="1"/>
          </p:cNvCxnSpPr>
          <p:nvPr/>
        </p:nvCxnSpPr>
        <p:spPr>
          <a:xfrm flipV="1">
            <a:off x="6055295" y="2740868"/>
            <a:ext cx="1599271" cy="30990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2" name="Bilde 11" descr="Et bilde som inneholder tekst, Font, skjermbilde&#10;&#10;Automatisk generert beskrivelse">
            <a:extLst>
              <a:ext uri="{FF2B5EF4-FFF2-40B4-BE49-F238E27FC236}">
                <a16:creationId xmlns:a16="http://schemas.microsoft.com/office/drawing/2014/main" id="{D50EC274-2287-C9AB-1B21-B9D7A7CA2EE7}"/>
              </a:ext>
            </a:extLst>
          </p:cNvPr>
          <p:cNvPicPr>
            <a:picLocks noChangeAspect="1"/>
          </p:cNvPicPr>
          <p:nvPr/>
        </p:nvPicPr>
        <p:blipFill>
          <a:blip r:embed="rId3"/>
          <a:stretch>
            <a:fillRect/>
          </a:stretch>
        </p:blipFill>
        <p:spPr>
          <a:xfrm>
            <a:off x="709141" y="3895491"/>
            <a:ext cx="4016799" cy="528560"/>
          </a:xfrm>
          <a:prstGeom prst="rect">
            <a:avLst/>
          </a:prstGeom>
        </p:spPr>
      </p:pic>
      <p:cxnSp>
        <p:nvCxnSpPr>
          <p:cNvPr id="13" name="Straight Arrow Connector 3">
            <a:extLst>
              <a:ext uri="{FF2B5EF4-FFF2-40B4-BE49-F238E27FC236}">
                <a16:creationId xmlns:a16="http://schemas.microsoft.com/office/drawing/2014/main" id="{18655312-CB2F-BE5C-F5D7-83D416627A9D}"/>
              </a:ext>
            </a:extLst>
          </p:cNvPr>
          <p:cNvCxnSpPr>
            <a:cxnSpLocks/>
          </p:cNvCxnSpPr>
          <p:nvPr/>
        </p:nvCxnSpPr>
        <p:spPr>
          <a:xfrm flipH="1">
            <a:off x="2451370" y="2397890"/>
            <a:ext cx="518809" cy="3723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E57D1EC9-49F3-7BDF-7EB7-EDB21E4C558F}"/>
              </a:ext>
            </a:extLst>
          </p:cNvPr>
          <p:cNvSpPr txBox="1"/>
          <p:nvPr/>
        </p:nvSpPr>
        <p:spPr>
          <a:xfrm>
            <a:off x="7654566" y="270961"/>
            <a:ext cx="4449860" cy="4939814"/>
          </a:xfrm>
          <a:prstGeom prst="rect">
            <a:avLst/>
          </a:prstGeom>
          <a:noFill/>
          <a:ln>
            <a:solidFill>
              <a:schemeClr val="tx1"/>
            </a:solidFill>
          </a:ln>
        </p:spPr>
        <p:txBody>
          <a:bodyPr wrap="square" lIns="91440" tIns="45720" rIns="91440" bIns="45720" anchor="t">
            <a:spAutoFit/>
          </a:bodyPr>
          <a:lstStyle/>
          <a:p>
            <a:r>
              <a:rPr lang="nb-NO" sz="700" dirty="0">
                <a:latin typeface="Consolas"/>
              </a:rPr>
              <a:t>[</a:t>
            </a:r>
            <a:r>
              <a:rPr lang="nb-NO" sz="700" dirty="0" err="1">
                <a:latin typeface="Consolas"/>
              </a:rPr>
              <a:t>global_tags</a:t>
            </a:r>
            <a:r>
              <a:rPr lang="nb-NO" sz="700" dirty="0">
                <a:latin typeface="Consolas"/>
              </a:rPr>
              <a:t>]</a:t>
            </a:r>
          </a:p>
          <a:p>
            <a:r>
              <a:rPr lang="nb-NO" sz="700" dirty="0">
                <a:latin typeface="Consolas"/>
              </a:rPr>
              <a:t>  host = "My-Telegraf"</a:t>
            </a:r>
          </a:p>
          <a:p>
            <a:r>
              <a:rPr lang="nb-NO" sz="700" dirty="0">
                <a:latin typeface="Consolas"/>
              </a:rPr>
              <a:t>[agent]</a:t>
            </a:r>
          </a:p>
          <a:p>
            <a:r>
              <a:rPr lang="nb-NO" sz="700" dirty="0">
                <a:latin typeface="Consolas"/>
              </a:rPr>
              <a:t>  </a:t>
            </a:r>
            <a:r>
              <a:rPr lang="nb-NO" sz="700" dirty="0" err="1">
                <a:latin typeface="Consolas"/>
              </a:rPr>
              <a:t>interval</a:t>
            </a:r>
            <a:r>
              <a:rPr lang="nb-NO" sz="700" dirty="0">
                <a:latin typeface="Consolas"/>
              </a:rPr>
              <a:t> = "10s"</a:t>
            </a:r>
          </a:p>
          <a:p>
            <a:r>
              <a:rPr lang="nb-NO" sz="700" dirty="0">
                <a:latin typeface="Consolas"/>
              </a:rPr>
              <a:t>  </a:t>
            </a:r>
            <a:r>
              <a:rPr lang="nb-NO" sz="700" dirty="0" err="1">
                <a:latin typeface="Consolas"/>
              </a:rPr>
              <a:t>round_interval</a:t>
            </a:r>
            <a:r>
              <a:rPr lang="nb-NO" sz="700" dirty="0">
                <a:latin typeface="Consolas"/>
              </a:rPr>
              <a:t> = true</a:t>
            </a:r>
          </a:p>
          <a:p>
            <a:r>
              <a:rPr lang="nb-NO" sz="700" dirty="0">
                <a:latin typeface="Consolas"/>
              </a:rPr>
              <a:t>  </a:t>
            </a:r>
            <a:r>
              <a:rPr lang="nb-NO" sz="700" dirty="0" err="1">
                <a:latin typeface="Consolas"/>
              </a:rPr>
              <a:t>metric_batch_size</a:t>
            </a:r>
            <a:r>
              <a:rPr lang="nb-NO" sz="700" dirty="0">
                <a:latin typeface="Consolas"/>
              </a:rPr>
              <a:t> = 1000</a:t>
            </a:r>
          </a:p>
          <a:p>
            <a:r>
              <a:rPr lang="nb-NO" sz="700" dirty="0">
                <a:latin typeface="Consolas"/>
              </a:rPr>
              <a:t>  </a:t>
            </a:r>
            <a:r>
              <a:rPr lang="nb-NO" sz="700" dirty="0" err="1">
                <a:latin typeface="Consolas"/>
              </a:rPr>
              <a:t>metric_buffer_limit</a:t>
            </a:r>
            <a:r>
              <a:rPr lang="nb-NO" sz="700" dirty="0">
                <a:latin typeface="Consolas"/>
              </a:rPr>
              <a:t> = 10000</a:t>
            </a:r>
          </a:p>
          <a:p>
            <a:r>
              <a:rPr lang="nb-NO" sz="700" dirty="0">
                <a:latin typeface="Consolas"/>
              </a:rPr>
              <a:t>  </a:t>
            </a:r>
            <a:r>
              <a:rPr lang="nb-NO" sz="700" dirty="0" err="1">
                <a:latin typeface="Consolas"/>
              </a:rPr>
              <a:t>collection_jitter</a:t>
            </a:r>
            <a:r>
              <a:rPr lang="nb-NO" sz="700" dirty="0">
                <a:latin typeface="Consolas"/>
              </a:rPr>
              <a:t> = "0s"</a:t>
            </a:r>
          </a:p>
          <a:p>
            <a:r>
              <a:rPr lang="nb-NO" sz="700" dirty="0">
                <a:latin typeface="Consolas"/>
              </a:rPr>
              <a:t>  </a:t>
            </a:r>
            <a:r>
              <a:rPr lang="nb-NO" sz="700" dirty="0" err="1">
                <a:latin typeface="Consolas"/>
              </a:rPr>
              <a:t>flush_interval</a:t>
            </a:r>
            <a:r>
              <a:rPr lang="nb-NO" sz="700" dirty="0">
                <a:latin typeface="Consolas"/>
              </a:rPr>
              <a:t> = "10s"</a:t>
            </a:r>
          </a:p>
          <a:p>
            <a:r>
              <a:rPr lang="nb-NO" sz="700" dirty="0">
                <a:latin typeface="Consolas"/>
              </a:rPr>
              <a:t>  </a:t>
            </a:r>
            <a:r>
              <a:rPr lang="nb-NO" sz="700" dirty="0" err="1">
                <a:latin typeface="Consolas"/>
              </a:rPr>
              <a:t>flush_jitter</a:t>
            </a:r>
            <a:r>
              <a:rPr lang="nb-NO" sz="700" dirty="0">
                <a:latin typeface="Consolas"/>
              </a:rPr>
              <a:t> = "0s"</a:t>
            </a:r>
          </a:p>
          <a:p>
            <a:r>
              <a:rPr lang="nb-NO" sz="700" dirty="0">
                <a:latin typeface="Consolas"/>
              </a:rPr>
              <a:t>  </a:t>
            </a:r>
            <a:r>
              <a:rPr lang="nb-NO" sz="700" dirty="0" err="1">
                <a:latin typeface="Consolas"/>
              </a:rPr>
              <a:t>precision</a:t>
            </a:r>
            <a:r>
              <a:rPr lang="nb-NO" sz="700" dirty="0">
                <a:latin typeface="Consolas"/>
              </a:rPr>
              <a:t> = ""</a:t>
            </a:r>
          </a:p>
          <a:p>
            <a:r>
              <a:rPr lang="nb-NO" sz="700" dirty="0">
                <a:latin typeface="Consolas"/>
              </a:rPr>
              <a:t>  </a:t>
            </a:r>
            <a:r>
              <a:rPr lang="nb-NO" sz="700" dirty="0" err="1">
                <a:latin typeface="Consolas"/>
              </a:rPr>
              <a:t>debug</a:t>
            </a:r>
            <a:r>
              <a:rPr lang="nb-NO" sz="700" dirty="0">
                <a:latin typeface="Consolas"/>
              </a:rPr>
              <a:t> = false</a:t>
            </a:r>
          </a:p>
          <a:p>
            <a:r>
              <a:rPr lang="nb-NO" sz="700" dirty="0">
                <a:latin typeface="Consolas"/>
              </a:rPr>
              <a:t>  </a:t>
            </a:r>
            <a:r>
              <a:rPr lang="nb-NO" sz="700" dirty="0" err="1">
                <a:latin typeface="Consolas"/>
              </a:rPr>
              <a:t>quiet</a:t>
            </a:r>
            <a:r>
              <a:rPr lang="nb-NO" sz="700" dirty="0">
                <a:latin typeface="Consolas"/>
              </a:rPr>
              <a:t> = false</a:t>
            </a:r>
          </a:p>
          <a:p>
            <a:r>
              <a:rPr lang="nb-NO" sz="700" dirty="0">
                <a:latin typeface="Consolas"/>
              </a:rPr>
              <a:t>  </a:t>
            </a:r>
            <a:r>
              <a:rPr lang="nb-NO" sz="700" dirty="0" err="1">
                <a:latin typeface="Consolas"/>
              </a:rPr>
              <a:t>logfile</a:t>
            </a:r>
            <a:r>
              <a:rPr lang="nb-NO" sz="700" dirty="0">
                <a:latin typeface="Consolas"/>
              </a:rPr>
              <a:t> = ""</a:t>
            </a:r>
          </a:p>
          <a:p>
            <a:r>
              <a:rPr lang="nb-NO" sz="700" dirty="0">
                <a:latin typeface="Consolas"/>
              </a:rPr>
              <a:t>  </a:t>
            </a:r>
            <a:r>
              <a:rPr lang="nb-NO" sz="700" dirty="0" err="1">
                <a:latin typeface="Consolas"/>
              </a:rPr>
              <a:t>hostname</a:t>
            </a:r>
            <a:r>
              <a:rPr lang="nb-NO" sz="700" dirty="0">
                <a:latin typeface="Consolas"/>
              </a:rPr>
              <a:t> = "My-Telegraf"</a:t>
            </a:r>
          </a:p>
          <a:p>
            <a:r>
              <a:rPr lang="nb-NO" sz="700" dirty="0">
                <a:latin typeface="Consolas"/>
              </a:rPr>
              <a:t>  </a:t>
            </a:r>
            <a:r>
              <a:rPr lang="nb-NO" sz="700" dirty="0" err="1">
                <a:latin typeface="Consolas"/>
              </a:rPr>
              <a:t>omit_hostname</a:t>
            </a:r>
            <a:r>
              <a:rPr lang="nb-NO" sz="700" dirty="0">
                <a:latin typeface="Consolas"/>
              </a:rPr>
              <a:t> = false</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p>
          <a:p>
            <a:r>
              <a:rPr lang="nb-NO" sz="700" dirty="0">
                <a:latin typeface="Consolas"/>
              </a:rPr>
              <a:t>#                            OUTPUT </a:t>
            </a:r>
            <a:r>
              <a:rPr lang="nb-NO" sz="700" dirty="0" err="1">
                <a:latin typeface="Consolas"/>
              </a:rPr>
              <a:t>PLUGINS</a:t>
            </a:r>
            <a:r>
              <a:rPr lang="nb-NO" sz="700" dirty="0">
                <a:latin typeface="Consolas"/>
              </a:rPr>
              <a:t>                                   #</a:t>
            </a:r>
          </a:p>
          <a:p>
            <a:r>
              <a:rPr lang="nb-NO" sz="700" dirty="0">
                <a:latin typeface="Consolas"/>
              </a:rPr>
              <a:t>###############################################################################</a:t>
            </a:r>
          </a:p>
          <a:p>
            <a:endParaRPr lang="nb-NO" sz="700" dirty="0">
              <a:latin typeface="Consolas" panose="020B0609020204030204" pitchFamily="49" charset="0"/>
            </a:endParaRPr>
          </a:p>
          <a:p>
            <a:r>
              <a:rPr lang="nb-NO" sz="700" dirty="0">
                <a:latin typeface="Consolas"/>
              </a:rPr>
              <a:t># </a:t>
            </a:r>
            <a:r>
              <a:rPr lang="nb-NO" sz="700" dirty="0" err="1">
                <a:latin typeface="Consolas"/>
              </a:rPr>
              <a:t>Configuration</a:t>
            </a:r>
            <a:r>
              <a:rPr lang="nb-NO" sz="700" dirty="0">
                <a:latin typeface="Consolas"/>
              </a:rPr>
              <a:t> for </a:t>
            </a:r>
            <a:r>
              <a:rPr lang="nb-NO" sz="700" dirty="0" err="1">
                <a:latin typeface="Consolas"/>
              </a:rPr>
              <a:t>influxdb</a:t>
            </a:r>
            <a:r>
              <a:rPr lang="nb-NO" sz="700" dirty="0">
                <a:latin typeface="Consolas"/>
              </a:rPr>
              <a:t> server to send </a:t>
            </a:r>
            <a:r>
              <a:rPr lang="nb-NO" sz="700" dirty="0" err="1">
                <a:latin typeface="Consolas"/>
              </a:rPr>
              <a:t>metrics</a:t>
            </a:r>
            <a:r>
              <a:rPr lang="nb-NO" sz="700" dirty="0">
                <a:latin typeface="Consolas"/>
              </a:rPr>
              <a:t> to</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r>
              <a:rPr lang="nb-NO" sz="700" dirty="0" err="1">
                <a:latin typeface="Consolas"/>
              </a:rPr>
              <a:t>outputs.influxdb_v2</a:t>
            </a:r>
            <a:r>
              <a:rPr lang="nb-NO" sz="700" dirty="0">
                <a:latin typeface="Consolas"/>
              </a:rPr>
              <a:t>]]</a:t>
            </a:r>
          </a:p>
          <a:p>
            <a:r>
              <a:rPr lang="nb-NO" sz="700" dirty="0" err="1">
                <a:latin typeface="Consolas"/>
              </a:rPr>
              <a:t>urls</a:t>
            </a:r>
            <a:r>
              <a:rPr lang="nb-NO" sz="700" dirty="0">
                <a:latin typeface="Consolas"/>
              </a:rPr>
              <a:t> = [ "http://</a:t>
            </a:r>
            <a:r>
              <a:rPr lang="nb-NO" sz="700" dirty="0" err="1">
                <a:latin typeface="Consolas"/>
              </a:rPr>
              <a:t>influxdb:8086</a:t>
            </a:r>
            <a:r>
              <a:rPr lang="nb-NO" sz="700" dirty="0">
                <a:latin typeface="Consolas"/>
              </a:rPr>
              <a:t>" ]</a:t>
            </a:r>
          </a:p>
          <a:p>
            <a:r>
              <a:rPr lang="nb-NO" sz="700" dirty="0">
                <a:latin typeface="Consolas"/>
              </a:rPr>
              <a:t>  token = "${</a:t>
            </a:r>
            <a:r>
              <a:rPr lang="nb-NO" sz="700" dirty="0" err="1">
                <a:latin typeface="Consolas"/>
              </a:rPr>
              <a:t>INFLUXDB_ADMIN_TOKEN</a:t>
            </a:r>
            <a:r>
              <a:rPr lang="nb-NO" sz="700" dirty="0">
                <a:latin typeface="Consolas"/>
              </a:rPr>
              <a:t>}"</a:t>
            </a:r>
            <a:endParaRPr lang="nb-NO" sz="700" dirty="0">
              <a:latin typeface="Consolas" panose="020B0609020204030204" pitchFamily="49" charset="0"/>
            </a:endParaRPr>
          </a:p>
          <a:p>
            <a:r>
              <a:rPr lang="nb-NO" sz="700" dirty="0">
                <a:latin typeface="Consolas"/>
              </a:rPr>
              <a:t>  </a:t>
            </a:r>
            <a:r>
              <a:rPr lang="nb-NO" sz="700" dirty="0" err="1">
                <a:latin typeface="Consolas"/>
              </a:rPr>
              <a:t>organization</a:t>
            </a:r>
            <a:r>
              <a:rPr lang="nb-NO" sz="700" dirty="0">
                <a:latin typeface="Consolas"/>
              </a:rPr>
              <a:t> = "${</a:t>
            </a:r>
            <a:r>
              <a:rPr lang="nb-NO" sz="700" dirty="0" err="1">
                <a:latin typeface="Consolas"/>
              </a:rPr>
              <a:t>INFLUXDB_ORG</a:t>
            </a:r>
            <a:r>
              <a:rPr lang="nb-NO" sz="700" dirty="0">
                <a:latin typeface="Consolas"/>
              </a:rPr>
              <a:t>}"</a:t>
            </a:r>
          </a:p>
          <a:p>
            <a:r>
              <a:rPr lang="nb-NO" sz="700" dirty="0">
                <a:latin typeface="Consolas"/>
              </a:rPr>
              <a:t>  </a:t>
            </a:r>
            <a:r>
              <a:rPr lang="nb-NO" sz="700" dirty="0" err="1">
                <a:latin typeface="Consolas"/>
              </a:rPr>
              <a:t>bucket</a:t>
            </a:r>
            <a:r>
              <a:rPr lang="nb-NO" sz="700" dirty="0">
                <a:latin typeface="Consolas"/>
              </a:rPr>
              <a:t> = "${</a:t>
            </a:r>
            <a:r>
              <a:rPr lang="nb-NO" sz="700" dirty="0" err="1">
                <a:latin typeface="Consolas"/>
              </a:rPr>
              <a:t>INFLUXDB_BUCKET</a:t>
            </a:r>
            <a:r>
              <a:rPr lang="nb-NO" sz="700" dirty="0">
                <a:latin typeface="Consolas"/>
              </a:rPr>
              <a:t>}"</a:t>
            </a:r>
          </a:p>
          <a:p>
            <a:r>
              <a:rPr lang="nb-NO" sz="700" dirty="0">
                <a:latin typeface="Consolas"/>
              </a:rPr>
              <a:t># </a:t>
            </a:r>
            <a:r>
              <a:rPr lang="nb-NO" sz="700" dirty="0" err="1">
                <a:latin typeface="Consolas"/>
              </a:rPr>
              <a:t>tagexclude</a:t>
            </a:r>
            <a:r>
              <a:rPr lang="nb-NO" sz="700" dirty="0">
                <a:latin typeface="Consolas"/>
              </a:rPr>
              <a:t> = ["</a:t>
            </a:r>
            <a:r>
              <a:rPr lang="nb-NO" sz="700" dirty="0" err="1">
                <a:latin typeface="Consolas"/>
              </a:rPr>
              <a:t>influxdb_database</a:t>
            </a:r>
            <a:r>
              <a:rPr lang="nb-NO" sz="700" dirty="0">
                <a:latin typeface="Consolas"/>
              </a:rPr>
              <a:t>"] ### </a:t>
            </a:r>
            <a:r>
              <a:rPr lang="nb-NO" sz="700" dirty="0" err="1">
                <a:latin typeface="Consolas"/>
              </a:rPr>
              <a:t>Optional</a:t>
            </a:r>
            <a:r>
              <a:rPr lang="nb-NO" sz="700" dirty="0">
                <a:latin typeface="Consolas"/>
              </a:rPr>
              <a:t>: </a:t>
            </a:r>
            <a:r>
              <a:rPr lang="nb-NO" sz="700" dirty="0" err="1">
                <a:latin typeface="Consolas"/>
              </a:rPr>
              <a:t>Exclude</a:t>
            </a:r>
            <a:r>
              <a:rPr lang="nb-NO" sz="700" dirty="0">
                <a:latin typeface="Consolas"/>
              </a:rPr>
              <a:t> </a:t>
            </a:r>
            <a:r>
              <a:rPr lang="nb-NO" sz="700" dirty="0" err="1">
                <a:latin typeface="Consolas"/>
              </a:rPr>
              <a:t>specific</a:t>
            </a:r>
            <a:r>
              <a:rPr lang="nb-NO" sz="700" dirty="0">
                <a:latin typeface="Consolas"/>
              </a:rPr>
              <a:t> tags </a:t>
            </a:r>
            <a:r>
              <a:rPr lang="nb-NO" sz="700" dirty="0" err="1">
                <a:latin typeface="Consolas"/>
              </a:rPr>
              <a:t>if</a:t>
            </a:r>
            <a:r>
              <a:rPr lang="nb-NO" sz="700" dirty="0">
                <a:latin typeface="Consolas"/>
              </a:rPr>
              <a:t> </a:t>
            </a:r>
            <a:r>
              <a:rPr lang="nb-NO" sz="700" dirty="0" err="1">
                <a:latin typeface="Consolas"/>
              </a:rPr>
              <a:t>needed</a:t>
            </a:r>
            <a:endParaRPr lang="nb-NO" sz="700" dirty="0">
              <a:latin typeface="Consolas"/>
            </a:endParaRPr>
          </a:p>
          <a:p>
            <a:r>
              <a:rPr lang="nb-NO" sz="700" dirty="0">
                <a:latin typeface="Consolas"/>
              </a:rPr>
              <a:t> [</a:t>
            </a:r>
            <a:r>
              <a:rPr lang="nb-NO" sz="700" dirty="0" err="1">
                <a:latin typeface="Consolas"/>
              </a:rPr>
              <a:t>outputs.influxdb_v2.tagpass</a:t>
            </a:r>
            <a:r>
              <a:rPr lang="nb-NO" sz="700" dirty="0">
                <a:latin typeface="Consolas"/>
              </a:rPr>
              <a:t>]</a:t>
            </a:r>
          </a:p>
          <a:p>
            <a:r>
              <a:rPr lang="nb-NO" sz="700" dirty="0">
                <a:latin typeface="Consolas"/>
              </a:rPr>
              <a:t>  </a:t>
            </a:r>
            <a:r>
              <a:rPr lang="nb-NO" sz="700" dirty="0" err="1">
                <a:latin typeface="Consolas"/>
              </a:rPr>
              <a:t>influxdb_database</a:t>
            </a:r>
            <a:r>
              <a:rPr lang="nb-NO" sz="700" dirty="0">
                <a:latin typeface="Consolas"/>
              </a:rPr>
              <a:t> = ["${</a:t>
            </a:r>
            <a:r>
              <a:rPr lang="nb-NO" sz="700" dirty="0" err="1">
                <a:latin typeface="Consolas"/>
              </a:rPr>
              <a:t>INFLUXDB_BUCKET</a:t>
            </a:r>
            <a:r>
              <a:rPr lang="nb-NO" sz="700" dirty="0">
                <a:latin typeface="Consolas"/>
              </a:rPr>
              <a:t>}"]</a:t>
            </a:r>
          </a:p>
          <a:p>
            <a:endParaRPr lang="nb-NO" sz="700" dirty="0">
              <a:latin typeface="Consolas" panose="020B0609020204030204" pitchFamily="49" charset="0"/>
            </a:endParaRPr>
          </a:p>
          <a:p>
            <a:endParaRPr lang="nb-NO" sz="700" dirty="0">
              <a:latin typeface="Consolas" panose="020B0609020204030204" pitchFamily="49" charset="0"/>
            </a:endParaRPr>
          </a:p>
          <a:p>
            <a:r>
              <a:rPr lang="nb-NO" sz="700" dirty="0">
                <a:latin typeface="Consolas"/>
              </a:rPr>
              <a:t>###############################################################################</a:t>
            </a:r>
          </a:p>
          <a:p>
            <a:r>
              <a:rPr lang="nb-NO" sz="700" dirty="0">
                <a:latin typeface="Consolas"/>
              </a:rPr>
              <a:t>#                            INPUT </a:t>
            </a:r>
            <a:r>
              <a:rPr lang="nb-NO" sz="700" dirty="0" err="1">
                <a:latin typeface="Consolas"/>
              </a:rPr>
              <a:t>PLUGINS</a:t>
            </a:r>
            <a:r>
              <a:rPr lang="nb-NO" sz="700" dirty="0">
                <a:latin typeface="Consolas"/>
              </a:rPr>
              <a:t>                                    #</a:t>
            </a:r>
          </a:p>
          <a:p>
            <a:r>
              <a:rPr lang="nb-NO" sz="700" dirty="0">
                <a:latin typeface="Consolas"/>
              </a:rPr>
              <a:t>###############################################################################</a:t>
            </a:r>
          </a:p>
          <a:p>
            <a:endParaRPr lang="nb-NO" sz="700" dirty="0">
              <a:latin typeface="Consolas" panose="020B0609020204030204" pitchFamily="49" charset="0"/>
            </a:endParaRPr>
          </a:p>
          <a:p>
            <a:r>
              <a:rPr lang="nb-NO" sz="700" dirty="0">
                <a:latin typeface="Consolas"/>
              </a:rPr>
              <a:t>[[</a:t>
            </a:r>
            <a:r>
              <a:rPr lang="nb-NO" sz="700" dirty="0" err="1">
                <a:latin typeface="Consolas"/>
              </a:rPr>
              <a:t>inputs.cisco_telemetry_mdt</a:t>
            </a:r>
            <a:r>
              <a:rPr lang="nb-NO" sz="700" dirty="0">
                <a:latin typeface="Consolas"/>
              </a:rPr>
              <a:t>]]</a:t>
            </a:r>
          </a:p>
          <a:p>
            <a:r>
              <a:rPr lang="nb-NO" sz="700" dirty="0">
                <a:latin typeface="Consolas"/>
              </a:rPr>
              <a:t>  transport = "</a:t>
            </a:r>
            <a:r>
              <a:rPr lang="nb-NO" sz="700" dirty="0" err="1">
                <a:latin typeface="Consolas"/>
              </a:rPr>
              <a:t>grpc</a:t>
            </a:r>
            <a:r>
              <a:rPr lang="nb-NO" sz="700" dirty="0">
                <a:latin typeface="Consolas"/>
              </a:rPr>
              <a:t>"</a:t>
            </a:r>
          </a:p>
          <a:p>
            <a:r>
              <a:rPr lang="nb-NO" sz="700" dirty="0">
                <a:latin typeface="Consolas"/>
              </a:rPr>
              <a:t>  </a:t>
            </a:r>
            <a:r>
              <a:rPr lang="nb-NO" sz="700" dirty="0" err="1">
                <a:latin typeface="Consolas"/>
              </a:rPr>
              <a:t>service_address</a:t>
            </a:r>
            <a:r>
              <a:rPr lang="nb-NO" sz="700" dirty="0">
                <a:latin typeface="Consolas"/>
              </a:rPr>
              <a:t> = ":57000"</a:t>
            </a:r>
          </a:p>
          <a:p>
            <a:r>
              <a:rPr lang="nb-NO" sz="700" dirty="0">
                <a:latin typeface="Consolas"/>
              </a:rPr>
              <a:t> [</a:t>
            </a:r>
            <a:r>
              <a:rPr lang="nb-NO" sz="700" dirty="0" err="1">
                <a:latin typeface="Consolas"/>
              </a:rPr>
              <a:t>inputs.cisco_telemetry_mdt.tags</a:t>
            </a:r>
            <a:r>
              <a:rPr lang="nb-NO" sz="700" dirty="0">
                <a:latin typeface="Consolas"/>
              </a:rPr>
              <a:t>]</a:t>
            </a:r>
          </a:p>
          <a:p>
            <a:r>
              <a:rPr lang="nb-NO" sz="700" dirty="0">
                <a:latin typeface="Consolas"/>
              </a:rPr>
              <a:t>  </a:t>
            </a:r>
            <a:r>
              <a:rPr lang="nb-NO" sz="700" dirty="0" err="1">
                <a:latin typeface="Consolas"/>
              </a:rPr>
              <a:t>influxdb_database</a:t>
            </a:r>
            <a:r>
              <a:rPr lang="nb-NO" sz="700" dirty="0">
                <a:latin typeface="Consolas"/>
              </a:rPr>
              <a:t> =  "${</a:t>
            </a:r>
            <a:r>
              <a:rPr lang="nb-NO" sz="700" dirty="0" err="1">
                <a:latin typeface="Consolas"/>
              </a:rPr>
              <a:t>INFLUXDB_BUCKET</a:t>
            </a:r>
            <a:r>
              <a:rPr lang="nb-NO" sz="700" dirty="0">
                <a:latin typeface="Consolas"/>
              </a:rPr>
              <a:t>}"</a:t>
            </a:r>
          </a:p>
        </p:txBody>
      </p:sp>
      <p:sp>
        <p:nvSpPr>
          <p:cNvPr id="9" name="TextBox 8">
            <a:extLst>
              <a:ext uri="{FF2B5EF4-FFF2-40B4-BE49-F238E27FC236}">
                <a16:creationId xmlns:a16="http://schemas.microsoft.com/office/drawing/2014/main" id="{3A122CC6-929C-3628-C6F1-B3393BF93DE2}"/>
              </a:ext>
            </a:extLst>
          </p:cNvPr>
          <p:cNvSpPr txBox="1"/>
          <p:nvPr/>
        </p:nvSpPr>
        <p:spPr>
          <a:xfrm>
            <a:off x="9431660" y="0"/>
            <a:ext cx="2488347" cy="276999"/>
          </a:xfrm>
          <a:prstGeom prst="rect">
            <a:avLst/>
          </a:prstGeom>
          <a:noFill/>
        </p:spPr>
        <p:txBody>
          <a:bodyPr wrap="square">
            <a:spAutoFit/>
          </a:bodyPr>
          <a:lstStyle/>
          <a:p>
            <a:r>
              <a:rPr lang="en-GB" sz="1200" err="1">
                <a:latin typeface="Consolas" panose="020B0609020204030204" pitchFamily="49" charset="0"/>
              </a:rPr>
              <a:t>telegraf.conf</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8F26D8AF-5C5F-8360-F68B-683C5ABBD2DD}"/>
              </a:ext>
            </a:extLst>
          </p:cNvPr>
          <p:cNvSpPr txBox="1"/>
          <p:nvPr/>
        </p:nvSpPr>
        <p:spPr>
          <a:xfrm>
            <a:off x="773871" y="2732452"/>
            <a:ext cx="2832047" cy="846386"/>
          </a:xfrm>
          <a:prstGeom prst="rect">
            <a:avLst/>
          </a:prstGeom>
          <a:noFill/>
          <a:ln>
            <a:solidFill>
              <a:schemeClr val="tx1"/>
            </a:solidFill>
          </a:ln>
        </p:spPr>
        <p:txBody>
          <a:bodyPr wrap="square">
            <a:spAutoFit/>
          </a:bodyPr>
          <a:lstStyle/>
          <a:p>
            <a:r>
              <a:rPr lang="nb-NO" sz="700" dirty="0" err="1">
                <a:latin typeface="Consolas" panose="020B0609020204030204" pitchFamily="49" charset="0"/>
              </a:rPr>
              <a:t>INFLUXDB_ADMIN_USER</a:t>
            </a:r>
            <a:r>
              <a:rPr lang="nb-NO" sz="700" dirty="0">
                <a:latin typeface="Consolas" panose="020B0609020204030204" pitchFamily="49" charset="0"/>
              </a:rPr>
              <a:t>=</a:t>
            </a:r>
            <a:r>
              <a:rPr lang="nb-NO" sz="700" dirty="0" err="1">
                <a:latin typeface="Consolas" panose="020B0609020204030204" pitchFamily="49" charset="0"/>
              </a:rPr>
              <a:t>devnet-adm</a:t>
            </a:r>
            <a:endParaRPr lang="nb-NO" sz="700" dirty="0">
              <a:latin typeface="Consolas" panose="020B0609020204030204" pitchFamily="49" charset="0"/>
            </a:endParaRPr>
          </a:p>
          <a:p>
            <a:r>
              <a:rPr lang="nb-NO" sz="700" dirty="0" err="1">
                <a:latin typeface="Consolas" panose="020B0609020204030204" pitchFamily="49" charset="0"/>
              </a:rPr>
              <a:t>INFLUXDB_ADMIN_PASSWORD</a:t>
            </a:r>
            <a:r>
              <a:rPr lang="nb-NO" sz="700" dirty="0">
                <a:latin typeface="Consolas" panose="020B0609020204030204" pitchFamily="49" charset="0"/>
              </a:rPr>
              <a:t>=</a:t>
            </a:r>
            <a:r>
              <a:rPr lang="nb-NO" sz="700" dirty="0" err="1">
                <a:latin typeface="Consolas" panose="020B0609020204030204" pitchFamily="49" charset="0"/>
              </a:rPr>
              <a:t>ChangeMe2024</a:t>
            </a:r>
            <a:r>
              <a:rPr lang="nb-NO" sz="700" dirty="0">
                <a:latin typeface="Consolas" panose="020B0609020204030204" pitchFamily="49" charset="0"/>
              </a:rPr>
              <a:t>!</a:t>
            </a:r>
          </a:p>
          <a:p>
            <a:r>
              <a:rPr lang="nb-NO" sz="700" dirty="0" err="1">
                <a:latin typeface="Consolas" panose="020B0609020204030204" pitchFamily="49" charset="0"/>
              </a:rPr>
              <a:t>INFLUXDB_ORG</a:t>
            </a:r>
            <a:r>
              <a:rPr lang="nb-NO" sz="700" dirty="0">
                <a:latin typeface="Consolas" panose="020B0609020204030204" pitchFamily="49" charset="0"/>
              </a:rPr>
              <a:t>=</a:t>
            </a:r>
            <a:r>
              <a:rPr lang="nb-NO" sz="700" dirty="0" err="1">
                <a:latin typeface="Consolas" panose="020B0609020204030204" pitchFamily="49" charset="0"/>
              </a:rPr>
              <a:t>devnet</a:t>
            </a:r>
            <a:endParaRPr lang="nb-NO" sz="700" dirty="0">
              <a:latin typeface="Consolas" panose="020B0609020204030204" pitchFamily="49" charset="0"/>
            </a:endParaRPr>
          </a:p>
          <a:p>
            <a:r>
              <a:rPr lang="nb-NO" sz="700" dirty="0" err="1">
                <a:latin typeface="Consolas" panose="020B0609020204030204" pitchFamily="49" charset="0"/>
              </a:rPr>
              <a:t>INFLUXDB_BUCKET</a:t>
            </a:r>
            <a:r>
              <a:rPr lang="nb-NO" sz="700" dirty="0">
                <a:latin typeface="Consolas" panose="020B0609020204030204" pitchFamily="49" charset="0"/>
              </a:rPr>
              <a:t>=</a:t>
            </a:r>
            <a:r>
              <a:rPr lang="nb-NO" sz="700" dirty="0" err="1">
                <a:latin typeface="Consolas" panose="020B0609020204030204" pitchFamily="49" charset="0"/>
              </a:rPr>
              <a:t>c9800-bucket</a:t>
            </a:r>
            <a:endParaRPr lang="nb-NO" sz="700" dirty="0">
              <a:latin typeface="Consolas" panose="020B0609020204030204" pitchFamily="49" charset="0"/>
            </a:endParaRPr>
          </a:p>
          <a:p>
            <a:r>
              <a:rPr lang="nb-NO" sz="700" dirty="0" err="1">
                <a:latin typeface="Consolas" panose="020B0609020204030204" pitchFamily="49" charset="0"/>
              </a:rPr>
              <a:t>INFLUXDB_ADMIN_TOKEN</a:t>
            </a:r>
            <a:r>
              <a:rPr lang="nb-NO" sz="700" dirty="0">
                <a:latin typeface="Consolas" panose="020B0609020204030204" pitchFamily="49" charset="0"/>
              </a:rPr>
              <a:t>=</a:t>
            </a:r>
            <a:r>
              <a:rPr lang="nb-NO" sz="700" dirty="0" err="1">
                <a:latin typeface="Consolas" panose="020B0609020204030204" pitchFamily="49" charset="0"/>
              </a:rPr>
              <a:t>pleasechangeme2024</a:t>
            </a:r>
            <a:endParaRPr lang="nb-NO" sz="700" dirty="0">
              <a:latin typeface="Consolas" panose="020B0609020204030204" pitchFamily="49" charset="0"/>
            </a:endParaRPr>
          </a:p>
          <a:p>
            <a:r>
              <a:rPr lang="nb-NO" sz="700" dirty="0" err="1">
                <a:latin typeface="Consolas" panose="020B0609020204030204" pitchFamily="49" charset="0"/>
              </a:rPr>
              <a:t>GF_SECURITY_ADMIN_USER</a:t>
            </a:r>
            <a:r>
              <a:rPr lang="nb-NO" sz="700" dirty="0">
                <a:latin typeface="Consolas" panose="020B0609020204030204" pitchFamily="49" charset="0"/>
              </a:rPr>
              <a:t>=</a:t>
            </a:r>
            <a:r>
              <a:rPr lang="nb-NO" sz="700" dirty="0" err="1">
                <a:latin typeface="Consolas" panose="020B0609020204030204" pitchFamily="49" charset="0"/>
              </a:rPr>
              <a:t>devnet-adm</a:t>
            </a:r>
            <a:endParaRPr lang="nb-NO" sz="700" dirty="0">
              <a:latin typeface="Consolas" panose="020B0609020204030204" pitchFamily="49" charset="0"/>
            </a:endParaRPr>
          </a:p>
          <a:p>
            <a:r>
              <a:rPr lang="nb-NO" sz="700" dirty="0" err="1">
                <a:latin typeface="Consolas" panose="020B0609020204030204" pitchFamily="49" charset="0"/>
              </a:rPr>
              <a:t>GF_SECURITY_ADMIN_PASSWORD</a:t>
            </a:r>
            <a:r>
              <a:rPr lang="nb-NO" sz="700" dirty="0">
                <a:latin typeface="Consolas" panose="020B0609020204030204" pitchFamily="49" charset="0"/>
              </a:rPr>
              <a:t>=</a:t>
            </a:r>
            <a:r>
              <a:rPr lang="nb-NO" sz="700" dirty="0" err="1">
                <a:latin typeface="Consolas" panose="020B0609020204030204" pitchFamily="49" charset="0"/>
              </a:rPr>
              <a:t>ChangeMe2024</a:t>
            </a:r>
            <a:r>
              <a:rPr lang="nb-NO" sz="700" dirty="0">
                <a:latin typeface="Consolas" panose="020B0609020204030204" pitchFamily="49" charset="0"/>
              </a:rPr>
              <a:t>!</a:t>
            </a:r>
          </a:p>
        </p:txBody>
      </p:sp>
      <p:sp>
        <p:nvSpPr>
          <p:cNvPr id="17" name="TextBox 16">
            <a:extLst>
              <a:ext uri="{FF2B5EF4-FFF2-40B4-BE49-F238E27FC236}">
                <a16:creationId xmlns:a16="http://schemas.microsoft.com/office/drawing/2014/main" id="{AA78EA72-FF71-25D8-9285-7FD4EAF154B5}"/>
              </a:ext>
            </a:extLst>
          </p:cNvPr>
          <p:cNvSpPr txBox="1"/>
          <p:nvPr/>
        </p:nvSpPr>
        <p:spPr>
          <a:xfrm>
            <a:off x="683061" y="2471682"/>
            <a:ext cx="2488347" cy="276999"/>
          </a:xfrm>
          <a:prstGeom prst="rect">
            <a:avLst/>
          </a:prstGeom>
          <a:noFill/>
        </p:spPr>
        <p:txBody>
          <a:bodyPr wrap="square">
            <a:spAutoFit/>
          </a:bodyPr>
          <a:lstStyle/>
          <a:p>
            <a:r>
              <a:rPr lang="en-GB" sz="1200">
                <a:latin typeface="Consolas" panose="020B0609020204030204" pitchFamily="49" charset="0"/>
              </a:rPr>
              <a:t>.env</a:t>
            </a:r>
            <a:endParaRPr lang="nb-NO" sz="1200">
              <a:latin typeface="Consolas" panose="020B0609020204030204" pitchFamily="49" charset="0"/>
            </a:endParaRPr>
          </a:p>
        </p:txBody>
      </p:sp>
      <p:pic>
        <p:nvPicPr>
          <p:cNvPr id="14" name="Picture 13" descr="A blue logo with a black background&#10;&#10;Description automatically generated">
            <a:extLst>
              <a:ext uri="{FF2B5EF4-FFF2-40B4-BE49-F238E27FC236}">
                <a16:creationId xmlns:a16="http://schemas.microsoft.com/office/drawing/2014/main" id="{BED899C8-ECD4-64E2-3DD4-C00009FFD1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711552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TIG stack installation</a:t>
            </a:r>
          </a:p>
        </p:txBody>
      </p:sp>
      <p:sp>
        <p:nvSpPr>
          <p:cNvPr id="6" name="Content Placeholder 5">
            <a:extLst>
              <a:ext uri="{FF2B5EF4-FFF2-40B4-BE49-F238E27FC236}">
                <a16:creationId xmlns:a16="http://schemas.microsoft.com/office/drawing/2014/main" id="{5485B025-69EF-89C1-6489-284E2DAA1110}"/>
              </a:ext>
            </a:extLst>
          </p:cNvPr>
          <p:cNvSpPr>
            <a:spLocks noGrp="1"/>
          </p:cNvSpPr>
          <p:nvPr>
            <p:ph idx="1"/>
          </p:nvPr>
        </p:nvSpPr>
        <p:spPr>
          <a:xfrm>
            <a:off x="540000" y="890898"/>
            <a:ext cx="5850861" cy="5122276"/>
          </a:xfrm>
        </p:spPr>
        <p:txBody>
          <a:bodyPr/>
          <a:lstStyle/>
          <a:p>
            <a:pPr marL="342900" indent="-342900">
              <a:buFont typeface="+mj-lt"/>
              <a:buAutoNum type="arabicPeriod"/>
            </a:pPr>
            <a:r>
              <a:rPr lang="nb-NO" err="1"/>
              <a:t>Configure</a:t>
            </a:r>
            <a:r>
              <a:rPr lang="nb-NO"/>
              <a:t> </a:t>
            </a:r>
            <a:r>
              <a:rPr lang="nb-NO" err="1"/>
              <a:t>docker-compose.yml</a:t>
            </a:r>
            <a:endParaRPr lang="nb-NO"/>
          </a:p>
          <a:p>
            <a:pPr marL="792900" lvl="1" indent="-342900">
              <a:buFont typeface="+mj-lt"/>
              <a:buAutoNum type="arabicPeriod"/>
            </a:pPr>
            <a:endParaRPr lang="nb-NO"/>
          </a:p>
          <a:p>
            <a:pPr marL="450000" lvl="1" indent="0">
              <a:buNone/>
            </a:pPr>
            <a:r>
              <a:rPr lang="nb-NO" sz="1200" err="1"/>
              <a:t>Add</a:t>
            </a:r>
            <a:r>
              <a:rPr lang="nb-NO" sz="1200"/>
              <a:t> </a:t>
            </a:r>
            <a:r>
              <a:rPr lang="nb-NO" sz="1200" err="1"/>
              <a:t>the</a:t>
            </a:r>
            <a:r>
              <a:rPr lang="nb-NO" sz="1200"/>
              <a:t> </a:t>
            </a:r>
            <a:r>
              <a:rPr lang="nb-NO" sz="1200" err="1"/>
              <a:t>following</a:t>
            </a:r>
            <a:r>
              <a:rPr lang="nb-NO" sz="1200"/>
              <a:t> </a:t>
            </a:r>
            <a:r>
              <a:rPr lang="nb-NO" sz="1200" err="1"/>
              <a:t>config</a:t>
            </a:r>
            <a:r>
              <a:rPr lang="nb-NO" sz="1200"/>
              <a:t> to </a:t>
            </a:r>
            <a:r>
              <a:rPr lang="nb-NO" sz="1200" err="1">
                <a:latin typeface="Consolas" panose="020B0609020204030204" pitchFamily="49" charset="0"/>
              </a:rPr>
              <a:t>docker-compose.yml</a:t>
            </a:r>
            <a:endParaRPr lang="nb-NO" sz="1200">
              <a:latin typeface="Consolas" panose="020B0609020204030204" pitchFamily="49" charset="0"/>
            </a:endParaRPr>
          </a:p>
          <a:p>
            <a:pPr marL="342900" indent="-342900">
              <a:buFont typeface="+mj-lt"/>
              <a:buAutoNum type="arabicPeriod"/>
            </a:pPr>
            <a:r>
              <a:rPr lang="nb-NO" err="1"/>
              <a:t>Docker</a:t>
            </a:r>
            <a:r>
              <a:rPr lang="nb-NO"/>
              <a:t> </a:t>
            </a:r>
            <a:r>
              <a:rPr lang="nb-NO" err="1"/>
              <a:t>compose</a:t>
            </a:r>
            <a:endParaRPr lang="nb-NO"/>
          </a:p>
          <a:p>
            <a:pPr marL="342900" indent="-342900">
              <a:buFont typeface="+mj-lt"/>
              <a:buAutoNum type="arabicPeriod"/>
            </a:pPr>
            <a:endParaRPr lang="nb-NO" sz="1000"/>
          </a:p>
          <a:p>
            <a:pPr lvl="1"/>
            <a:r>
              <a:rPr lang="nb-NO" sz="1200"/>
              <a:t>This </a:t>
            </a:r>
            <a:r>
              <a:rPr lang="nb-NO" sz="1200" err="1"/>
              <a:t>will</a:t>
            </a:r>
            <a:r>
              <a:rPr lang="nb-NO" sz="1200"/>
              <a:t> </a:t>
            </a:r>
            <a:r>
              <a:rPr lang="nb-NO" sz="1200" err="1"/>
              <a:t>take</a:t>
            </a:r>
            <a:r>
              <a:rPr lang="nb-NO" sz="1200"/>
              <a:t> a </a:t>
            </a:r>
            <a:r>
              <a:rPr lang="nb-NO" sz="1200" err="1"/>
              <a:t>few</a:t>
            </a:r>
            <a:r>
              <a:rPr lang="nb-NO" sz="1200"/>
              <a:t> </a:t>
            </a:r>
            <a:r>
              <a:rPr lang="nb-NO" sz="1200" err="1"/>
              <a:t>seconds</a:t>
            </a:r>
            <a:r>
              <a:rPr lang="nb-NO" sz="1200"/>
              <a:t> to </a:t>
            </a:r>
            <a:r>
              <a:rPr lang="nb-NO" sz="1200" err="1"/>
              <a:t>download</a:t>
            </a:r>
            <a:r>
              <a:rPr lang="nb-NO" sz="1200"/>
              <a:t> all images.</a:t>
            </a:r>
          </a:p>
          <a:p>
            <a:pPr lvl="1"/>
            <a:r>
              <a:rPr lang="nb-NO" sz="1200"/>
              <a:t>To </a:t>
            </a:r>
            <a:r>
              <a:rPr lang="nb-NO" sz="1200" err="1"/>
              <a:t>view</a:t>
            </a:r>
            <a:r>
              <a:rPr lang="nb-NO" sz="1200"/>
              <a:t> logs from a service (telegraf, </a:t>
            </a:r>
            <a:r>
              <a:rPr lang="nb-NO" sz="1200" err="1"/>
              <a:t>influxdb</a:t>
            </a:r>
            <a:r>
              <a:rPr lang="nb-NO" sz="1200"/>
              <a:t>, </a:t>
            </a:r>
            <a:r>
              <a:rPr lang="nb-NO" sz="1200" err="1"/>
              <a:t>grafana</a:t>
            </a:r>
            <a:r>
              <a:rPr lang="nb-NO" sz="1200"/>
              <a:t>) </a:t>
            </a:r>
            <a:r>
              <a:rPr lang="nb-NO" sz="1200" err="1"/>
              <a:t>use</a:t>
            </a:r>
            <a:r>
              <a:rPr lang="nb-NO" sz="1200"/>
              <a:t> </a:t>
            </a:r>
            <a:r>
              <a:rPr lang="nb-NO" sz="1200" err="1"/>
              <a:t>this</a:t>
            </a:r>
            <a:endParaRPr lang="nb-NO" sz="1200"/>
          </a:p>
          <a:p>
            <a:pPr lvl="1"/>
            <a:endParaRPr lang="nb-NO" sz="1200"/>
          </a:p>
          <a:p>
            <a:pPr marL="342900" indent="-342900">
              <a:buFont typeface="+mj-lt"/>
              <a:buAutoNum type="arabicPeriod"/>
            </a:pPr>
            <a:r>
              <a:rPr lang="nb-NO"/>
              <a:t>Connect to </a:t>
            </a:r>
            <a:r>
              <a:rPr lang="nb-NO" err="1"/>
              <a:t>Grafana</a:t>
            </a:r>
            <a:r>
              <a:rPr lang="nb-NO"/>
              <a:t> </a:t>
            </a:r>
            <a:r>
              <a:rPr lang="nb-NO" err="1"/>
              <a:t>using</a:t>
            </a:r>
            <a:r>
              <a:rPr lang="nb-NO"/>
              <a:t> web </a:t>
            </a:r>
            <a:r>
              <a:rPr lang="nb-NO" err="1"/>
              <a:t>browser</a:t>
            </a:r>
            <a:endParaRPr lang="nb-NO"/>
          </a:p>
          <a:p>
            <a:pPr lvl="1"/>
            <a:r>
              <a:rPr lang="nb-NO" sz="1200" err="1"/>
              <a:t>Notice</a:t>
            </a:r>
            <a:r>
              <a:rPr lang="nb-NO" sz="1200"/>
              <a:t> </a:t>
            </a:r>
            <a:r>
              <a:rPr lang="nb-NO" sz="1200" err="1"/>
              <a:t>we</a:t>
            </a:r>
            <a:r>
              <a:rPr lang="nb-NO" sz="1200"/>
              <a:t> </a:t>
            </a:r>
            <a:r>
              <a:rPr lang="nb-NO" sz="1200" err="1"/>
              <a:t>use</a:t>
            </a:r>
            <a:r>
              <a:rPr lang="nb-NO" sz="1200"/>
              <a:t> HTTP, not HTTPS for </a:t>
            </a:r>
            <a:r>
              <a:rPr lang="nb-NO" sz="1200" err="1"/>
              <a:t>this</a:t>
            </a:r>
            <a:r>
              <a:rPr lang="nb-NO" sz="1200"/>
              <a:t> lab </a:t>
            </a:r>
            <a:r>
              <a:rPr lang="nb-NO" sz="1200" err="1"/>
              <a:t>install</a:t>
            </a:r>
            <a:endParaRPr lang="nb-NO" sz="1200"/>
          </a:p>
          <a:p>
            <a:pPr lvl="1"/>
            <a:r>
              <a:rPr lang="nb-NO" sz="1200">
                <a:hlinkClick r:id="rId3"/>
              </a:rPr>
              <a:t>http://192.168.10.{</a:t>
            </a:r>
            <a:r>
              <a:rPr lang="nb-NO" sz="1200" err="1">
                <a:hlinkClick r:id="rId3"/>
              </a:rPr>
              <a:t>your</a:t>
            </a:r>
            <a:r>
              <a:rPr lang="nb-NO" sz="1200">
                <a:hlinkClick r:id="rId3"/>
              </a:rPr>
              <a:t> </a:t>
            </a:r>
            <a:r>
              <a:rPr lang="nb-NO" sz="1200" err="1">
                <a:hlinkClick r:id="rId3"/>
              </a:rPr>
              <a:t>Ubuntu</a:t>
            </a:r>
            <a:r>
              <a:rPr lang="nb-NO" sz="1200">
                <a:hlinkClick r:id="rId3"/>
              </a:rPr>
              <a:t> IP}:3000</a:t>
            </a:r>
            <a:endParaRPr lang="nb-NO" sz="1200"/>
          </a:p>
          <a:p>
            <a:pPr lvl="1"/>
            <a:r>
              <a:rPr lang="nb-NO" sz="1200"/>
              <a:t>For </a:t>
            </a:r>
            <a:r>
              <a:rPr lang="nb-NO" sz="1200" err="1"/>
              <a:t>now</a:t>
            </a:r>
            <a:r>
              <a:rPr lang="nb-NO" sz="1200"/>
              <a:t>, just test </a:t>
            </a:r>
            <a:r>
              <a:rPr lang="nb-NO" sz="1200" err="1"/>
              <a:t>that</a:t>
            </a:r>
            <a:r>
              <a:rPr lang="nb-NO" sz="1200"/>
              <a:t> </a:t>
            </a:r>
            <a:r>
              <a:rPr lang="nb-NO" sz="1200" err="1"/>
              <a:t>you</a:t>
            </a:r>
            <a:r>
              <a:rPr lang="nb-NO" sz="1200"/>
              <a:t> </a:t>
            </a:r>
            <a:r>
              <a:rPr lang="nb-NO" sz="1200" err="1"/>
              <a:t>can</a:t>
            </a:r>
            <a:r>
              <a:rPr lang="nb-NO" sz="1200"/>
              <a:t> log in </a:t>
            </a:r>
            <a:r>
              <a:rPr lang="nb-NO" sz="1200" err="1"/>
              <a:t>using</a:t>
            </a:r>
            <a:r>
              <a:rPr lang="nb-NO" sz="1200"/>
              <a:t> </a:t>
            </a:r>
            <a:r>
              <a:rPr lang="nb-NO" sz="1200" err="1"/>
              <a:t>the</a:t>
            </a:r>
            <a:r>
              <a:rPr lang="nb-NO" sz="1200"/>
              <a:t> </a:t>
            </a:r>
            <a:r>
              <a:rPr lang="nb-NO" sz="1200" err="1"/>
              <a:t>username</a:t>
            </a:r>
            <a:r>
              <a:rPr lang="nb-NO" sz="1200"/>
              <a:t> and </a:t>
            </a:r>
            <a:r>
              <a:rPr lang="nb-NO" sz="1200" err="1"/>
              <a:t>password</a:t>
            </a:r>
            <a:r>
              <a:rPr lang="nb-NO" sz="1200"/>
              <a:t> from </a:t>
            </a:r>
            <a:r>
              <a:rPr lang="nb-NO" sz="1200" err="1"/>
              <a:t>the</a:t>
            </a:r>
            <a:r>
              <a:rPr lang="nb-NO" sz="1200"/>
              <a:t> .</a:t>
            </a:r>
            <a:r>
              <a:rPr lang="nb-NO" sz="1200" err="1"/>
              <a:t>env</a:t>
            </a:r>
            <a:r>
              <a:rPr lang="nb-NO" sz="1200"/>
              <a:t> file </a:t>
            </a:r>
            <a:r>
              <a:rPr lang="nb-NO" sz="1200" err="1"/>
              <a:t>we</a:t>
            </a:r>
            <a:r>
              <a:rPr lang="nb-NO" sz="1200"/>
              <a:t> </a:t>
            </a:r>
            <a:r>
              <a:rPr lang="nb-NO" sz="1200" err="1"/>
              <a:t>created</a:t>
            </a:r>
            <a:r>
              <a:rPr lang="nb-NO" sz="1200"/>
              <a:t> </a:t>
            </a:r>
            <a:r>
              <a:rPr lang="nb-NO" sz="1200" err="1"/>
              <a:t>earlier</a:t>
            </a:r>
            <a:r>
              <a:rPr lang="nb-NO" sz="1200"/>
              <a:t>. For </a:t>
            </a:r>
            <a:r>
              <a:rPr lang="nb-NO" sz="1200" err="1"/>
              <a:t>this</a:t>
            </a:r>
            <a:r>
              <a:rPr lang="nb-NO" sz="1200"/>
              <a:t> lab it </a:t>
            </a:r>
            <a:r>
              <a:rPr lang="nb-NO" sz="1200" err="1"/>
              <a:t>will</a:t>
            </a:r>
            <a:r>
              <a:rPr lang="nb-NO" sz="1200"/>
              <a:t> be </a:t>
            </a:r>
            <a:r>
              <a:rPr lang="nb-NO" sz="1200" err="1"/>
              <a:t>the</a:t>
            </a:r>
            <a:r>
              <a:rPr lang="nb-NO" sz="1200"/>
              <a:t> same as </a:t>
            </a:r>
            <a:r>
              <a:rPr lang="nb-NO" sz="1200" err="1"/>
              <a:t>everywhere</a:t>
            </a:r>
            <a:r>
              <a:rPr lang="nb-NO" sz="1200"/>
              <a:t> </a:t>
            </a:r>
            <a:r>
              <a:rPr lang="nb-NO" sz="1200" err="1"/>
              <a:t>else</a:t>
            </a:r>
            <a:r>
              <a:rPr lang="nb-NO" sz="1200"/>
              <a:t> </a:t>
            </a:r>
            <a:r>
              <a:rPr lang="nb-NO" sz="1200" err="1"/>
              <a:t>unless</a:t>
            </a:r>
            <a:r>
              <a:rPr lang="nb-NO" sz="1200"/>
              <a:t> </a:t>
            </a:r>
            <a:r>
              <a:rPr lang="nb-NO" sz="1200" err="1"/>
              <a:t>you</a:t>
            </a:r>
            <a:r>
              <a:rPr lang="nb-NO" sz="1200"/>
              <a:t> </a:t>
            </a:r>
            <a:r>
              <a:rPr lang="nb-NO" sz="1200" err="1"/>
              <a:t>changed</a:t>
            </a:r>
            <a:r>
              <a:rPr lang="nb-NO" sz="1200"/>
              <a:t> it </a:t>
            </a:r>
            <a:r>
              <a:rPr lang="nb-NO" sz="1200">
                <a:sym typeface="Wingdings" panose="05000000000000000000" pitchFamily="2" charset="2"/>
              </a:rPr>
              <a:t></a:t>
            </a: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marL="342900" indent="-342900">
              <a:buFont typeface="+mj-lt"/>
              <a:buAutoNum type="arabicPeriod"/>
            </a:pPr>
            <a:endParaRPr lang="nb-NO"/>
          </a:p>
          <a:p>
            <a:pPr lvl="1"/>
            <a:endParaRPr lang="nb-NO" sz="100"/>
          </a:p>
          <a:p>
            <a:pPr lvl="1"/>
            <a:endParaRPr lang="nb-NO" sz="100"/>
          </a:p>
          <a:p>
            <a:pPr lvl="1"/>
            <a:endParaRPr lang="nb-NO" sz="1000"/>
          </a:p>
        </p:txBody>
      </p:sp>
      <p:sp>
        <p:nvSpPr>
          <p:cNvPr id="2" name="Footer Placeholder 6">
            <a:extLst>
              <a:ext uri="{FF2B5EF4-FFF2-40B4-BE49-F238E27FC236}">
                <a16:creationId xmlns:a16="http://schemas.microsoft.com/office/drawing/2014/main" id="{0F6178F5-1298-A98B-1AF5-01C018926D4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7" name="Footer Placeholder 6">
            <a:extLst>
              <a:ext uri="{FF2B5EF4-FFF2-40B4-BE49-F238E27FC236}">
                <a16:creationId xmlns:a16="http://schemas.microsoft.com/office/drawing/2014/main" id="{5AC3D159-A1AF-77AF-BA96-70EF6E15A64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sp>
        <p:nvSpPr>
          <p:cNvPr id="10" name="TextBox 9">
            <a:extLst>
              <a:ext uri="{FF2B5EF4-FFF2-40B4-BE49-F238E27FC236}">
                <a16:creationId xmlns:a16="http://schemas.microsoft.com/office/drawing/2014/main" id="{109101AD-C7D6-166B-DC91-4EA8BB06A97F}"/>
              </a:ext>
            </a:extLst>
          </p:cNvPr>
          <p:cNvSpPr txBox="1"/>
          <p:nvPr/>
        </p:nvSpPr>
        <p:spPr>
          <a:xfrm>
            <a:off x="879376" y="1441879"/>
            <a:ext cx="5483587"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cd ~/</a:t>
            </a:r>
            <a:r>
              <a:rPr lang="fr-FR" sz="1050" err="1">
                <a:solidFill>
                  <a:srgbClr val="EEE8D5"/>
                </a:solidFill>
                <a:latin typeface="Consolas" panose="020B0609020204030204" pitchFamily="49" charset="0"/>
              </a:rPr>
              <a:t>tig</a:t>
            </a:r>
            <a:r>
              <a:rPr lang="fr-FR" sz="1050">
                <a:solidFill>
                  <a:srgbClr val="EEE8D5"/>
                </a:solidFill>
                <a:latin typeface="Consolas" panose="020B0609020204030204" pitchFamily="49" charset="0"/>
              </a:rPr>
              <a:t>-stack</a:t>
            </a:r>
          </a:p>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nano ./docker-</a:t>
            </a:r>
            <a:r>
              <a:rPr lang="fr-FR" sz="1050" err="1">
                <a:solidFill>
                  <a:srgbClr val="EEE8D5"/>
                </a:solidFill>
                <a:latin typeface="Consolas" panose="020B0609020204030204" pitchFamily="49" charset="0"/>
              </a:rPr>
              <a:t>compose.yml</a:t>
            </a:r>
            <a:endParaRPr lang="fr-FR" sz="1050">
              <a:solidFill>
                <a:srgbClr val="EEE8D5"/>
              </a:solidFill>
              <a:latin typeface="Consolas" panose="020B0609020204030204" pitchFamily="49" charset="0"/>
            </a:endParaRPr>
          </a:p>
        </p:txBody>
      </p:sp>
      <p:cxnSp>
        <p:nvCxnSpPr>
          <p:cNvPr id="4" name="Straight Arrow Connector 3">
            <a:extLst>
              <a:ext uri="{FF2B5EF4-FFF2-40B4-BE49-F238E27FC236}">
                <a16:creationId xmlns:a16="http://schemas.microsoft.com/office/drawing/2014/main" id="{3BE94264-C2AE-A7EA-AFE7-98C55355CECC}"/>
              </a:ext>
            </a:extLst>
          </p:cNvPr>
          <p:cNvCxnSpPr>
            <a:cxnSpLocks/>
          </p:cNvCxnSpPr>
          <p:nvPr/>
        </p:nvCxnSpPr>
        <p:spPr>
          <a:xfrm flipV="1">
            <a:off x="4651248" y="1932562"/>
            <a:ext cx="4084190" cy="1278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F39F89C6-45F6-6799-1F6D-E733A8BAA55B}"/>
              </a:ext>
            </a:extLst>
          </p:cNvPr>
          <p:cNvSpPr txBox="1"/>
          <p:nvPr/>
        </p:nvSpPr>
        <p:spPr>
          <a:xfrm>
            <a:off x="879375" y="2723755"/>
            <a:ext cx="5483587"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docker compose up -d</a:t>
            </a:r>
          </a:p>
        </p:txBody>
      </p:sp>
      <p:sp>
        <p:nvSpPr>
          <p:cNvPr id="9" name="TextBox 8">
            <a:extLst>
              <a:ext uri="{FF2B5EF4-FFF2-40B4-BE49-F238E27FC236}">
                <a16:creationId xmlns:a16="http://schemas.microsoft.com/office/drawing/2014/main" id="{F252BA56-77FA-EA82-263C-54B9A84CDD4D}"/>
              </a:ext>
            </a:extLst>
          </p:cNvPr>
          <p:cNvSpPr txBox="1"/>
          <p:nvPr/>
        </p:nvSpPr>
        <p:spPr>
          <a:xfrm>
            <a:off x="8735438" y="277446"/>
            <a:ext cx="3454975" cy="5909310"/>
          </a:xfrm>
          <a:prstGeom prst="rect">
            <a:avLst/>
          </a:prstGeom>
          <a:noFill/>
          <a:ln>
            <a:solidFill>
              <a:schemeClr val="tx1"/>
            </a:solidFill>
          </a:ln>
        </p:spPr>
        <p:txBody>
          <a:bodyPr wrap="square" lIns="91440" tIns="45720" rIns="91440" bIns="45720" anchor="t">
            <a:spAutoFit/>
          </a:bodyPr>
          <a:lstStyle/>
          <a:p>
            <a:r>
              <a:rPr lang="nb-NO" sz="600" dirty="0">
                <a:latin typeface="Consolas"/>
              </a:rPr>
              <a:t>services:</a:t>
            </a:r>
          </a:p>
          <a:p>
            <a:r>
              <a:rPr lang="nb-NO" sz="600" dirty="0">
                <a:latin typeface="Consolas"/>
              </a:rPr>
              <a:t>  </a:t>
            </a:r>
            <a:r>
              <a:rPr lang="nb-NO" sz="600" dirty="0" err="1">
                <a:latin typeface="Consolas"/>
              </a:rPr>
              <a:t>influxdb</a:t>
            </a:r>
            <a:r>
              <a:rPr lang="nb-NO" sz="600" dirty="0">
                <a:latin typeface="Consolas"/>
              </a:rPr>
              <a:t>:</a:t>
            </a:r>
          </a:p>
          <a:p>
            <a:r>
              <a:rPr lang="nb-NO" sz="600" dirty="0">
                <a:latin typeface="Consolas"/>
              </a:rPr>
              <a:t>    </a:t>
            </a:r>
            <a:r>
              <a:rPr lang="nb-NO" sz="600" dirty="0" err="1">
                <a:latin typeface="Consolas"/>
              </a:rPr>
              <a:t>container_name</a:t>
            </a:r>
            <a:r>
              <a:rPr lang="nb-NO" sz="600" dirty="0">
                <a:latin typeface="Consolas"/>
              </a:rPr>
              <a:t>: </a:t>
            </a:r>
            <a:r>
              <a:rPr lang="nb-NO" sz="600" dirty="0" err="1">
                <a:latin typeface="Consolas"/>
              </a:rPr>
              <a:t>influxdb</a:t>
            </a:r>
            <a:endParaRPr lang="nb-NO" sz="600" dirty="0">
              <a:latin typeface="Consolas"/>
            </a:endParaRPr>
          </a:p>
          <a:p>
            <a:r>
              <a:rPr lang="nb-NO" sz="600" dirty="0">
                <a:latin typeface="Consolas"/>
              </a:rPr>
              <a:t>    image: </a:t>
            </a:r>
            <a:r>
              <a:rPr lang="nb-NO" sz="600" dirty="0" err="1">
                <a:latin typeface="Consolas"/>
              </a:rPr>
              <a:t>influxdb:2.7.10</a:t>
            </a:r>
            <a:endParaRPr lang="nb-NO" sz="600" dirty="0">
              <a:latin typeface="Consolas"/>
            </a:endParaRPr>
          </a:p>
          <a:p>
            <a:r>
              <a:rPr lang="nb-NO" sz="600" dirty="0">
                <a:latin typeface="Consolas"/>
              </a:rPr>
              <a:t>    </a:t>
            </a:r>
            <a:r>
              <a:rPr lang="nb-NO" sz="600" dirty="0" err="1">
                <a:latin typeface="Consolas"/>
              </a:rPr>
              <a:t>expose</a:t>
            </a:r>
            <a:r>
              <a:rPr lang="nb-NO" sz="600" dirty="0">
                <a:latin typeface="Consolas"/>
              </a:rPr>
              <a:t>:</a:t>
            </a:r>
          </a:p>
          <a:p>
            <a:r>
              <a:rPr lang="nb-NO" sz="600" dirty="0">
                <a:latin typeface="Consolas"/>
              </a:rPr>
              <a:t>      - 8086</a:t>
            </a: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a:t>
            </a:r>
            <a:r>
              <a:rPr lang="nb-NO" sz="600" dirty="0" err="1">
                <a:latin typeface="Consolas"/>
              </a:rPr>
              <a:t>influxdb</a:t>
            </a:r>
            <a:r>
              <a:rPr lang="nb-NO" sz="600" dirty="0">
                <a:latin typeface="Consolas"/>
              </a:rPr>
              <a:t>-data:/var/</a:t>
            </a:r>
            <a:r>
              <a:rPr lang="nb-NO" sz="600" dirty="0" err="1">
                <a:latin typeface="Consolas"/>
              </a:rPr>
              <a:t>lib</a:t>
            </a:r>
            <a:r>
              <a:rPr lang="nb-NO" sz="600" dirty="0">
                <a:latin typeface="Consolas"/>
              </a:rPr>
              <a:t>/</a:t>
            </a:r>
            <a:r>
              <a:rPr lang="nb-NO" sz="600" dirty="0" err="1">
                <a:latin typeface="Consolas"/>
              </a:rPr>
              <a:t>influxdb2</a:t>
            </a:r>
            <a:endParaRPr lang="nb-NO" sz="600" dirty="0">
              <a:latin typeface="Consolas"/>
            </a:endParaRPr>
          </a:p>
          <a:p>
            <a:r>
              <a:rPr lang="nb-NO" sz="600" dirty="0">
                <a:latin typeface="Consolas"/>
              </a:rPr>
              <a:t>    ports:</a:t>
            </a:r>
          </a:p>
          <a:p>
            <a:r>
              <a:rPr lang="nb-NO" sz="600" dirty="0">
                <a:latin typeface="Consolas"/>
              </a:rPr>
              <a:t>      - 8086:8086</a:t>
            </a: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DOCKER_INFLUXDB_INIT_MODE</a:t>
            </a:r>
            <a:r>
              <a:rPr lang="nb-NO" sz="600" dirty="0">
                <a:latin typeface="Consolas"/>
              </a:rPr>
              <a:t>=</a:t>
            </a:r>
            <a:r>
              <a:rPr lang="nb-NO" sz="600" dirty="0" err="1">
                <a:latin typeface="Consolas"/>
              </a:rPr>
              <a:t>setup</a:t>
            </a:r>
            <a:endParaRPr lang="nb-NO" sz="600" dirty="0">
              <a:latin typeface="Consolas"/>
            </a:endParaRPr>
          </a:p>
          <a:p>
            <a:r>
              <a:rPr lang="nb-NO" sz="600" dirty="0">
                <a:latin typeface="Consolas"/>
              </a:rPr>
              <a:t>      - </a:t>
            </a:r>
            <a:r>
              <a:rPr lang="nb-NO" sz="600" dirty="0" err="1">
                <a:latin typeface="Consolas"/>
              </a:rPr>
              <a:t>DOCKER_INFLUXDB_INIT_USERNAME</a:t>
            </a:r>
            <a:r>
              <a:rPr lang="nb-NO" sz="600" dirty="0">
                <a:latin typeface="Consolas"/>
              </a:rPr>
              <a:t>=${</a:t>
            </a:r>
            <a:r>
              <a:rPr lang="nb-NO" sz="600" dirty="0" err="1">
                <a:latin typeface="Consolas"/>
              </a:rPr>
              <a:t>INFLUXDB_ADMIN_USER</a:t>
            </a:r>
            <a:r>
              <a:rPr lang="nb-NO" sz="600" dirty="0">
                <a:latin typeface="Consolas"/>
              </a:rPr>
              <a:t>}</a:t>
            </a:r>
          </a:p>
          <a:p>
            <a:r>
              <a:rPr lang="nb-NO" sz="600" dirty="0">
                <a:latin typeface="Consolas"/>
              </a:rPr>
              <a:t>      - </a:t>
            </a:r>
            <a:r>
              <a:rPr lang="nb-NO" sz="600" dirty="0" err="1">
                <a:latin typeface="Consolas"/>
              </a:rPr>
              <a:t>DOCKER_INFLUXDB_INIT_PASSWORD</a:t>
            </a:r>
            <a:r>
              <a:rPr lang="nb-NO" sz="600" dirty="0">
                <a:latin typeface="Consolas"/>
              </a:rPr>
              <a:t>=${</a:t>
            </a:r>
            <a:r>
              <a:rPr lang="nb-NO" sz="600" dirty="0" err="1">
                <a:latin typeface="Consolas"/>
              </a:rPr>
              <a:t>INFLUXDB_ADMIN_PASSWORD</a:t>
            </a:r>
            <a:r>
              <a:rPr lang="nb-NO" sz="600" dirty="0">
                <a:latin typeface="Consolas"/>
              </a:rPr>
              <a:t>}</a:t>
            </a:r>
          </a:p>
          <a:p>
            <a:r>
              <a:rPr lang="nb-NO" sz="600" dirty="0">
                <a:latin typeface="Consolas"/>
              </a:rPr>
              <a:t>      - </a:t>
            </a:r>
            <a:r>
              <a:rPr lang="nb-NO" sz="600" dirty="0" err="1">
                <a:latin typeface="Consolas"/>
              </a:rPr>
              <a:t>DOCKER_INFLUXDB_INIT_ORG</a:t>
            </a:r>
            <a:r>
              <a:rPr lang="nb-NO" sz="600" dirty="0">
                <a:latin typeface="Consolas"/>
              </a:rPr>
              <a:t>=${</a:t>
            </a:r>
            <a:r>
              <a:rPr lang="nb-NO" sz="600" dirty="0" err="1">
                <a:latin typeface="Consolas"/>
              </a:rPr>
              <a:t>INFLUXDB_ORG</a:t>
            </a:r>
            <a:r>
              <a:rPr lang="nb-NO" sz="600" dirty="0">
                <a:latin typeface="Consolas"/>
              </a:rPr>
              <a:t>}</a:t>
            </a:r>
          </a:p>
          <a:p>
            <a:r>
              <a:rPr lang="nb-NO" sz="600" dirty="0">
                <a:latin typeface="Consolas"/>
              </a:rPr>
              <a:t>      - </a:t>
            </a:r>
            <a:r>
              <a:rPr lang="nb-NO" sz="600" dirty="0" err="1">
                <a:latin typeface="Consolas"/>
              </a:rPr>
              <a:t>DOCKER_INFLUXDB_INIT_BUCKET</a:t>
            </a:r>
            <a:r>
              <a:rPr lang="nb-NO" sz="600" dirty="0">
                <a:latin typeface="Consolas"/>
              </a:rPr>
              <a:t>=${</a:t>
            </a:r>
            <a:r>
              <a:rPr lang="nb-NO" sz="600" dirty="0" err="1">
                <a:latin typeface="Consolas"/>
              </a:rPr>
              <a:t>INFLUXDB_BUCKET</a:t>
            </a:r>
            <a:r>
              <a:rPr lang="nb-NO" sz="600" dirty="0">
                <a:latin typeface="Consolas"/>
              </a:rPr>
              <a:t>}</a:t>
            </a:r>
          </a:p>
          <a:p>
            <a:r>
              <a:rPr lang="nb-NO" sz="600" dirty="0">
                <a:latin typeface="Consolas"/>
              </a:rPr>
              <a:t>      - </a:t>
            </a:r>
            <a:r>
              <a:rPr lang="nb-NO" sz="600" dirty="0" err="1">
                <a:latin typeface="Consolas"/>
              </a:rPr>
              <a:t>DOCKER_INFLUXDB_INIT_RETENTION</a:t>
            </a:r>
            <a:r>
              <a:rPr lang="nb-NO" sz="600" dirty="0">
                <a:latin typeface="Consolas"/>
              </a:rPr>
              <a:t>=</a:t>
            </a:r>
            <a:r>
              <a:rPr lang="nb-NO" sz="600" dirty="0" err="1">
                <a:latin typeface="Consolas"/>
              </a:rPr>
              <a:t>2w</a:t>
            </a:r>
            <a:endParaRPr lang="nb-NO" sz="600" dirty="0">
              <a:latin typeface="Consolas"/>
            </a:endParaRPr>
          </a:p>
          <a:p>
            <a:r>
              <a:rPr lang="nb-NO" sz="600" dirty="0">
                <a:latin typeface="Consolas"/>
              </a:rPr>
              <a:t>      - </a:t>
            </a:r>
            <a:r>
              <a:rPr lang="nb-NO" sz="600" dirty="0" err="1">
                <a:latin typeface="Consolas"/>
              </a:rPr>
              <a:t>DOCKER_INFLUXDB_INIT_ADMIN_TOKEN</a:t>
            </a:r>
            <a:r>
              <a:rPr lang="nb-NO" sz="600" dirty="0">
                <a:latin typeface="Consolas"/>
              </a:rPr>
              <a:t>=${</a:t>
            </a:r>
            <a:r>
              <a:rPr lang="nb-NO" sz="600" dirty="0" err="1">
                <a:latin typeface="Consolas"/>
              </a:rPr>
              <a:t>INFLUXDB_ADMIN_TOKEN</a:t>
            </a:r>
            <a:r>
              <a:rPr lang="nb-NO" sz="600" dirty="0">
                <a:latin typeface="Consolas"/>
              </a:rPr>
              <a:t>}</a:t>
            </a:r>
          </a:p>
          <a:p>
            <a:endParaRPr lang="nb-NO" sz="600" dirty="0">
              <a:latin typeface="Consolas" panose="020B0609020204030204" pitchFamily="49" charset="0"/>
            </a:endParaRPr>
          </a:p>
          <a:p>
            <a:r>
              <a:rPr lang="nb-NO" sz="600" dirty="0">
                <a:latin typeface="Consolas"/>
              </a:rPr>
              <a:t>  telegraf:</a:t>
            </a:r>
          </a:p>
          <a:p>
            <a:r>
              <a:rPr lang="nb-NO" sz="600" dirty="0">
                <a:latin typeface="Consolas"/>
              </a:rPr>
              <a:t>    </a:t>
            </a:r>
            <a:r>
              <a:rPr lang="nb-NO" sz="600" dirty="0" err="1">
                <a:latin typeface="Consolas"/>
              </a:rPr>
              <a:t>container_name</a:t>
            </a:r>
            <a:r>
              <a:rPr lang="nb-NO" sz="600" dirty="0">
                <a:latin typeface="Consolas"/>
              </a:rPr>
              <a:t>: telegraf</a:t>
            </a:r>
          </a:p>
          <a:p>
            <a:r>
              <a:rPr lang="nb-NO" sz="600" dirty="0">
                <a:latin typeface="Consolas"/>
              </a:rPr>
              <a:t>    image: </a:t>
            </a:r>
            <a:r>
              <a:rPr lang="nb-NO" sz="600" dirty="0" err="1">
                <a:latin typeface="Consolas"/>
              </a:rPr>
              <a:t>telegraf:1.32.0</a:t>
            </a:r>
            <a:endParaRPr lang="nb-NO" sz="600" dirty="0">
              <a:latin typeface="Consolas" panose="020B0609020204030204" pitchFamily="49" charset="0"/>
            </a:endParaRP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ports:</a:t>
            </a:r>
          </a:p>
          <a:p>
            <a:r>
              <a:rPr lang="nb-NO" sz="600" dirty="0">
                <a:latin typeface="Consolas"/>
              </a:rPr>
              <a:t>      - 57000:57000</a:t>
            </a:r>
          </a:p>
          <a:p>
            <a:r>
              <a:rPr lang="nb-NO" sz="600" dirty="0">
                <a:latin typeface="Consolas"/>
              </a:rPr>
              <a:t>    </a:t>
            </a:r>
            <a:r>
              <a:rPr lang="nb-NO" sz="600" dirty="0" err="1">
                <a:latin typeface="Consolas"/>
              </a:rPr>
              <a:t>env_file</a:t>
            </a:r>
            <a:r>
              <a:rPr lang="nb-NO" sz="600" dirty="0">
                <a:latin typeface="Consolas"/>
              </a:rPr>
              <a:t>:</a:t>
            </a:r>
          </a:p>
          <a:p>
            <a:r>
              <a:rPr lang="nb-NO" sz="600" dirty="0">
                <a:latin typeface="Consolas"/>
              </a:rPr>
              <a:t>      - .</a:t>
            </a:r>
            <a:r>
              <a:rPr lang="nb-NO" sz="600" dirty="0" err="1">
                <a:latin typeface="Consolas"/>
              </a:rPr>
              <a:t>env</a:t>
            </a:r>
            <a:endParaRPr lang="nb-NO" sz="600" dirty="0">
              <a:latin typeface="Consolas"/>
            </a:endParaRP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INFLUXDB_TOKEN</a:t>
            </a:r>
            <a:r>
              <a:rPr lang="nb-NO" sz="600" dirty="0">
                <a:latin typeface="Consolas"/>
              </a:rPr>
              <a:t>=${</a:t>
            </a:r>
            <a:r>
              <a:rPr lang="nb-NO" sz="600" dirty="0" err="1">
                <a:latin typeface="Consolas"/>
              </a:rPr>
              <a:t>INFLUXDB_ADMIN_TOKEN</a:t>
            </a:r>
            <a:r>
              <a:rPr lang="nb-NO" sz="600" dirty="0">
                <a:latin typeface="Consolas"/>
              </a:rPr>
              <a:t>}</a:t>
            </a:r>
          </a:p>
          <a:p>
            <a:r>
              <a:rPr lang="nb-NO" sz="600" dirty="0">
                <a:latin typeface="Consolas"/>
              </a:rPr>
              <a:t>      - </a:t>
            </a:r>
            <a:r>
              <a:rPr lang="nb-NO" sz="600" dirty="0" err="1">
                <a:latin typeface="Consolas"/>
              </a:rPr>
              <a:t>INFLUXDB_ORG</a:t>
            </a:r>
            <a:r>
              <a:rPr lang="nb-NO" sz="600" dirty="0">
                <a:latin typeface="Consolas"/>
              </a:rPr>
              <a:t>=${</a:t>
            </a:r>
            <a:r>
              <a:rPr lang="nb-NO" sz="600" dirty="0" err="1">
                <a:latin typeface="Consolas"/>
              </a:rPr>
              <a:t>INFLUXDB_ORG</a:t>
            </a:r>
            <a:r>
              <a:rPr lang="nb-NO" sz="600" dirty="0">
                <a:latin typeface="Consolas"/>
              </a:rPr>
              <a:t>}</a:t>
            </a:r>
          </a:p>
          <a:p>
            <a:r>
              <a:rPr lang="nb-NO" sz="600" dirty="0">
                <a:latin typeface="Consolas"/>
              </a:rPr>
              <a:t>      - </a:t>
            </a:r>
            <a:r>
              <a:rPr lang="nb-NO" sz="600" dirty="0" err="1">
                <a:latin typeface="Consolas"/>
              </a:rPr>
              <a:t>INFLUXDB_BUCKET</a:t>
            </a:r>
            <a:r>
              <a:rPr lang="nb-NO" sz="600" dirty="0">
                <a:latin typeface="Consolas"/>
              </a:rPr>
              <a:t>=${</a:t>
            </a:r>
            <a:r>
              <a:rPr lang="nb-NO" sz="600" dirty="0" err="1">
                <a:latin typeface="Consolas"/>
              </a:rPr>
              <a:t>INFLUXDB_BUCKET</a:t>
            </a:r>
            <a:r>
              <a:rPr lang="nb-NO" sz="600" dirty="0">
                <a:latin typeface="Consolas"/>
              </a:rPr>
              <a:t>}</a:t>
            </a: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telegraf/</a:t>
            </a:r>
            <a:r>
              <a:rPr lang="nb-NO" sz="600" dirty="0" err="1">
                <a:latin typeface="Consolas"/>
              </a:rPr>
              <a:t>conf</a:t>
            </a:r>
            <a:r>
              <a:rPr lang="nb-NO" sz="600" dirty="0">
                <a:latin typeface="Consolas"/>
              </a:rPr>
              <a:t>/</a:t>
            </a:r>
            <a:r>
              <a:rPr lang="nb-NO" sz="600" dirty="0" err="1">
                <a:latin typeface="Consolas"/>
              </a:rPr>
              <a:t>telegraf.conf</a:t>
            </a:r>
            <a:r>
              <a:rPr lang="nb-NO" sz="600" dirty="0">
                <a:latin typeface="Consolas"/>
              </a:rPr>
              <a:t>:/</a:t>
            </a:r>
            <a:r>
              <a:rPr lang="nb-NO" sz="600" dirty="0" err="1">
                <a:latin typeface="Consolas"/>
              </a:rPr>
              <a:t>etc</a:t>
            </a:r>
            <a:r>
              <a:rPr lang="nb-NO" sz="600" dirty="0">
                <a:latin typeface="Consolas"/>
              </a:rPr>
              <a:t>/telegraf/</a:t>
            </a:r>
            <a:r>
              <a:rPr lang="nb-NO" sz="600" dirty="0" err="1">
                <a:latin typeface="Consolas"/>
              </a:rPr>
              <a:t>telegraf.conf:ro</a:t>
            </a:r>
            <a:endParaRPr lang="nb-NO" sz="600" dirty="0">
              <a:latin typeface="Consolas"/>
            </a:endParaRPr>
          </a:p>
          <a:p>
            <a:r>
              <a:rPr lang="nb-NO" sz="600" dirty="0">
                <a:latin typeface="Consolas"/>
              </a:rPr>
              <a:t>      - /var/run/</a:t>
            </a:r>
            <a:r>
              <a:rPr lang="nb-NO" sz="600" dirty="0" err="1">
                <a:latin typeface="Consolas"/>
              </a:rPr>
              <a:t>docker.sock</a:t>
            </a:r>
            <a:r>
              <a:rPr lang="nb-NO" sz="600" dirty="0">
                <a:latin typeface="Consolas"/>
              </a:rPr>
              <a:t>:/var/run/</a:t>
            </a:r>
            <a:r>
              <a:rPr lang="nb-NO" sz="600" dirty="0" err="1">
                <a:latin typeface="Consolas"/>
              </a:rPr>
              <a:t>docker.sock</a:t>
            </a:r>
            <a:endParaRPr lang="nb-NO" sz="600" dirty="0">
              <a:latin typeface="Consolas"/>
            </a:endParaRPr>
          </a:p>
          <a:p>
            <a:r>
              <a:rPr lang="nb-NO" sz="600" dirty="0">
                <a:latin typeface="Consolas"/>
              </a:rPr>
              <a:t>    </a:t>
            </a:r>
            <a:r>
              <a:rPr lang="nb-NO" sz="600" dirty="0" err="1">
                <a:latin typeface="Consolas"/>
              </a:rPr>
              <a:t>depends_on</a:t>
            </a:r>
            <a:r>
              <a:rPr lang="nb-NO" sz="600" dirty="0">
                <a:latin typeface="Consolas"/>
              </a:rPr>
              <a:t>:</a:t>
            </a:r>
          </a:p>
          <a:p>
            <a:r>
              <a:rPr lang="nb-NO" sz="600" dirty="0">
                <a:latin typeface="Consolas"/>
              </a:rPr>
              <a:t>      - </a:t>
            </a:r>
            <a:r>
              <a:rPr lang="nb-NO" sz="600" dirty="0" err="1">
                <a:latin typeface="Consolas"/>
              </a:rPr>
              <a:t>influxdb</a:t>
            </a:r>
            <a:endParaRPr lang="nb-NO" sz="600" dirty="0">
              <a:latin typeface="Consolas"/>
            </a:endParaRPr>
          </a:p>
          <a:p>
            <a:endParaRPr lang="nb-NO" sz="600" dirty="0">
              <a:latin typeface="Consolas" panose="020B0609020204030204" pitchFamily="49" charset="0"/>
            </a:endParaRPr>
          </a:p>
          <a:p>
            <a:r>
              <a:rPr lang="nb-NO" sz="600" dirty="0">
                <a:latin typeface="Consolas"/>
              </a:rPr>
              <a:t>  </a:t>
            </a:r>
            <a:r>
              <a:rPr lang="nb-NO" sz="600" dirty="0" err="1">
                <a:latin typeface="Consolas"/>
              </a:rPr>
              <a:t>grafana</a:t>
            </a:r>
            <a:r>
              <a:rPr lang="nb-NO" sz="600" dirty="0">
                <a:latin typeface="Consolas"/>
              </a:rPr>
              <a:t>:</a:t>
            </a:r>
          </a:p>
          <a:p>
            <a:r>
              <a:rPr lang="nb-NO" sz="600" dirty="0">
                <a:latin typeface="Consolas"/>
              </a:rPr>
              <a:t>    </a:t>
            </a:r>
            <a:r>
              <a:rPr lang="nb-NO" sz="600" dirty="0" err="1">
                <a:latin typeface="Consolas"/>
              </a:rPr>
              <a:t>container_name</a:t>
            </a:r>
            <a:r>
              <a:rPr lang="nb-NO" sz="600" dirty="0">
                <a:latin typeface="Consolas"/>
              </a:rPr>
              <a:t>: </a:t>
            </a:r>
            <a:r>
              <a:rPr lang="nb-NO" sz="600" dirty="0" err="1">
                <a:latin typeface="Consolas"/>
              </a:rPr>
              <a:t>grafana</a:t>
            </a:r>
            <a:endParaRPr lang="nb-NO" sz="600" dirty="0">
              <a:latin typeface="Consolas"/>
            </a:endParaRPr>
          </a:p>
          <a:p>
            <a:r>
              <a:rPr lang="nb-NO" sz="600" dirty="0">
                <a:latin typeface="Consolas"/>
              </a:rPr>
              <a:t>    image: </a:t>
            </a:r>
            <a:r>
              <a:rPr lang="nb-NO" sz="600" dirty="0" err="1">
                <a:latin typeface="Consolas"/>
              </a:rPr>
              <a:t>grafana</a:t>
            </a:r>
            <a:r>
              <a:rPr lang="nb-NO" sz="600" dirty="0">
                <a:latin typeface="Consolas"/>
              </a:rPr>
              <a:t>/</a:t>
            </a:r>
            <a:r>
              <a:rPr lang="nb-NO" sz="600" dirty="0" err="1">
                <a:latin typeface="Consolas"/>
              </a:rPr>
              <a:t>grafana:11.1.4</a:t>
            </a:r>
            <a:endParaRPr lang="nb-NO" sz="600" dirty="0">
              <a:latin typeface="Consolas"/>
            </a:endParaRPr>
          </a:p>
          <a:p>
            <a:r>
              <a:rPr lang="nb-NO" sz="600" dirty="0">
                <a:latin typeface="Consolas"/>
              </a:rPr>
              <a:t>    </a:t>
            </a:r>
            <a:r>
              <a:rPr lang="nb-NO" sz="600" dirty="0" err="1">
                <a:latin typeface="Consolas"/>
              </a:rPr>
              <a:t>expose</a:t>
            </a:r>
            <a:r>
              <a:rPr lang="nb-NO" sz="600" dirty="0">
                <a:latin typeface="Consolas"/>
              </a:rPr>
              <a:t>:</a:t>
            </a:r>
          </a:p>
          <a:p>
            <a:r>
              <a:rPr lang="nb-NO" sz="600" dirty="0">
                <a:latin typeface="Consolas"/>
              </a:rPr>
              <a:t>      - 3000</a:t>
            </a:r>
          </a:p>
          <a:p>
            <a:r>
              <a:rPr lang="nb-NO" sz="600" dirty="0">
                <a:latin typeface="Consolas"/>
              </a:rPr>
              <a:t>    </a:t>
            </a:r>
            <a:r>
              <a:rPr lang="nb-NO" sz="600" dirty="0" err="1">
                <a:latin typeface="Consolas"/>
              </a:rPr>
              <a:t>restart</a:t>
            </a:r>
            <a:r>
              <a:rPr lang="nb-NO" sz="600" dirty="0">
                <a:latin typeface="Consolas"/>
              </a:rPr>
              <a:t>: </a:t>
            </a:r>
            <a:r>
              <a:rPr lang="nb-NO" sz="600" dirty="0" err="1">
                <a:latin typeface="Consolas"/>
              </a:rPr>
              <a:t>always</a:t>
            </a:r>
            <a:endParaRPr lang="nb-NO" sz="600" dirty="0">
              <a:latin typeface="Consolas"/>
            </a:endParaRPr>
          </a:p>
          <a:p>
            <a:r>
              <a:rPr lang="nb-NO" sz="600" dirty="0">
                <a:latin typeface="Consolas"/>
              </a:rPr>
              <a:t>    ports:</a:t>
            </a:r>
          </a:p>
          <a:p>
            <a:r>
              <a:rPr lang="nb-NO" sz="600" dirty="0">
                <a:latin typeface="Consolas"/>
              </a:rPr>
              <a:t>      - 3000:3000</a:t>
            </a:r>
          </a:p>
          <a:p>
            <a:r>
              <a:rPr lang="nb-NO" sz="600" dirty="0">
                <a:latin typeface="Consolas"/>
              </a:rPr>
              <a:t>    </a:t>
            </a:r>
            <a:r>
              <a:rPr lang="nb-NO" sz="600" dirty="0" err="1">
                <a:latin typeface="Consolas"/>
              </a:rPr>
              <a:t>environment</a:t>
            </a:r>
            <a:r>
              <a:rPr lang="nb-NO" sz="600" dirty="0">
                <a:latin typeface="Consolas"/>
              </a:rPr>
              <a:t>:</a:t>
            </a:r>
          </a:p>
          <a:p>
            <a:r>
              <a:rPr lang="nb-NO" sz="600" dirty="0">
                <a:latin typeface="Consolas"/>
              </a:rPr>
              <a:t>      - </a:t>
            </a:r>
            <a:r>
              <a:rPr lang="nb-NO" sz="600" dirty="0" err="1">
                <a:latin typeface="Consolas"/>
              </a:rPr>
              <a:t>GF_SECURITY_ADMIN_USER</a:t>
            </a:r>
            <a:r>
              <a:rPr lang="nb-NO" sz="600" dirty="0">
                <a:latin typeface="Consolas"/>
              </a:rPr>
              <a:t>=${</a:t>
            </a:r>
            <a:r>
              <a:rPr lang="nb-NO" sz="600" dirty="0" err="1">
                <a:latin typeface="Consolas"/>
              </a:rPr>
              <a:t>GF_SECURITY_ADMIN_USER</a:t>
            </a:r>
            <a:r>
              <a:rPr lang="nb-NO" sz="600" dirty="0">
                <a:latin typeface="Consolas"/>
              </a:rPr>
              <a:t>}</a:t>
            </a:r>
          </a:p>
          <a:p>
            <a:r>
              <a:rPr lang="nb-NO" sz="600" dirty="0">
                <a:latin typeface="Consolas"/>
              </a:rPr>
              <a:t>      - </a:t>
            </a:r>
            <a:r>
              <a:rPr lang="nb-NO" sz="600" dirty="0" err="1">
                <a:latin typeface="Consolas"/>
              </a:rPr>
              <a:t>GF_SECURITY_ADMIN_PASSWORD</a:t>
            </a:r>
            <a:r>
              <a:rPr lang="nb-NO" sz="600" dirty="0">
                <a:latin typeface="Consolas"/>
              </a:rPr>
              <a:t>=${</a:t>
            </a:r>
            <a:r>
              <a:rPr lang="nb-NO" sz="600" dirty="0" err="1">
                <a:latin typeface="Consolas"/>
              </a:rPr>
              <a:t>GF_SECURITY_ADMIN_PASSWORD</a:t>
            </a:r>
            <a:r>
              <a:rPr lang="nb-NO" sz="600" dirty="0">
                <a:latin typeface="Consolas"/>
              </a:rPr>
              <a:t>}</a:t>
            </a:r>
          </a:p>
          <a:p>
            <a:r>
              <a:rPr lang="nb-NO" sz="600" dirty="0">
                <a:latin typeface="Consolas"/>
              </a:rPr>
              <a:t>      - </a:t>
            </a:r>
            <a:r>
              <a:rPr lang="nb-NO" sz="600" dirty="0" err="1">
                <a:latin typeface="Consolas"/>
              </a:rPr>
              <a:t>GF_INSTALL_PLUGINS</a:t>
            </a:r>
            <a:r>
              <a:rPr lang="nb-NO" sz="600" dirty="0">
                <a:latin typeface="Consolas"/>
              </a:rPr>
              <a:t>=</a:t>
            </a:r>
          </a:p>
          <a:p>
            <a:r>
              <a:rPr lang="nb-NO" sz="600" dirty="0">
                <a:latin typeface="Consolas"/>
              </a:rPr>
              <a:t>    </a:t>
            </a:r>
            <a:r>
              <a:rPr lang="nb-NO" sz="600" dirty="0" err="1">
                <a:latin typeface="Consolas"/>
              </a:rPr>
              <a:t>volumes</a:t>
            </a:r>
            <a:r>
              <a:rPr lang="nb-NO" sz="600" dirty="0">
                <a:latin typeface="Consolas"/>
              </a:rPr>
              <a:t>:</a:t>
            </a:r>
          </a:p>
          <a:p>
            <a:r>
              <a:rPr lang="nb-NO" sz="600" dirty="0">
                <a:latin typeface="Consolas"/>
              </a:rPr>
              <a:t>      - </a:t>
            </a:r>
            <a:r>
              <a:rPr lang="nb-NO" sz="600" dirty="0" err="1">
                <a:latin typeface="Consolas"/>
              </a:rPr>
              <a:t>grafana</a:t>
            </a:r>
            <a:r>
              <a:rPr lang="nb-NO" sz="600" dirty="0">
                <a:latin typeface="Consolas"/>
              </a:rPr>
              <a:t>-data:/var/</a:t>
            </a:r>
            <a:r>
              <a:rPr lang="nb-NO" sz="600" dirty="0" err="1">
                <a:latin typeface="Consolas"/>
              </a:rPr>
              <a:t>lib</a:t>
            </a:r>
            <a:r>
              <a:rPr lang="nb-NO" sz="600" dirty="0">
                <a:latin typeface="Consolas"/>
              </a:rPr>
              <a:t>/</a:t>
            </a:r>
            <a:r>
              <a:rPr lang="nb-NO" sz="600" dirty="0" err="1">
                <a:latin typeface="Consolas"/>
              </a:rPr>
              <a:t>grafana</a:t>
            </a:r>
            <a:endParaRPr lang="nb-NO" sz="600" dirty="0">
              <a:latin typeface="Consolas"/>
            </a:endParaRPr>
          </a:p>
          <a:p>
            <a:r>
              <a:rPr lang="nb-NO" sz="600" dirty="0">
                <a:latin typeface="Consolas"/>
              </a:rPr>
              <a:t>      #- ./</a:t>
            </a:r>
            <a:r>
              <a:rPr lang="nb-NO" sz="600" dirty="0" err="1">
                <a:latin typeface="Consolas"/>
              </a:rPr>
              <a:t>grafana</a:t>
            </a:r>
            <a:r>
              <a:rPr lang="nb-NO" sz="600" dirty="0">
                <a:latin typeface="Consolas"/>
              </a:rPr>
              <a:t>/</a:t>
            </a:r>
            <a:r>
              <a:rPr lang="nb-NO" sz="600" dirty="0" err="1">
                <a:latin typeface="Consolas"/>
              </a:rPr>
              <a:t>grafana.ini</a:t>
            </a:r>
            <a:r>
              <a:rPr lang="nb-NO" sz="600" dirty="0">
                <a:latin typeface="Consolas"/>
              </a:rPr>
              <a:t>:/</a:t>
            </a:r>
            <a:r>
              <a:rPr lang="nb-NO" sz="600" dirty="0" err="1">
                <a:latin typeface="Consolas"/>
              </a:rPr>
              <a:t>etc</a:t>
            </a:r>
            <a:r>
              <a:rPr lang="nb-NO" sz="600" dirty="0">
                <a:latin typeface="Consolas"/>
              </a:rPr>
              <a:t>/</a:t>
            </a:r>
            <a:r>
              <a:rPr lang="nb-NO" sz="600" dirty="0" err="1">
                <a:latin typeface="Consolas"/>
              </a:rPr>
              <a:t>grafana</a:t>
            </a:r>
            <a:r>
              <a:rPr lang="nb-NO" sz="600" dirty="0">
                <a:latin typeface="Consolas"/>
              </a:rPr>
              <a:t>/</a:t>
            </a:r>
            <a:r>
              <a:rPr lang="nb-NO" sz="600" dirty="0" err="1">
                <a:latin typeface="Consolas"/>
              </a:rPr>
              <a:t>grafana.ini:ro</a:t>
            </a:r>
            <a:endParaRPr lang="nb-NO" sz="600" dirty="0">
              <a:latin typeface="Consolas"/>
            </a:endParaRPr>
          </a:p>
          <a:p>
            <a:r>
              <a:rPr lang="nb-NO" sz="600" dirty="0">
                <a:latin typeface="Consolas"/>
              </a:rPr>
              <a:t>    </a:t>
            </a:r>
            <a:r>
              <a:rPr lang="nb-NO" sz="600" dirty="0" err="1">
                <a:latin typeface="Consolas"/>
              </a:rPr>
              <a:t>depends_on</a:t>
            </a:r>
            <a:r>
              <a:rPr lang="nb-NO" sz="600" dirty="0">
                <a:latin typeface="Consolas"/>
              </a:rPr>
              <a:t>:</a:t>
            </a:r>
          </a:p>
          <a:p>
            <a:r>
              <a:rPr lang="nb-NO" sz="600" dirty="0">
                <a:latin typeface="Consolas"/>
              </a:rPr>
              <a:t>      - </a:t>
            </a:r>
            <a:r>
              <a:rPr lang="nb-NO" sz="600" dirty="0" err="1">
                <a:latin typeface="Consolas"/>
              </a:rPr>
              <a:t>influxdb</a:t>
            </a:r>
            <a:endParaRPr lang="nb-NO" sz="600" dirty="0">
              <a:latin typeface="Consolas"/>
            </a:endParaRPr>
          </a:p>
          <a:p>
            <a:r>
              <a:rPr lang="nb-NO" sz="600" dirty="0">
                <a:latin typeface="Consolas"/>
              </a:rPr>
              <a:t>      - telegraf</a:t>
            </a:r>
          </a:p>
          <a:p>
            <a:endParaRPr lang="nb-NO" sz="600" dirty="0">
              <a:latin typeface="Consolas" panose="020B0609020204030204" pitchFamily="49" charset="0"/>
            </a:endParaRPr>
          </a:p>
          <a:p>
            <a:r>
              <a:rPr lang="nb-NO" sz="600" dirty="0" err="1">
                <a:latin typeface="Consolas"/>
              </a:rPr>
              <a:t>volumes</a:t>
            </a:r>
            <a:r>
              <a:rPr lang="nb-NO" sz="600" dirty="0">
                <a:latin typeface="Consolas"/>
              </a:rPr>
              <a:t>:</a:t>
            </a:r>
          </a:p>
          <a:p>
            <a:r>
              <a:rPr lang="nb-NO" sz="600" dirty="0">
                <a:latin typeface="Consolas"/>
              </a:rPr>
              <a:t>  </a:t>
            </a:r>
            <a:r>
              <a:rPr lang="nb-NO" sz="600" dirty="0" err="1">
                <a:latin typeface="Consolas"/>
              </a:rPr>
              <a:t>grafana</a:t>
            </a:r>
            <a:r>
              <a:rPr lang="nb-NO" sz="600" dirty="0">
                <a:latin typeface="Consolas"/>
              </a:rPr>
              <a:t>-data:</a:t>
            </a:r>
          </a:p>
          <a:p>
            <a:r>
              <a:rPr lang="nb-NO" sz="600" dirty="0">
                <a:latin typeface="Consolas"/>
              </a:rPr>
              <a:t>    </a:t>
            </a:r>
            <a:r>
              <a:rPr lang="nb-NO" sz="600" dirty="0" err="1">
                <a:latin typeface="Consolas"/>
              </a:rPr>
              <a:t>external</a:t>
            </a:r>
            <a:r>
              <a:rPr lang="nb-NO" sz="600" dirty="0">
                <a:latin typeface="Consolas"/>
              </a:rPr>
              <a:t>: true</a:t>
            </a:r>
          </a:p>
          <a:p>
            <a:r>
              <a:rPr lang="nb-NO" sz="600" dirty="0">
                <a:latin typeface="Consolas"/>
              </a:rPr>
              <a:t>  </a:t>
            </a:r>
            <a:r>
              <a:rPr lang="nb-NO" sz="600" dirty="0" err="1">
                <a:latin typeface="Consolas"/>
              </a:rPr>
              <a:t>influxdb</a:t>
            </a:r>
            <a:r>
              <a:rPr lang="nb-NO" sz="600" dirty="0">
                <a:latin typeface="Consolas"/>
              </a:rPr>
              <a:t>-data:</a:t>
            </a:r>
          </a:p>
          <a:p>
            <a:r>
              <a:rPr lang="nb-NO" sz="600" dirty="0">
                <a:latin typeface="Consolas"/>
              </a:rPr>
              <a:t>    </a:t>
            </a:r>
            <a:r>
              <a:rPr lang="nb-NO" sz="600" dirty="0" err="1">
                <a:latin typeface="Consolas"/>
              </a:rPr>
              <a:t>external</a:t>
            </a:r>
            <a:r>
              <a:rPr lang="nb-NO" sz="600" dirty="0">
                <a:latin typeface="Consolas"/>
              </a:rPr>
              <a:t>: true</a:t>
            </a:r>
          </a:p>
        </p:txBody>
      </p:sp>
      <p:sp>
        <p:nvSpPr>
          <p:cNvPr id="11" name="TextBox 10">
            <a:extLst>
              <a:ext uri="{FF2B5EF4-FFF2-40B4-BE49-F238E27FC236}">
                <a16:creationId xmlns:a16="http://schemas.microsoft.com/office/drawing/2014/main" id="{E3F5D7CC-3F48-BFB7-3D15-FBA69AA61067}"/>
              </a:ext>
            </a:extLst>
          </p:cNvPr>
          <p:cNvSpPr txBox="1"/>
          <p:nvPr/>
        </p:nvSpPr>
        <p:spPr>
          <a:xfrm>
            <a:off x="9431660" y="0"/>
            <a:ext cx="2488347" cy="276999"/>
          </a:xfrm>
          <a:prstGeom prst="rect">
            <a:avLst/>
          </a:prstGeom>
          <a:noFill/>
        </p:spPr>
        <p:txBody>
          <a:bodyPr wrap="square">
            <a:spAutoFit/>
          </a:bodyPr>
          <a:lstStyle/>
          <a:p>
            <a:r>
              <a:rPr lang="en-GB" sz="1200">
                <a:latin typeface="Consolas" panose="020B0609020204030204" pitchFamily="49" charset="0"/>
              </a:rPr>
              <a:t>docker-</a:t>
            </a:r>
            <a:r>
              <a:rPr lang="en-GB" sz="1200" err="1">
                <a:latin typeface="Consolas" panose="020B0609020204030204" pitchFamily="49" charset="0"/>
              </a:rPr>
              <a:t>compose.yml</a:t>
            </a:r>
            <a:endParaRPr lang="nb-NO" sz="1200">
              <a:latin typeface="Consolas" panose="020B0609020204030204" pitchFamily="49" charset="0"/>
            </a:endParaRPr>
          </a:p>
        </p:txBody>
      </p:sp>
      <p:sp>
        <p:nvSpPr>
          <p:cNvPr id="15" name="TextBox 14">
            <a:extLst>
              <a:ext uri="{FF2B5EF4-FFF2-40B4-BE49-F238E27FC236}">
                <a16:creationId xmlns:a16="http://schemas.microsoft.com/office/drawing/2014/main" id="{3E77F7C1-4F56-404F-E579-F03D1733EFB3}"/>
              </a:ext>
            </a:extLst>
          </p:cNvPr>
          <p:cNvSpPr txBox="1"/>
          <p:nvPr/>
        </p:nvSpPr>
        <p:spPr>
          <a:xfrm>
            <a:off x="879374" y="3697758"/>
            <a:ext cx="3887179"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err="1">
                <a:solidFill>
                  <a:srgbClr val="6D6D6D"/>
                </a:solidFill>
              </a:rPr>
              <a:t>devnet-adm@ubuntu-devnet</a:t>
            </a:r>
            <a:r>
              <a:rPr lang="fr-FR" sz="1050">
                <a:solidFill>
                  <a:srgbClr val="6D6D6D"/>
                </a:solidFill>
              </a:rPr>
              <a:t>:</a:t>
            </a:r>
            <a:r>
              <a:rPr lang="fr-FR" sz="1050">
                <a:solidFill>
                  <a:srgbClr val="8C8C8C"/>
                </a:solidFill>
                <a:latin typeface="Consolas" panose="020B0609020204030204" pitchFamily="49" charset="0"/>
              </a:rPr>
              <a:t>~</a:t>
            </a:r>
            <a:r>
              <a:rPr lang="fr-FR" sz="1050">
                <a:solidFill>
                  <a:srgbClr val="EEE8D5"/>
                </a:solidFill>
                <a:latin typeface="Consolas" panose="020B0609020204030204" pitchFamily="49" charset="0"/>
              </a:rPr>
              <a:t>$ docker logs </a:t>
            </a:r>
            <a:r>
              <a:rPr lang="fr-FR" sz="1050" err="1">
                <a:solidFill>
                  <a:srgbClr val="EEE8D5"/>
                </a:solidFill>
                <a:latin typeface="Consolas" panose="020B0609020204030204" pitchFamily="49" charset="0"/>
              </a:rPr>
              <a:t>telegraf</a:t>
            </a:r>
            <a:endParaRPr lang="fr-FR" sz="1050">
              <a:solidFill>
                <a:srgbClr val="EEE8D5"/>
              </a:solidFill>
              <a:latin typeface="Consolas" panose="020B0609020204030204" pitchFamily="49" charset="0"/>
            </a:endParaRPr>
          </a:p>
        </p:txBody>
      </p:sp>
      <p:pic>
        <p:nvPicPr>
          <p:cNvPr id="3" name="Picture 2" descr="A blue logo with a black background&#10;&#10;Description automatically generated">
            <a:extLst>
              <a:ext uri="{FF2B5EF4-FFF2-40B4-BE49-F238E27FC236}">
                <a16:creationId xmlns:a16="http://schemas.microsoft.com/office/drawing/2014/main" id="{1B45DF86-45BD-C456-1EDB-B14ABBE3910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014202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InfluxDB</a:t>
            </a:r>
            <a:r>
              <a:rPr lang="en-GB"/>
              <a:t> 2.X</a:t>
            </a:r>
          </a:p>
        </p:txBody>
      </p:sp>
      <p:sp>
        <p:nvSpPr>
          <p:cNvPr id="9" name="TextBox 8">
            <a:extLst>
              <a:ext uri="{FF2B5EF4-FFF2-40B4-BE49-F238E27FC236}">
                <a16:creationId xmlns:a16="http://schemas.microsoft.com/office/drawing/2014/main" id="{1332ADAB-347F-B30A-F36B-957ADACDE929}"/>
              </a:ext>
            </a:extLst>
          </p:cNvPr>
          <p:cNvSpPr txBox="1"/>
          <p:nvPr/>
        </p:nvSpPr>
        <p:spPr>
          <a:xfrm>
            <a:off x="206381" y="1039210"/>
            <a:ext cx="10211473" cy="1200329"/>
          </a:xfrm>
          <a:prstGeom prst="rect">
            <a:avLst/>
          </a:prstGeom>
          <a:noFill/>
        </p:spPr>
        <p:txBody>
          <a:bodyPr wrap="square" lIns="91440" tIns="45720" rIns="91440" bIns="45720" anchor="t">
            <a:spAutoFit/>
          </a:bodyPr>
          <a:lstStyle/>
          <a:p>
            <a:r>
              <a:rPr lang="nb-NO" dirty="0">
                <a:hlinkClick r:id="rId3"/>
              </a:rPr>
              <a:t>http://192.168.10.{</a:t>
            </a:r>
            <a:r>
              <a:rPr lang="nb-NO" dirty="0" err="1">
                <a:hlinkClick r:id="rId3"/>
              </a:rPr>
              <a:t>your</a:t>
            </a:r>
            <a:r>
              <a:rPr lang="nb-NO" dirty="0">
                <a:hlinkClick r:id="rId3"/>
              </a:rPr>
              <a:t> </a:t>
            </a:r>
            <a:r>
              <a:rPr lang="nb-NO" dirty="0" err="1">
                <a:hlinkClick r:id="rId3"/>
              </a:rPr>
              <a:t>Ubuntu</a:t>
            </a:r>
            <a:r>
              <a:rPr lang="nb-NO" dirty="0">
                <a:hlinkClick r:id="rId3"/>
              </a:rPr>
              <a:t> IP}:8086</a:t>
            </a:r>
            <a:endParaRPr lang="nb-NO" dirty="0"/>
          </a:p>
          <a:p>
            <a:pPr marL="285750" indent="-285750">
              <a:buFont typeface="Arial" panose="020B0604020202020204" pitchFamily="34" charset="0"/>
              <a:buChar char="•"/>
            </a:pPr>
            <a:r>
              <a:rPr lang="nb-NO" dirty="0" err="1"/>
              <a:t>Username</a:t>
            </a:r>
            <a:r>
              <a:rPr lang="nb-NO" dirty="0"/>
              <a:t>/</a:t>
            </a:r>
            <a:r>
              <a:rPr lang="nb-NO" dirty="0" err="1"/>
              <a:t>password</a:t>
            </a:r>
            <a:r>
              <a:rPr lang="nb-NO" dirty="0"/>
              <a:t> from .</a:t>
            </a:r>
            <a:r>
              <a:rPr lang="nb-NO" dirty="0" err="1"/>
              <a:t>env</a:t>
            </a:r>
            <a:r>
              <a:rPr lang="nb-NO" dirty="0"/>
              <a:t> </a:t>
            </a:r>
            <a:r>
              <a:rPr lang="nb-NO" sz="1600" dirty="0"/>
              <a:t>file (same as </a:t>
            </a:r>
            <a:r>
              <a:rPr lang="nb-NO" sz="1600" dirty="0" err="1"/>
              <a:t>always</a:t>
            </a:r>
            <a:r>
              <a:rPr lang="nb-NO" sz="1600" dirty="0"/>
              <a:t> </a:t>
            </a:r>
            <a:r>
              <a:rPr lang="nb-NO" sz="1600" dirty="0" err="1"/>
              <a:t>unless</a:t>
            </a:r>
            <a:r>
              <a:rPr lang="nb-NO" sz="1600" dirty="0"/>
              <a:t> </a:t>
            </a:r>
            <a:r>
              <a:rPr lang="nb-NO" sz="1600" dirty="0" err="1"/>
              <a:t>changed</a:t>
            </a:r>
            <a:r>
              <a:rPr lang="nb-NO" sz="1600" dirty="0"/>
              <a:t>)</a:t>
            </a:r>
            <a:endParaRPr lang="nb-NO" dirty="0"/>
          </a:p>
          <a:p>
            <a:pPr marL="285750" indent="-285750">
              <a:buFont typeface="Arial" panose="020B0604020202020204" pitchFamily="34" charset="0"/>
              <a:buChar char="•"/>
            </a:pPr>
            <a:r>
              <a:rPr lang="nb-NO" dirty="0" err="1"/>
              <a:t>Notice</a:t>
            </a:r>
            <a:r>
              <a:rPr lang="nb-NO" dirty="0"/>
              <a:t> </a:t>
            </a:r>
            <a:r>
              <a:rPr lang="nb-NO" dirty="0" err="1"/>
              <a:t>that</a:t>
            </a:r>
            <a:r>
              <a:rPr lang="nb-NO" dirty="0"/>
              <a:t> </a:t>
            </a:r>
            <a:r>
              <a:rPr lang="nb-NO" dirty="0" err="1"/>
              <a:t>we</a:t>
            </a:r>
            <a:r>
              <a:rPr lang="nb-NO" dirty="0"/>
              <a:t> </a:t>
            </a:r>
            <a:r>
              <a:rPr lang="nb-NO" dirty="0" err="1"/>
              <a:t>here</a:t>
            </a:r>
            <a:r>
              <a:rPr lang="nb-NO" dirty="0"/>
              <a:t> </a:t>
            </a:r>
            <a:r>
              <a:rPr lang="nb-NO" dirty="0" err="1"/>
              <a:t>also</a:t>
            </a:r>
            <a:r>
              <a:rPr lang="nb-NO" dirty="0"/>
              <a:t> </a:t>
            </a:r>
            <a:r>
              <a:rPr lang="nb-NO" dirty="0" err="1"/>
              <a:t>use</a:t>
            </a:r>
            <a:r>
              <a:rPr lang="nb-NO" dirty="0"/>
              <a:t> HTTP, not HTTPS</a:t>
            </a:r>
          </a:p>
          <a:p>
            <a:pPr marL="285750" indent="-285750">
              <a:buFont typeface="Arial" panose="020B0604020202020204" pitchFamily="34" charset="0"/>
              <a:buChar char="•"/>
            </a:pPr>
            <a:r>
              <a:rPr lang="nb-NO" dirty="0" err="1"/>
              <a:t>Change</a:t>
            </a:r>
            <a:r>
              <a:rPr lang="nb-NO" dirty="0"/>
              <a:t> </a:t>
            </a:r>
            <a:r>
              <a:rPr lang="nb-NO" dirty="0" err="1"/>
              <a:t>retention</a:t>
            </a:r>
            <a:r>
              <a:rPr lang="nb-NO" dirty="0"/>
              <a:t> </a:t>
            </a:r>
            <a:r>
              <a:rPr lang="nb-NO" dirty="0" err="1"/>
              <a:t>on</a:t>
            </a:r>
            <a:r>
              <a:rPr lang="nb-NO" dirty="0"/>
              <a:t> </a:t>
            </a:r>
            <a:r>
              <a:rPr lang="nb-NO" dirty="0" err="1"/>
              <a:t>your</a:t>
            </a:r>
            <a:r>
              <a:rPr lang="nb-NO" dirty="0"/>
              <a:t> </a:t>
            </a:r>
            <a:r>
              <a:rPr lang="nb-NO" dirty="0" err="1"/>
              <a:t>bucket</a:t>
            </a:r>
            <a:r>
              <a:rPr lang="nb-NO" dirty="0"/>
              <a:t> to </a:t>
            </a:r>
            <a:r>
              <a:rPr lang="nb-NO" dirty="0" err="1"/>
              <a:t>f.ex</a:t>
            </a:r>
            <a:r>
              <a:rPr lang="nb-NO" dirty="0"/>
              <a:t> 31 </a:t>
            </a:r>
            <a:r>
              <a:rPr lang="nb-NO" dirty="0" err="1"/>
              <a:t>days</a:t>
            </a:r>
            <a:r>
              <a:rPr lang="nb-NO" dirty="0"/>
              <a:t>.</a:t>
            </a:r>
            <a:endParaRPr lang="nb-NO" dirty="0">
              <a:ea typeface="Verdana"/>
            </a:endParaRP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cxnSp>
        <p:nvCxnSpPr>
          <p:cNvPr id="5" name="Straight Arrow Connector 4">
            <a:extLst>
              <a:ext uri="{FF2B5EF4-FFF2-40B4-BE49-F238E27FC236}">
                <a16:creationId xmlns:a16="http://schemas.microsoft.com/office/drawing/2014/main" id="{9F32EF8B-D942-C23F-43FB-BCB3ADEBE100}"/>
              </a:ext>
            </a:extLst>
          </p:cNvPr>
          <p:cNvCxnSpPr>
            <a:cxnSpLocks/>
          </p:cNvCxnSpPr>
          <p:nvPr/>
        </p:nvCxnSpPr>
        <p:spPr>
          <a:xfrm flipH="1">
            <a:off x="7153336" y="4756652"/>
            <a:ext cx="589246" cy="7794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3" name="Picture 22">
            <a:extLst>
              <a:ext uri="{FF2B5EF4-FFF2-40B4-BE49-F238E27FC236}">
                <a16:creationId xmlns:a16="http://schemas.microsoft.com/office/drawing/2014/main" id="{FFC95476-A16C-CF1E-EEBA-9DC42B469EA3}"/>
              </a:ext>
            </a:extLst>
          </p:cNvPr>
          <p:cNvPicPr>
            <a:picLocks noChangeAspect="1"/>
          </p:cNvPicPr>
          <p:nvPr/>
        </p:nvPicPr>
        <p:blipFill>
          <a:blip r:embed="rId4"/>
          <a:stretch>
            <a:fillRect/>
          </a:stretch>
        </p:blipFill>
        <p:spPr>
          <a:xfrm>
            <a:off x="424103" y="2318892"/>
            <a:ext cx="7873406" cy="3620925"/>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flipH="1">
            <a:off x="801757" y="2235156"/>
            <a:ext cx="3411428" cy="11938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8" name="Straight Arrow Connector 7">
            <a:extLst>
              <a:ext uri="{FF2B5EF4-FFF2-40B4-BE49-F238E27FC236}">
                <a16:creationId xmlns:a16="http://schemas.microsoft.com/office/drawing/2014/main" id="{DB8069F1-7B58-AE34-8A01-D60A5ADB97ED}"/>
              </a:ext>
            </a:extLst>
          </p:cNvPr>
          <p:cNvCxnSpPr>
            <a:cxnSpLocks/>
          </p:cNvCxnSpPr>
          <p:nvPr/>
        </p:nvCxnSpPr>
        <p:spPr>
          <a:xfrm>
            <a:off x="1709530" y="4028661"/>
            <a:ext cx="2869096" cy="135834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Bilde 2">
            <a:extLst>
              <a:ext uri="{FF2B5EF4-FFF2-40B4-BE49-F238E27FC236}">
                <a16:creationId xmlns:a16="http://schemas.microsoft.com/office/drawing/2014/main" id="{75474F73-3279-ACC2-8CA8-2187DEFC330B}"/>
              </a:ext>
            </a:extLst>
          </p:cNvPr>
          <p:cNvPicPr>
            <a:picLocks noChangeAspect="1"/>
          </p:cNvPicPr>
          <p:nvPr/>
        </p:nvPicPr>
        <p:blipFill rotWithShape="1">
          <a:blip r:embed="rId5">
            <a:extLst>
              <a:ext uri="{28A0092B-C50C-407E-A947-70E740481C1C}">
                <a14:useLocalDpi xmlns:a14="http://schemas.microsoft.com/office/drawing/2010/main" val="0"/>
              </a:ext>
            </a:extLst>
          </a:blip>
          <a:srcRect b="929"/>
          <a:stretch/>
        </p:blipFill>
        <p:spPr>
          <a:xfrm>
            <a:off x="8437483" y="2318892"/>
            <a:ext cx="3438934" cy="3620925"/>
          </a:xfrm>
          <a:prstGeom prst="rect">
            <a:avLst/>
          </a:prstGeom>
        </p:spPr>
      </p:pic>
      <p:pic>
        <p:nvPicPr>
          <p:cNvPr id="6" name="Picture 5" descr="A blue logo with a black background&#10;&#10;Description automatically generated">
            <a:extLst>
              <a:ext uri="{FF2B5EF4-FFF2-40B4-BE49-F238E27FC236}">
                <a16:creationId xmlns:a16="http://schemas.microsoft.com/office/drawing/2014/main" id="{69E4680C-7428-EDFD-9653-78D0F360B38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968854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InfluxDB</a:t>
            </a:r>
            <a:r>
              <a:rPr lang="en-GB"/>
              <a:t> 2.X</a:t>
            </a:r>
          </a:p>
        </p:txBody>
      </p:sp>
      <p:sp>
        <p:nvSpPr>
          <p:cNvPr id="9" name="TextBox 8">
            <a:extLst>
              <a:ext uri="{FF2B5EF4-FFF2-40B4-BE49-F238E27FC236}">
                <a16:creationId xmlns:a16="http://schemas.microsoft.com/office/drawing/2014/main" id="{1332ADAB-347F-B30A-F36B-957ADACDE929}"/>
              </a:ext>
            </a:extLst>
          </p:cNvPr>
          <p:cNvSpPr txBox="1"/>
          <p:nvPr/>
        </p:nvSpPr>
        <p:spPr>
          <a:xfrm>
            <a:off x="206381" y="1006345"/>
            <a:ext cx="4831255" cy="1944507"/>
          </a:xfrm>
          <a:prstGeom prst="rect">
            <a:avLst/>
          </a:prstGeom>
          <a:noFill/>
        </p:spPr>
        <p:txBody>
          <a:bodyPr wrap="square" lIns="91440" tIns="45720" rIns="91440" bIns="45720" anchor="t">
            <a:spAutoFit/>
          </a:bodyPr>
          <a:lstStyle/>
          <a:p>
            <a:r>
              <a:rPr lang="nb-NO" sz="1600" dirty="0">
                <a:hlinkClick r:id="rId3"/>
              </a:rPr>
              <a:t>http://192.168.10.{</a:t>
            </a:r>
            <a:r>
              <a:rPr lang="nb-NO" sz="1600" dirty="0" err="1">
                <a:hlinkClick r:id="rId3"/>
              </a:rPr>
              <a:t>your</a:t>
            </a:r>
            <a:r>
              <a:rPr lang="nb-NO" sz="1600" dirty="0">
                <a:hlinkClick r:id="rId3"/>
              </a:rPr>
              <a:t> </a:t>
            </a:r>
            <a:r>
              <a:rPr lang="nb-NO" sz="1600" dirty="0" err="1">
                <a:hlinkClick r:id="rId3"/>
              </a:rPr>
              <a:t>Ubuntu</a:t>
            </a:r>
            <a:r>
              <a:rPr lang="nb-NO" sz="1600" dirty="0">
                <a:hlinkClick r:id="rId3"/>
              </a:rPr>
              <a:t> IP}:8086</a:t>
            </a:r>
            <a:endParaRPr lang="nb-NO" sz="1600" dirty="0"/>
          </a:p>
          <a:p>
            <a:pPr marL="285750" indent="-285750">
              <a:lnSpc>
                <a:spcPct val="150000"/>
              </a:lnSpc>
              <a:buFont typeface="Arial" panose="020B0604020202020204" pitchFamily="34" charset="0"/>
              <a:buChar char="•"/>
            </a:pPr>
            <a:r>
              <a:rPr lang="nb-NO" dirty="0" err="1"/>
              <a:t>Create</a:t>
            </a:r>
            <a:r>
              <a:rPr lang="nb-NO" dirty="0"/>
              <a:t> a an </a:t>
            </a:r>
            <a:r>
              <a:rPr lang="nb-NO" dirty="0" err="1"/>
              <a:t>additonal</a:t>
            </a:r>
            <a:r>
              <a:rPr lang="nb-NO" dirty="0"/>
              <a:t> </a:t>
            </a:r>
            <a:r>
              <a:rPr lang="nb-NO" dirty="0" err="1"/>
              <a:t>bucket</a:t>
            </a:r>
            <a:endParaRPr lang="nb-NO" dirty="0">
              <a:ea typeface="Verdana"/>
            </a:endParaRPr>
          </a:p>
          <a:p>
            <a:pPr marL="742950" lvl="1" indent="-285750">
              <a:lnSpc>
                <a:spcPct val="150000"/>
              </a:lnSpc>
              <a:buFont typeface="Courier New" panose="020B0604020202020204" pitchFamily="34" charset="0"/>
              <a:buChar char="o"/>
            </a:pPr>
            <a:r>
              <a:rPr lang="nb-NO" dirty="0" err="1">
                <a:ea typeface="Verdana"/>
              </a:rPr>
              <a:t>Name</a:t>
            </a:r>
            <a:r>
              <a:rPr lang="nb-NO" dirty="0">
                <a:ea typeface="Verdana"/>
              </a:rPr>
              <a:t> it: </a:t>
            </a:r>
            <a:r>
              <a:rPr lang="nb-NO" b="1" dirty="0" err="1">
                <a:ea typeface="Verdana"/>
              </a:rPr>
              <a:t>syslog-bucket</a:t>
            </a:r>
            <a:endParaRPr lang="nb-NO" b="1" dirty="0">
              <a:ea typeface="Verdana"/>
            </a:endParaRPr>
          </a:p>
          <a:p>
            <a:pPr marL="285750" indent="-285750">
              <a:lnSpc>
                <a:spcPct val="150000"/>
              </a:lnSpc>
              <a:buFont typeface="Arial" panose="020B0604020202020204" pitchFamily="34" charset="0"/>
              <a:buChar char="•"/>
            </a:pPr>
            <a:r>
              <a:rPr lang="nb-NO" dirty="0">
                <a:ea typeface="Verdana"/>
              </a:rPr>
              <a:t>Set </a:t>
            </a:r>
            <a:r>
              <a:rPr lang="nb-NO" dirty="0" err="1">
                <a:ea typeface="Verdana"/>
              </a:rPr>
              <a:t>retention</a:t>
            </a:r>
            <a:r>
              <a:rPr lang="nb-NO" dirty="0">
                <a:ea typeface="Verdana"/>
              </a:rPr>
              <a:t> to 30 </a:t>
            </a:r>
            <a:r>
              <a:rPr lang="nb-NO" dirty="0" err="1">
                <a:ea typeface="Verdana"/>
              </a:rPr>
              <a:t>days</a:t>
            </a:r>
            <a:endParaRPr lang="nb-NO" dirty="0">
              <a:ea typeface="Verdana"/>
            </a:endParaRPr>
          </a:p>
          <a:p>
            <a:pPr marL="285750" indent="-285750">
              <a:lnSpc>
                <a:spcPct val="150000"/>
              </a:lnSpc>
              <a:buFont typeface="Arial" panose="020B0604020202020204" pitchFamily="34" charset="0"/>
              <a:buChar char="•"/>
            </a:pPr>
            <a:r>
              <a:rPr lang="nb-NO" dirty="0" err="1">
                <a:ea typeface="Verdana"/>
              </a:rPr>
              <a:t>You</a:t>
            </a:r>
            <a:r>
              <a:rPr lang="nb-NO" dirty="0">
                <a:ea typeface="Verdana"/>
              </a:rPr>
              <a:t> </a:t>
            </a:r>
            <a:r>
              <a:rPr lang="nb-NO" dirty="0" err="1">
                <a:ea typeface="Verdana"/>
              </a:rPr>
              <a:t>can</a:t>
            </a:r>
            <a:r>
              <a:rPr lang="nb-NO" dirty="0">
                <a:ea typeface="Verdana"/>
              </a:rPr>
              <a:t> </a:t>
            </a:r>
            <a:r>
              <a:rPr lang="nb-NO" dirty="0" err="1">
                <a:ea typeface="Verdana"/>
              </a:rPr>
              <a:t>find</a:t>
            </a:r>
            <a:r>
              <a:rPr lang="nb-NO" dirty="0">
                <a:ea typeface="Verdana"/>
              </a:rPr>
              <a:t> </a:t>
            </a:r>
            <a:r>
              <a:rPr lang="nb-NO" dirty="0" err="1">
                <a:ea typeface="Verdana"/>
              </a:rPr>
              <a:t>the</a:t>
            </a:r>
            <a:r>
              <a:rPr lang="nb-NO" dirty="0">
                <a:ea typeface="Verdana"/>
              </a:rPr>
              <a:t> </a:t>
            </a:r>
            <a:r>
              <a:rPr lang="nb-NO" dirty="0" err="1">
                <a:ea typeface="Verdana"/>
              </a:rPr>
              <a:t>bucket</a:t>
            </a:r>
            <a:r>
              <a:rPr lang="nb-NO" dirty="0">
                <a:ea typeface="Verdana"/>
              </a:rPr>
              <a:t>-ID </a:t>
            </a:r>
            <a:r>
              <a:rPr lang="nb-NO" dirty="0" err="1">
                <a:ea typeface="Verdana"/>
              </a:rPr>
              <a:t>here</a:t>
            </a:r>
            <a:endParaRPr lang="nb-NO" dirty="0">
              <a:ea typeface="Verdana"/>
            </a:endParaRP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pic>
        <p:nvPicPr>
          <p:cNvPr id="6" name="Picture 5" descr="A screenshot of a computer&#10;&#10;Description automatically generated">
            <a:extLst>
              <a:ext uri="{FF2B5EF4-FFF2-40B4-BE49-F238E27FC236}">
                <a16:creationId xmlns:a16="http://schemas.microsoft.com/office/drawing/2014/main" id="{3A4883CB-701E-C98E-7334-7B48E10C9795}"/>
              </a:ext>
            </a:extLst>
          </p:cNvPr>
          <p:cNvPicPr>
            <a:picLocks noChangeAspect="1"/>
          </p:cNvPicPr>
          <p:nvPr/>
        </p:nvPicPr>
        <p:blipFill rotWithShape="1">
          <a:blip r:embed="rId4"/>
          <a:srcRect b="9951"/>
          <a:stretch/>
        </p:blipFill>
        <p:spPr>
          <a:xfrm>
            <a:off x="5090489" y="432001"/>
            <a:ext cx="6893543" cy="3847392"/>
          </a:xfrm>
          <a:prstGeom prst="rect">
            <a:avLst/>
          </a:prstGeom>
        </p:spPr>
      </p:pic>
      <p:cxnSp>
        <p:nvCxnSpPr>
          <p:cNvPr id="12" name="Straight Arrow Connector 11">
            <a:extLst>
              <a:ext uri="{FF2B5EF4-FFF2-40B4-BE49-F238E27FC236}">
                <a16:creationId xmlns:a16="http://schemas.microsoft.com/office/drawing/2014/main" id="{EE97F0F7-C77F-FB9C-D049-955D7C3BD72A}"/>
              </a:ext>
            </a:extLst>
          </p:cNvPr>
          <p:cNvCxnSpPr>
            <a:cxnSpLocks/>
          </p:cNvCxnSpPr>
          <p:nvPr/>
        </p:nvCxnSpPr>
        <p:spPr>
          <a:xfrm flipV="1">
            <a:off x="4122295" y="749508"/>
            <a:ext cx="2128603" cy="104181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Picture 7">
            <a:extLst>
              <a:ext uri="{FF2B5EF4-FFF2-40B4-BE49-F238E27FC236}">
                <a16:creationId xmlns:a16="http://schemas.microsoft.com/office/drawing/2014/main" id="{9DBA21DB-82E7-B7E0-C3B7-C1B4294904EF}"/>
              </a:ext>
            </a:extLst>
          </p:cNvPr>
          <p:cNvPicPr>
            <a:picLocks noChangeAspect="1"/>
          </p:cNvPicPr>
          <p:nvPr/>
        </p:nvPicPr>
        <p:blipFill>
          <a:blip r:embed="rId5"/>
          <a:stretch>
            <a:fillRect/>
          </a:stretch>
        </p:blipFill>
        <p:spPr>
          <a:xfrm>
            <a:off x="5090489" y="4513195"/>
            <a:ext cx="3543795" cy="1238423"/>
          </a:xfrm>
          <a:prstGeom prst="rect">
            <a:avLst/>
          </a:prstGeom>
        </p:spPr>
      </p:pic>
      <p:pic>
        <p:nvPicPr>
          <p:cNvPr id="3" name="Picture 2" descr="A blue logo with a black background&#10;&#10;Description automatically generated">
            <a:extLst>
              <a:ext uri="{FF2B5EF4-FFF2-40B4-BE49-F238E27FC236}">
                <a16:creationId xmlns:a16="http://schemas.microsoft.com/office/drawing/2014/main" id="{2EB3C4A6-B935-DD02-C6EC-9211132D27E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cxnSp>
        <p:nvCxnSpPr>
          <p:cNvPr id="10" name="Straight Arrow Connector 9">
            <a:extLst>
              <a:ext uri="{FF2B5EF4-FFF2-40B4-BE49-F238E27FC236}">
                <a16:creationId xmlns:a16="http://schemas.microsoft.com/office/drawing/2014/main" id="{BD390C99-EBFF-D081-6856-C0F6A8B7AA16}"/>
              </a:ext>
            </a:extLst>
          </p:cNvPr>
          <p:cNvCxnSpPr>
            <a:cxnSpLocks/>
          </p:cNvCxnSpPr>
          <p:nvPr/>
        </p:nvCxnSpPr>
        <p:spPr>
          <a:xfrm flipV="1">
            <a:off x="4212236" y="1206708"/>
            <a:ext cx="6505731" cy="64457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4" name="Straight Arrow Connector 13">
            <a:extLst>
              <a:ext uri="{FF2B5EF4-FFF2-40B4-BE49-F238E27FC236}">
                <a16:creationId xmlns:a16="http://schemas.microsoft.com/office/drawing/2014/main" id="{5740468C-B39A-32C5-B0D3-7ACB416D4C6E}"/>
              </a:ext>
            </a:extLst>
          </p:cNvPr>
          <p:cNvCxnSpPr>
            <a:cxnSpLocks/>
          </p:cNvCxnSpPr>
          <p:nvPr/>
        </p:nvCxnSpPr>
        <p:spPr>
          <a:xfrm>
            <a:off x="4122295" y="3258628"/>
            <a:ext cx="2615784" cy="167313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872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B41037F-FBED-FC8D-7C83-E534B8FCF426}"/>
              </a:ext>
            </a:extLst>
          </p:cNvPr>
          <p:cNvPicPr>
            <a:picLocks noChangeAspect="1"/>
          </p:cNvPicPr>
          <p:nvPr/>
        </p:nvPicPr>
        <p:blipFill>
          <a:blip r:embed="rId3"/>
          <a:stretch>
            <a:fillRect/>
          </a:stretch>
        </p:blipFill>
        <p:spPr>
          <a:xfrm>
            <a:off x="8384906" y="1065676"/>
            <a:ext cx="2624504" cy="1380315"/>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9</a:t>
            </a:fld>
            <a:endParaRPr lang="en-GB"/>
          </a:p>
        </p:txBody>
      </p:sp>
      <p:sp>
        <p:nvSpPr>
          <p:cNvPr id="180" name="Text+Image 50:50"/>
          <p:cNvSpPr txBox="1">
            <a:spLocks noGrp="1"/>
          </p:cNvSpPr>
          <p:nvPr>
            <p:ph type="title"/>
          </p:nvPr>
        </p:nvSpPr>
        <p:spPr>
          <a:xfrm>
            <a:off x="522530" y="378991"/>
            <a:ext cx="11109600" cy="540000"/>
          </a:xfrm>
        </p:spPr>
        <p:txBody>
          <a:bodyPr anchor="ctr">
            <a:normAutofit fontScale="90000"/>
          </a:bodyPr>
          <a:lstStyle/>
          <a:p>
            <a:r>
              <a:rPr lang="en-GB" dirty="0">
                <a:latin typeface="Verdana"/>
                <a:ea typeface="Verdana"/>
              </a:rPr>
              <a:t>(Optional)</a:t>
            </a:r>
            <a:br>
              <a:rPr lang="en-GB" dirty="0">
                <a:latin typeface="Verdana"/>
                <a:ea typeface="Verdana"/>
              </a:rPr>
            </a:br>
            <a:r>
              <a:rPr lang="en-GB" dirty="0">
                <a:latin typeface="Verdana"/>
                <a:ea typeface="Verdana"/>
              </a:rPr>
              <a:t>Create a new RO Token</a:t>
            </a:r>
            <a:endParaRPr lang="en-GB" dirty="0"/>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sp>
        <p:nvSpPr>
          <p:cNvPr id="3" name="TextBox 2">
            <a:extLst>
              <a:ext uri="{FF2B5EF4-FFF2-40B4-BE49-F238E27FC236}">
                <a16:creationId xmlns:a16="http://schemas.microsoft.com/office/drawing/2014/main" id="{5A9E3B6B-8E0E-D6F1-2A9E-5AF13DE2E6CB}"/>
              </a:ext>
            </a:extLst>
          </p:cNvPr>
          <p:cNvSpPr txBox="1"/>
          <p:nvPr/>
        </p:nvSpPr>
        <p:spPr>
          <a:xfrm>
            <a:off x="146178" y="973414"/>
            <a:ext cx="4473548" cy="3785652"/>
          </a:xfrm>
          <a:prstGeom prst="rect">
            <a:avLst/>
          </a:prstGeom>
          <a:noFill/>
        </p:spPr>
        <p:txBody>
          <a:bodyPr wrap="square" lIns="91440" tIns="45720" rIns="91440" bIns="45720" anchor="t">
            <a:spAutoFit/>
          </a:bodyPr>
          <a:lstStyle/>
          <a:p>
            <a:pPr marL="285750" indent="-285750">
              <a:buFont typeface="Arial"/>
              <a:buChar char="•"/>
            </a:pPr>
            <a:r>
              <a:rPr lang="nb-NO" b="1" dirty="0" err="1"/>
              <a:t>Admin</a:t>
            </a:r>
            <a:r>
              <a:rPr lang="nb-NO" b="1" dirty="0"/>
              <a:t> token</a:t>
            </a:r>
            <a:endParaRPr lang="nb-NO" b="1" dirty="0">
              <a:ea typeface="Verdana"/>
            </a:endParaRPr>
          </a:p>
          <a:p>
            <a:pPr marL="742950" lvl="1" indent="-285750">
              <a:buFont typeface="Arial" panose="020B0604020202020204" pitchFamily="34" charset="0"/>
              <a:buChar char="•"/>
            </a:pPr>
            <a:r>
              <a:rPr lang="nb-NO" sz="1400" dirty="0"/>
              <a:t>Token </a:t>
            </a:r>
            <a:r>
              <a:rPr lang="nb-NO" sz="1400" dirty="0" err="1"/>
              <a:t>made</a:t>
            </a:r>
            <a:r>
              <a:rPr lang="nb-NO" sz="1400" dirty="0"/>
              <a:t> in </a:t>
            </a:r>
            <a:r>
              <a:rPr lang="nb-NO" sz="1400" dirty="0" err="1"/>
              <a:t>the</a:t>
            </a:r>
            <a:r>
              <a:rPr lang="nb-NO" sz="1400" dirty="0"/>
              <a:t> .</a:t>
            </a:r>
            <a:r>
              <a:rPr lang="nb-NO" sz="1400" dirty="0" err="1"/>
              <a:t>env</a:t>
            </a:r>
            <a:r>
              <a:rPr lang="nb-NO" sz="1400" dirty="0"/>
              <a:t> file. </a:t>
            </a:r>
            <a:endParaRPr lang="nb-NO" sz="1400" dirty="0">
              <a:ea typeface="Verdana"/>
            </a:endParaRPr>
          </a:p>
          <a:p>
            <a:pPr marL="742950" lvl="1" indent="-285750">
              <a:buFont typeface="Arial" panose="020B0604020202020204" pitchFamily="34" charset="0"/>
              <a:buChar char="•"/>
            </a:pPr>
            <a:r>
              <a:rPr lang="nb-NO" sz="1400" dirty="0"/>
              <a:t>All </a:t>
            </a:r>
            <a:r>
              <a:rPr lang="nb-NO" sz="1400" dirty="0" err="1"/>
              <a:t>access</a:t>
            </a:r>
            <a:r>
              <a:rPr lang="nb-NO" sz="1400" dirty="0"/>
              <a:t> token (Read/Write to all databases)</a:t>
            </a:r>
            <a:endParaRPr lang="nb-NO" sz="1400" dirty="0">
              <a:ea typeface="Verdana"/>
            </a:endParaRPr>
          </a:p>
          <a:p>
            <a:pPr marL="742950" lvl="1" indent="-285750">
              <a:buFont typeface="Arial" panose="020B0604020202020204" pitchFamily="34" charset="0"/>
              <a:buChar char="•"/>
            </a:pPr>
            <a:r>
              <a:rPr lang="nb-NO" sz="1400" dirty="0"/>
              <a:t>Is </a:t>
            </a:r>
            <a:r>
              <a:rPr lang="nb-NO" sz="1400" dirty="0" err="1"/>
              <a:t>needed</a:t>
            </a:r>
            <a:r>
              <a:rPr lang="nb-NO" sz="1400" dirty="0"/>
              <a:t> to </a:t>
            </a:r>
            <a:r>
              <a:rPr lang="nb-NO" sz="1400" dirty="0" err="1"/>
              <a:t>access</a:t>
            </a:r>
            <a:r>
              <a:rPr lang="nb-NO" sz="1400" dirty="0"/>
              <a:t> </a:t>
            </a:r>
            <a:r>
              <a:rPr lang="nb-NO" sz="1400" dirty="0" err="1"/>
              <a:t>InfluxDB</a:t>
            </a:r>
            <a:r>
              <a:rPr lang="nb-NO" sz="1400" dirty="0"/>
              <a:t> in CLI</a:t>
            </a:r>
            <a:endParaRPr lang="nb-NO" sz="1400" dirty="0">
              <a:ea typeface="Verdana"/>
            </a:endParaRPr>
          </a:p>
          <a:p>
            <a:pPr marL="742950" lvl="1" indent="-285750">
              <a:buFont typeface="Arial" panose="020B0604020202020204" pitchFamily="34" charset="0"/>
              <a:buChar char="•"/>
            </a:pPr>
            <a:r>
              <a:rPr lang="nb-NO" sz="1400" dirty="0"/>
              <a:t>In a </a:t>
            </a:r>
            <a:r>
              <a:rPr lang="nb-NO" sz="1400" dirty="0" err="1"/>
              <a:t>production</a:t>
            </a:r>
            <a:r>
              <a:rPr lang="nb-NO" sz="1400" dirty="0"/>
              <a:t> </a:t>
            </a:r>
            <a:r>
              <a:rPr lang="nb-NO" sz="1400" dirty="0" err="1"/>
              <a:t>environment</a:t>
            </a:r>
            <a:r>
              <a:rPr lang="nb-NO" sz="1400" dirty="0"/>
              <a:t> </a:t>
            </a:r>
            <a:r>
              <a:rPr lang="nb-NO" sz="1400" dirty="0" err="1"/>
              <a:t>you</a:t>
            </a:r>
            <a:r>
              <a:rPr lang="nb-NO" sz="1400" dirty="0"/>
              <a:t> </a:t>
            </a:r>
            <a:r>
              <a:rPr lang="nb-NO" sz="1400" dirty="0" err="1"/>
              <a:t>could</a:t>
            </a:r>
            <a:r>
              <a:rPr lang="nb-NO" sz="1400" dirty="0"/>
              <a:t> </a:t>
            </a:r>
            <a:r>
              <a:rPr lang="nb-NO" sz="1400" dirty="0" err="1"/>
              <a:t>create</a:t>
            </a:r>
            <a:r>
              <a:rPr lang="nb-NO" sz="1400" dirty="0"/>
              <a:t> a separate token for Telegraf, </a:t>
            </a:r>
            <a:r>
              <a:rPr lang="nb-NO" sz="1400" dirty="0" err="1"/>
              <a:t>with</a:t>
            </a:r>
            <a:r>
              <a:rPr lang="nb-NO" sz="1400" dirty="0"/>
              <a:t> less </a:t>
            </a:r>
            <a:r>
              <a:rPr lang="nb-NO" sz="1400" dirty="0" err="1"/>
              <a:t>privileges</a:t>
            </a:r>
            <a:r>
              <a:rPr lang="nb-NO" sz="1400" dirty="0"/>
              <a:t>.</a:t>
            </a:r>
            <a:endParaRPr lang="nb-NO" sz="1400" dirty="0">
              <a:ea typeface="Verdana"/>
            </a:endParaRPr>
          </a:p>
          <a:p>
            <a:pPr lvl="1"/>
            <a:endParaRPr lang="nb-NO" sz="1400" dirty="0">
              <a:ea typeface="Verdana"/>
            </a:endParaRPr>
          </a:p>
          <a:p>
            <a:pPr marL="285750" indent="-285750">
              <a:buFont typeface="Arial" panose="020B0604020202020204" pitchFamily="34" charset="0"/>
              <a:buChar char="•"/>
            </a:pPr>
            <a:r>
              <a:rPr lang="nb-NO" b="1" dirty="0"/>
              <a:t>Read-</a:t>
            </a:r>
            <a:r>
              <a:rPr lang="nb-NO" b="1" dirty="0" err="1"/>
              <a:t>only</a:t>
            </a:r>
            <a:r>
              <a:rPr lang="nb-NO" b="1" dirty="0"/>
              <a:t> token</a:t>
            </a:r>
            <a:endParaRPr lang="nb-NO" b="1" dirty="0">
              <a:ea typeface="Verdana"/>
            </a:endParaRPr>
          </a:p>
          <a:p>
            <a:pPr marL="742950" lvl="1" indent="-285750">
              <a:buFont typeface="Arial" panose="020B0604020202020204" pitchFamily="34" charset="0"/>
              <a:buChar char="•"/>
            </a:pPr>
            <a:r>
              <a:rPr lang="nb-NO" sz="1400" dirty="0" err="1"/>
              <a:t>We</a:t>
            </a:r>
            <a:r>
              <a:rPr lang="nb-NO" sz="1400" dirty="0"/>
              <a:t> </a:t>
            </a:r>
            <a:r>
              <a:rPr lang="nb-NO" sz="1400" dirty="0" err="1"/>
              <a:t>will</a:t>
            </a:r>
            <a:r>
              <a:rPr lang="nb-NO" sz="1400" dirty="0"/>
              <a:t> </a:t>
            </a:r>
            <a:r>
              <a:rPr lang="nb-NO" sz="1400" dirty="0" err="1"/>
              <a:t>use</a:t>
            </a:r>
            <a:r>
              <a:rPr lang="nb-NO" sz="1400" dirty="0"/>
              <a:t> </a:t>
            </a:r>
            <a:r>
              <a:rPr lang="nb-NO" sz="1400" dirty="0" err="1"/>
              <a:t>this</a:t>
            </a:r>
            <a:r>
              <a:rPr lang="nb-NO" sz="1400" dirty="0"/>
              <a:t> for </a:t>
            </a:r>
            <a:r>
              <a:rPr lang="nb-NO" sz="1400" dirty="0" err="1"/>
              <a:t>Grafana</a:t>
            </a:r>
            <a:endParaRPr lang="nb-NO" sz="1400" dirty="0">
              <a:ea typeface="Verdana"/>
            </a:endParaRPr>
          </a:p>
          <a:p>
            <a:pPr marL="285750" indent="-285750">
              <a:buFont typeface="Arial" panose="020B0604020202020204" pitchFamily="34" charset="0"/>
              <a:buChar char="•"/>
            </a:pPr>
            <a:endParaRPr lang="nb-NO" dirty="0">
              <a:ea typeface="Verdana"/>
            </a:endParaRPr>
          </a:p>
          <a:p>
            <a:pPr marL="285750" indent="-285750">
              <a:buFont typeface="Arial" panose="020B0604020202020204" pitchFamily="34" charset="0"/>
              <a:buChar char="•"/>
            </a:pPr>
            <a:r>
              <a:rPr lang="nb-NO" b="1" dirty="0"/>
              <a:t>Update </a:t>
            </a:r>
            <a:r>
              <a:rPr lang="nb-NO" b="1" dirty="0" err="1"/>
              <a:t>the</a:t>
            </a:r>
            <a:r>
              <a:rPr lang="nb-NO" b="1" dirty="0"/>
              <a:t> </a:t>
            </a:r>
            <a:r>
              <a:rPr lang="nb-NO" b="1" dirty="0" err="1"/>
              <a:t>text</a:t>
            </a:r>
            <a:r>
              <a:rPr lang="nb-NO" b="1" dirty="0"/>
              <a:t> file</a:t>
            </a:r>
            <a:endParaRPr lang="nb-NO" b="1" dirty="0">
              <a:ea typeface="Verdana"/>
            </a:endParaRPr>
          </a:p>
          <a:p>
            <a:pPr marL="742950" lvl="1" indent="-285750">
              <a:buFont typeface="Arial" panose="020B0604020202020204" pitchFamily="34" charset="0"/>
              <a:buChar char="•"/>
            </a:pPr>
            <a:r>
              <a:rPr lang="nb-NO" sz="1400" dirty="0"/>
              <a:t>Lab10_notes.txt</a:t>
            </a:r>
            <a:endParaRPr lang="nb-NO" sz="1400" dirty="0">
              <a:ea typeface="Verdana"/>
            </a:endParaRPr>
          </a:p>
          <a:p>
            <a:pPr marL="742950" lvl="1" indent="-285750">
              <a:buFont typeface="Arial" panose="020B0604020202020204" pitchFamily="34" charset="0"/>
              <a:buChar char="•"/>
            </a:pPr>
            <a:r>
              <a:rPr lang="nb-NO" sz="1400" dirty="0"/>
              <a:t>Even </a:t>
            </a:r>
            <a:r>
              <a:rPr lang="nb-NO" sz="1400" dirty="0" err="1"/>
              <a:t>better</a:t>
            </a:r>
            <a:r>
              <a:rPr lang="nb-NO" sz="1400" dirty="0"/>
              <a:t>, </a:t>
            </a:r>
            <a:r>
              <a:rPr lang="nb-NO" sz="1400" dirty="0" err="1"/>
              <a:t>use</a:t>
            </a:r>
            <a:r>
              <a:rPr lang="nb-NO" sz="1400" dirty="0"/>
              <a:t> </a:t>
            </a:r>
            <a:r>
              <a:rPr lang="nb-NO" sz="1400" dirty="0" err="1"/>
              <a:t>your</a:t>
            </a:r>
            <a:r>
              <a:rPr lang="nb-NO" sz="1400" dirty="0"/>
              <a:t> </a:t>
            </a:r>
            <a:r>
              <a:rPr lang="nb-NO" sz="1400" dirty="0" err="1"/>
              <a:t>password</a:t>
            </a:r>
            <a:r>
              <a:rPr lang="nb-NO" sz="1400" dirty="0"/>
              <a:t> manager </a:t>
            </a:r>
            <a:r>
              <a:rPr lang="nb-NO" sz="1400" dirty="0" err="1"/>
              <a:t>instead</a:t>
            </a:r>
            <a:r>
              <a:rPr lang="nb-NO" sz="1400" dirty="0"/>
              <a:t> (</a:t>
            </a:r>
            <a:r>
              <a:rPr lang="nb-NO" sz="1400" dirty="0" err="1"/>
              <a:t>KeePass</a:t>
            </a:r>
            <a:r>
              <a:rPr lang="nb-NO" sz="1400" dirty="0"/>
              <a:t> </a:t>
            </a:r>
            <a:r>
              <a:rPr lang="nb-NO" sz="1400" dirty="0" err="1"/>
              <a:t>etc</a:t>
            </a:r>
            <a:r>
              <a:rPr lang="nb-NO" sz="1400" dirty="0"/>
              <a:t>)</a:t>
            </a:r>
            <a:endParaRPr lang="nb-NO" sz="1400" dirty="0">
              <a:ea typeface="Verdana"/>
            </a:endParaRPr>
          </a:p>
        </p:txBody>
      </p:sp>
      <p:pic>
        <p:nvPicPr>
          <p:cNvPr id="10" name="Picture 9">
            <a:extLst>
              <a:ext uri="{FF2B5EF4-FFF2-40B4-BE49-F238E27FC236}">
                <a16:creationId xmlns:a16="http://schemas.microsoft.com/office/drawing/2014/main" id="{8C2FD0B4-7879-AC7D-DB51-821ABA8E93D1}"/>
              </a:ext>
            </a:extLst>
          </p:cNvPr>
          <p:cNvPicPr>
            <a:picLocks noChangeAspect="1"/>
          </p:cNvPicPr>
          <p:nvPr/>
        </p:nvPicPr>
        <p:blipFill>
          <a:blip r:embed="rId4"/>
          <a:stretch>
            <a:fillRect/>
          </a:stretch>
        </p:blipFill>
        <p:spPr>
          <a:xfrm>
            <a:off x="4806094" y="432000"/>
            <a:ext cx="1819993" cy="2565533"/>
          </a:xfrm>
          <a:prstGeom prst="rect">
            <a:avLst/>
          </a:prstGeom>
        </p:spPr>
      </p:pic>
      <p:pic>
        <p:nvPicPr>
          <p:cNvPr id="13" name="Picture 12">
            <a:extLst>
              <a:ext uri="{FF2B5EF4-FFF2-40B4-BE49-F238E27FC236}">
                <a16:creationId xmlns:a16="http://schemas.microsoft.com/office/drawing/2014/main" id="{133F996D-2423-67C7-620D-CF91CE079A75}"/>
              </a:ext>
            </a:extLst>
          </p:cNvPr>
          <p:cNvPicPr>
            <a:picLocks noChangeAspect="1"/>
          </p:cNvPicPr>
          <p:nvPr/>
        </p:nvPicPr>
        <p:blipFill>
          <a:blip r:embed="rId5"/>
          <a:stretch>
            <a:fillRect/>
          </a:stretch>
        </p:blipFill>
        <p:spPr>
          <a:xfrm>
            <a:off x="6724484" y="432000"/>
            <a:ext cx="4334455" cy="541807"/>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flipV="1">
            <a:off x="6077330" y="771796"/>
            <a:ext cx="3914809" cy="200566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8" name="Straight Arrow Connector 17">
            <a:extLst>
              <a:ext uri="{FF2B5EF4-FFF2-40B4-BE49-F238E27FC236}">
                <a16:creationId xmlns:a16="http://schemas.microsoft.com/office/drawing/2014/main" id="{55979E7A-7A41-3CA5-0A5E-315CDBE9D32E}"/>
              </a:ext>
            </a:extLst>
          </p:cNvPr>
          <p:cNvCxnSpPr>
            <a:cxnSpLocks/>
          </p:cNvCxnSpPr>
          <p:nvPr/>
        </p:nvCxnSpPr>
        <p:spPr>
          <a:xfrm>
            <a:off x="10442713" y="800586"/>
            <a:ext cx="19617" cy="50934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40" name="Picture 39">
            <a:extLst>
              <a:ext uri="{FF2B5EF4-FFF2-40B4-BE49-F238E27FC236}">
                <a16:creationId xmlns:a16="http://schemas.microsoft.com/office/drawing/2014/main" id="{19ED2AF1-B2F5-0EE1-3C29-A2C403C88407}"/>
              </a:ext>
            </a:extLst>
          </p:cNvPr>
          <p:cNvPicPr>
            <a:picLocks noChangeAspect="1"/>
          </p:cNvPicPr>
          <p:nvPr/>
        </p:nvPicPr>
        <p:blipFill>
          <a:blip r:embed="rId6"/>
          <a:stretch>
            <a:fillRect/>
          </a:stretch>
        </p:blipFill>
        <p:spPr>
          <a:xfrm>
            <a:off x="8384760" y="2533575"/>
            <a:ext cx="2655614" cy="3522839"/>
          </a:xfrm>
          <a:prstGeom prst="rect">
            <a:avLst/>
          </a:prstGeom>
        </p:spPr>
      </p:pic>
      <p:pic>
        <p:nvPicPr>
          <p:cNvPr id="46" name="Picture 45">
            <a:extLst>
              <a:ext uri="{FF2B5EF4-FFF2-40B4-BE49-F238E27FC236}">
                <a16:creationId xmlns:a16="http://schemas.microsoft.com/office/drawing/2014/main" id="{D2A8875C-4212-DA16-7237-B314D2DDACFA}"/>
              </a:ext>
            </a:extLst>
          </p:cNvPr>
          <p:cNvPicPr>
            <a:picLocks noChangeAspect="1"/>
          </p:cNvPicPr>
          <p:nvPr/>
        </p:nvPicPr>
        <p:blipFill>
          <a:blip r:embed="rId7"/>
          <a:stretch>
            <a:fillRect/>
          </a:stretch>
        </p:blipFill>
        <p:spPr>
          <a:xfrm>
            <a:off x="8816218" y="2692667"/>
            <a:ext cx="1203763" cy="443051"/>
          </a:xfrm>
          <a:prstGeom prst="rect">
            <a:avLst/>
          </a:prstGeom>
        </p:spPr>
      </p:pic>
      <p:sp>
        <p:nvSpPr>
          <p:cNvPr id="47" name="Rectangle: Rounded Corners 46">
            <a:extLst>
              <a:ext uri="{FF2B5EF4-FFF2-40B4-BE49-F238E27FC236}">
                <a16:creationId xmlns:a16="http://schemas.microsoft.com/office/drawing/2014/main" id="{E73EBDE1-2D35-7655-0B90-DC5D0B8A8228}"/>
              </a:ext>
            </a:extLst>
          </p:cNvPr>
          <p:cNvSpPr/>
          <p:nvPr/>
        </p:nvSpPr>
        <p:spPr>
          <a:xfrm>
            <a:off x="10396288" y="3137347"/>
            <a:ext cx="536228" cy="266225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49" name="Picture 48">
            <a:extLst>
              <a:ext uri="{FF2B5EF4-FFF2-40B4-BE49-F238E27FC236}">
                <a16:creationId xmlns:a16="http://schemas.microsoft.com/office/drawing/2014/main" id="{C11A4833-644F-48ED-DC54-A2C17B31AD15}"/>
              </a:ext>
            </a:extLst>
          </p:cNvPr>
          <p:cNvPicPr>
            <a:picLocks noChangeAspect="1"/>
          </p:cNvPicPr>
          <p:nvPr/>
        </p:nvPicPr>
        <p:blipFill>
          <a:blip r:embed="rId8"/>
          <a:stretch>
            <a:fillRect/>
          </a:stretch>
        </p:blipFill>
        <p:spPr>
          <a:xfrm>
            <a:off x="4804469" y="3427901"/>
            <a:ext cx="3494901" cy="1271953"/>
          </a:xfrm>
          <a:prstGeom prst="rect">
            <a:avLst/>
          </a:prstGeom>
        </p:spPr>
      </p:pic>
      <p:cxnSp>
        <p:nvCxnSpPr>
          <p:cNvPr id="50" name="Straight Arrow Connector 49">
            <a:extLst>
              <a:ext uri="{FF2B5EF4-FFF2-40B4-BE49-F238E27FC236}">
                <a16:creationId xmlns:a16="http://schemas.microsoft.com/office/drawing/2014/main" id="{FC875C6D-E8E3-00F1-F830-2F2E5089C3AE}"/>
              </a:ext>
            </a:extLst>
          </p:cNvPr>
          <p:cNvCxnSpPr>
            <a:cxnSpLocks/>
          </p:cNvCxnSpPr>
          <p:nvPr/>
        </p:nvCxnSpPr>
        <p:spPr>
          <a:xfrm flipH="1" flipV="1">
            <a:off x="7531069" y="4072420"/>
            <a:ext cx="2177871" cy="188887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7" name="Straight Arrow Connector 36">
            <a:extLst>
              <a:ext uri="{FF2B5EF4-FFF2-40B4-BE49-F238E27FC236}">
                <a16:creationId xmlns:a16="http://schemas.microsoft.com/office/drawing/2014/main" id="{05D9458F-2075-2F1E-E375-5E9E6AE804E8}"/>
              </a:ext>
            </a:extLst>
          </p:cNvPr>
          <p:cNvCxnSpPr>
            <a:cxnSpLocks/>
          </p:cNvCxnSpPr>
          <p:nvPr/>
        </p:nvCxnSpPr>
        <p:spPr>
          <a:xfrm>
            <a:off x="10442713" y="2380898"/>
            <a:ext cx="180855" cy="60532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7" name="Bilde 6" descr="Et bilde som inneholder tekst, Font, skjermbilde&#10;&#10;Automatisk generert beskrivelse">
            <a:extLst>
              <a:ext uri="{FF2B5EF4-FFF2-40B4-BE49-F238E27FC236}">
                <a16:creationId xmlns:a16="http://schemas.microsoft.com/office/drawing/2014/main" id="{3C857F34-5C13-FCB8-9E11-C086613D8A15}"/>
              </a:ext>
            </a:extLst>
          </p:cNvPr>
          <p:cNvPicPr>
            <a:picLocks noChangeAspect="1"/>
          </p:cNvPicPr>
          <p:nvPr/>
        </p:nvPicPr>
        <p:blipFill>
          <a:blip r:embed="rId9"/>
          <a:stretch>
            <a:fillRect/>
          </a:stretch>
        </p:blipFill>
        <p:spPr>
          <a:xfrm>
            <a:off x="784690" y="4868073"/>
            <a:ext cx="4206176" cy="1131162"/>
          </a:xfrm>
          <a:prstGeom prst="rect">
            <a:avLst/>
          </a:prstGeom>
        </p:spPr>
      </p:pic>
      <p:sp>
        <p:nvSpPr>
          <p:cNvPr id="5" name="Rectangle: Rounded Corners 4">
            <a:extLst>
              <a:ext uri="{FF2B5EF4-FFF2-40B4-BE49-F238E27FC236}">
                <a16:creationId xmlns:a16="http://schemas.microsoft.com/office/drawing/2014/main" id="{A1344406-76D7-8461-A920-DF7E26A1E45A}"/>
              </a:ext>
            </a:extLst>
          </p:cNvPr>
          <p:cNvSpPr/>
          <p:nvPr/>
        </p:nvSpPr>
        <p:spPr>
          <a:xfrm>
            <a:off x="8655137" y="2069343"/>
            <a:ext cx="2050909" cy="31155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8" name="Picture 7" descr="A blue logo with a black background&#10;&#10;Description automatically generated">
            <a:extLst>
              <a:ext uri="{FF2B5EF4-FFF2-40B4-BE49-F238E27FC236}">
                <a16:creationId xmlns:a16="http://schemas.microsoft.com/office/drawing/2014/main" id="{44922C4B-3F35-E08D-3A7A-15A875F9FC7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41289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err="1"/>
              <a:t>TextEdit</a:t>
            </a:r>
            <a:r>
              <a:rPr lang="nb-NO" sz="1400" dirty="0"/>
              <a:t> (</a:t>
            </a:r>
            <a:r>
              <a:rPr lang="nb-NO" sz="1400" dirty="0" err="1"/>
              <a:t>the</a:t>
            </a:r>
            <a:r>
              <a:rPr lang="nb-NO" sz="1400" dirty="0"/>
              <a:t> </a:t>
            </a:r>
            <a:r>
              <a:rPr lang="nb-NO" sz="1400" dirty="0" err="1"/>
              <a:t>default</a:t>
            </a:r>
            <a:r>
              <a:rPr lang="nb-NO" sz="1400" dirty="0"/>
              <a:t> </a:t>
            </a:r>
            <a:r>
              <a:rPr lang="nb-NO" sz="1400" dirty="0" err="1"/>
              <a:t>text</a:t>
            </a:r>
            <a:r>
              <a:rPr lang="nb-NO" sz="1400" dirty="0"/>
              <a:t> editor </a:t>
            </a:r>
            <a:r>
              <a:rPr lang="nb-NO" sz="1400" dirty="0" err="1"/>
              <a:t>on</a:t>
            </a:r>
            <a:r>
              <a:rPr lang="nb-NO" sz="1400" dirty="0"/>
              <a:t> OS </a:t>
            </a:r>
            <a:r>
              <a:rPr lang="nb-NO" sz="1400" dirty="0" err="1"/>
              <a:t>X</a:t>
            </a:r>
            <a:r>
              <a:rPr lang="nb-NO" sz="1400" dirty="0"/>
              <a:t>) </a:t>
            </a:r>
            <a:r>
              <a:rPr lang="nb-NO" sz="1400" dirty="0" err="1"/>
              <a:t>use</a:t>
            </a:r>
            <a:r>
              <a:rPr lang="nb-NO" sz="1400" dirty="0"/>
              <a:t> </a:t>
            </a:r>
            <a:r>
              <a:rPr lang="nb-NO" sz="1400" dirty="0" err="1"/>
              <a:t>rich</a:t>
            </a:r>
            <a:r>
              <a:rPr lang="nb-NO" sz="1400" dirty="0"/>
              <a:t> </a:t>
            </a:r>
            <a:r>
              <a:rPr lang="nb-NO" sz="1400" dirty="0" err="1"/>
              <a:t>text</a:t>
            </a:r>
            <a:r>
              <a:rPr lang="nb-NO" sz="1400" dirty="0"/>
              <a:t> formatting by </a:t>
            </a:r>
            <a:r>
              <a:rPr lang="nb-NO" sz="1400" dirty="0" err="1"/>
              <a:t>default</a:t>
            </a:r>
            <a:r>
              <a:rPr lang="nb-NO" sz="1400" dirty="0"/>
              <a:t>. This is not a </a:t>
            </a:r>
            <a:r>
              <a:rPr lang="nb-NO" sz="1400" dirty="0" err="1"/>
              <a:t>great</a:t>
            </a:r>
            <a:r>
              <a:rPr lang="nb-NO" sz="1400" dirty="0"/>
              <a:t> </a:t>
            </a:r>
            <a:r>
              <a:rPr lang="nb-NO" sz="1400" dirty="0" err="1"/>
              <a:t>idea</a:t>
            </a:r>
            <a:r>
              <a:rPr lang="nb-NO" sz="1400" dirty="0"/>
              <a:t> </a:t>
            </a:r>
            <a:r>
              <a:rPr lang="nb-NO" sz="1400" dirty="0" err="1"/>
              <a:t>when</a:t>
            </a:r>
            <a:r>
              <a:rPr lang="nb-NO" sz="1400" dirty="0"/>
              <a:t> </a:t>
            </a:r>
            <a:r>
              <a:rPr lang="nb-NO" sz="1400" dirty="0" err="1"/>
              <a:t>copy-pasting</a:t>
            </a:r>
            <a:r>
              <a:rPr lang="nb-NO" sz="1400" dirty="0"/>
              <a:t> </a:t>
            </a:r>
            <a:r>
              <a:rPr lang="nb-NO" sz="1400" dirty="0" err="1"/>
              <a:t>stuff</a:t>
            </a:r>
            <a:r>
              <a:rPr lang="nb-NO" sz="1400" dirty="0"/>
              <a:t> to </a:t>
            </a:r>
            <a:r>
              <a:rPr lang="nb-NO" sz="1400" dirty="0" err="1"/>
              <a:t>the</a:t>
            </a:r>
            <a:r>
              <a:rPr lang="nb-NO" sz="1400" dirty="0"/>
              <a:t> </a:t>
            </a:r>
            <a:r>
              <a:rPr lang="nb-NO" sz="1400" dirty="0" err="1"/>
              <a:t>command</a:t>
            </a:r>
            <a:r>
              <a:rPr lang="nb-NO" sz="1400" dirty="0"/>
              <a:t> line, so </a:t>
            </a:r>
            <a:r>
              <a:rPr lang="nb-NO" sz="1400" dirty="0" err="1"/>
              <a:t>there</a:t>
            </a:r>
            <a:r>
              <a:rPr lang="nb-NO" sz="1400" dirty="0"/>
              <a:t> is a </a:t>
            </a:r>
            <a:r>
              <a:rPr lang="nb-NO" sz="1400" dirty="0" err="1"/>
              <a:t>couple</a:t>
            </a:r>
            <a:r>
              <a:rPr lang="nb-NO" sz="1400" dirty="0"/>
              <a:t> </a:t>
            </a:r>
            <a:r>
              <a:rPr lang="nb-NO" sz="1400" dirty="0" err="1"/>
              <a:t>of</a:t>
            </a:r>
            <a:r>
              <a:rPr lang="nb-NO" sz="1400" dirty="0"/>
              <a:t> </a:t>
            </a:r>
            <a:r>
              <a:rPr lang="nb-NO" sz="1400" dirty="0" err="1"/>
              <a:t>things</a:t>
            </a:r>
            <a:r>
              <a:rPr lang="nb-NO" sz="1400" dirty="0"/>
              <a:t> </a:t>
            </a:r>
            <a:r>
              <a:rPr lang="nb-NO" sz="1400" dirty="0" err="1"/>
              <a:t>you</a:t>
            </a:r>
            <a:r>
              <a:rPr lang="nb-NO" sz="1400" dirty="0"/>
              <a:t> must </a:t>
            </a:r>
            <a:r>
              <a:rPr lang="nb-NO" sz="1400" dirty="0" err="1"/>
              <a:t>keep</a:t>
            </a:r>
            <a:r>
              <a:rPr lang="nb-NO" sz="1400" dirty="0"/>
              <a:t> in </a:t>
            </a:r>
            <a:r>
              <a:rPr lang="nb-NO" sz="1400" dirty="0" err="1"/>
              <a:t>mind</a:t>
            </a:r>
            <a:endParaRPr lang="nb-NO" sz="1200" dirty="0"/>
          </a:p>
          <a:p>
            <a:pPr lvl="1">
              <a:lnSpc>
                <a:spcPct val="110000"/>
              </a:lnSpc>
            </a:pPr>
            <a:r>
              <a:rPr lang="nb-NO" sz="1200" dirty="0"/>
              <a:t>If </a:t>
            </a:r>
            <a:r>
              <a:rPr lang="nb-NO" sz="1200" dirty="0" err="1"/>
              <a:t>you</a:t>
            </a:r>
            <a:r>
              <a:rPr lang="nb-NO" sz="1200" dirty="0"/>
              <a:t> </a:t>
            </a:r>
            <a:r>
              <a:rPr lang="nb-NO" sz="1200" dirty="0" err="1"/>
              <a:t>want</a:t>
            </a:r>
            <a:r>
              <a:rPr lang="nb-NO" sz="1200" dirty="0"/>
              <a:t>, </a:t>
            </a:r>
            <a:r>
              <a:rPr lang="nb-NO" sz="1200" dirty="0" err="1"/>
              <a:t>you</a:t>
            </a:r>
            <a:r>
              <a:rPr lang="nb-NO" sz="1200" dirty="0"/>
              <a:t> </a:t>
            </a:r>
            <a:r>
              <a:rPr lang="nb-NO" sz="1200" dirty="0" err="1"/>
              <a:t>can</a:t>
            </a:r>
            <a:r>
              <a:rPr lang="nb-NO" sz="1200" dirty="0"/>
              <a:t> </a:t>
            </a:r>
            <a:r>
              <a:rPr lang="nb-NO" sz="1200" dirty="0" err="1"/>
              <a:t>change</a:t>
            </a:r>
            <a:r>
              <a:rPr lang="nb-NO" sz="1200" dirty="0"/>
              <a:t> a setting in </a:t>
            </a:r>
            <a:r>
              <a:rPr lang="nb-NO" sz="1200" dirty="0" err="1"/>
              <a:t>TextEdit</a:t>
            </a:r>
            <a:r>
              <a:rPr lang="nb-NO" sz="1200" dirty="0"/>
              <a:t> to make all </a:t>
            </a:r>
            <a:r>
              <a:rPr lang="nb-NO" sz="1200" dirty="0" err="1"/>
              <a:t>new</a:t>
            </a:r>
            <a:r>
              <a:rPr lang="nb-NO" sz="1200" dirty="0"/>
              <a:t> </a:t>
            </a:r>
            <a:r>
              <a:rPr lang="nb-NO" sz="1200" dirty="0" err="1"/>
              <a:t>documents</a:t>
            </a:r>
            <a:r>
              <a:rPr lang="nb-NO" sz="1200" dirty="0"/>
              <a:t> </a:t>
            </a:r>
            <a:r>
              <a:rPr lang="nb-NO" sz="1200" dirty="0" err="1"/>
              <a:t>plain</a:t>
            </a:r>
            <a:r>
              <a:rPr lang="nb-NO" sz="1200" dirty="0"/>
              <a:t> </a:t>
            </a:r>
            <a:r>
              <a:rPr lang="nb-NO" sz="1200" dirty="0" err="1"/>
              <a:t>text</a:t>
            </a:r>
            <a:endParaRPr lang="nb-NO" sz="1200" dirty="0"/>
          </a:p>
          <a:p>
            <a:pPr lvl="1">
              <a:lnSpc>
                <a:spcPct val="110000"/>
              </a:lnSpc>
            </a:pPr>
            <a:r>
              <a:rPr lang="nb-NO" sz="1200" dirty="0"/>
              <a:t>To </a:t>
            </a:r>
            <a:r>
              <a:rPr lang="nb-NO" sz="1200" dirty="0" err="1"/>
              <a:t>change</a:t>
            </a:r>
            <a:r>
              <a:rPr lang="nb-NO" sz="1200" dirty="0"/>
              <a:t> </a:t>
            </a:r>
            <a:r>
              <a:rPr lang="nb-NO" sz="1200" dirty="0" err="1"/>
              <a:t>the</a:t>
            </a:r>
            <a:r>
              <a:rPr lang="nb-NO" sz="1200" dirty="0"/>
              <a:t> </a:t>
            </a:r>
            <a:r>
              <a:rPr lang="nb-NO" sz="1200" dirty="0" err="1"/>
              <a:t>current</a:t>
            </a:r>
            <a:r>
              <a:rPr lang="nb-NO" sz="1200" dirty="0"/>
              <a:t> </a:t>
            </a:r>
            <a:r>
              <a:rPr lang="nb-NO" sz="1200" dirty="0" err="1"/>
              <a:t>document</a:t>
            </a:r>
            <a:r>
              <a:rPr lang="nb-NO" sz="1200" dirty="0"/>
              <a:t> to </a:t>
            </a:r>
            <a:r>
              <a:rPr lang="nb-NO" sz="1200" dirty="0" err="1"/>
              <a:t>plain</a:t>
            </a:r>
            <a:r>
              <a:rPr lang="nb-NO" sz="1200" dirty="0"/>
              <a:t> </a:t>
            </a:r>
            <a:r>
              <a:rPr lang="nb-NO" sz="1200" dirty="0" err="1"/>
              <a:t>text</a:t>
            </a:r>
            <a:r>
              <a:rPr lang="nb-NO" sz="1200" dirty="0"/>
              <a:t> </a:t>
            </a:r>
            <a:r>
              <a:rPr lang="nb-NO" sz="1200" dirty="0" err="1"/>
              <a:t>go</a:t>
            </a:r>
            <a:r>
              <a:rPr lang="nb-NO" sz="1200" dirty="0"/>
              <a:t> to Format -&gt; Make </a:t>
            </a:r>
            <a:r>
              <a:rPr lang="nb-NO" sz="1200" dirty="0" err="1"/>
              <a:t>Plain</a:t>
            </a:r>
            <a:r>
              <a:rPr lang="nb-NO" sz="1200" dirty="0"/>
              <a:t> </a:t>
            </a:r>
            <a:r>
              <a:rPr lang="nb-NO" sz="1200" dirty="0" err="1"/>
              <a:t>Text</a:t>
            </a:r>
            <a:endParaRPr lang="nb-NO" sz="1200" dirty="0"/>
          </a:p>
          <a:p>
            <a:pPr lvl="1">
              <a:lnSpc>
                <a:spcPct val="110000"/>
              </a:lnSpc>
            </a:pPr>
            <a:r>
              <a:rPr lang="nb-NO" sz="1200" dirty="0" err="1"/>
              <a:t>Shortcut</a:t>
            </a:r>
            <a:r>
              <a:rPr lang="nb-NO" sz="1200" dirty="0"/>
              <a:t> is: </a:t>
            </a:r>
            <a:r>
              <a:rPr lang="nb-NO" sz="1200" dirty="0" err="1"/>
              <a:t>Shift</a:t>
            </a:r>
            <a:r>
              <a:rPr lang="nb-NO" sz="1200" dirty="0"/>
              <a:t>-</a:t>
            </a:r>
            <a:r>
              <a:rPr lang="nb-NO" sz="1200" dirty="0" err="1"/>
              <a:t>Cmd</a:t>
            </a:r>
            <a:r>
              <a:rPr lang="nb-NO" sz="1200" dirty="0"/>
              <a:t>-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a:t>
            </a:r>
            <a:r>
              <a:rPr lang="en-GB"/>
              <a:t>users - </a:t>
            </a:r>
            <a:r>
              <a:rPr lang="en-GB" dirty="0"/>
              <a:t>TextEdi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cxnSp>
        <p:nvCxnSpPr>
          <p:cNvPr id="2" name="Straight Arrow Connector 1">
            <a:extLst>
              <a:ext uri="{FF2B5EF4-FFF2-40B4-BE49-F238E27FC236}">
                <a16:creationId xmlns:a16="http://schemas.microsoft.com/office/drawing/2014/main" id="{32FF519D-955A-0C51-73C7-4310F1698E14}"/>
              </a:ext>
            </a:extLst>
          </p:cNvPr>
          <p:cNvCxnSpPr>
            <a:cxnSpLocks/>
            <a:endCxn id="7" idx="1"/>
          </p:cNvCxnSpPr>
          <p:nvPr/>
        </p:nvCxnSpPr>
        <p:spPr>
          <a:xfrm flipV="1">
            <a:off x="8064500" y="1565869"/>
            <a:ext cx="1452002" cy="5234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999A8046-21F7-D521-71A5-D4887D83551D}"/>
              </a:ext>
            </a:extLst>
          </p:cNvPr>
          <p:cNvPicPr>
            <a:picLocks noChangeAspect="1"/>
          </p:cNvPicPr>
          <p:nvPr/>
        </p:nvPicPr>
        <p:blipFill>
          <a:blip r:embed="rId3"/>
          <a:stretch>
            <a:fillRect/>
          </a:stretch>
        </p:blipFill>
        <p:spPr>
          <a:xfrm>
            <a:off x="9516502" y="1083752"/>
            <a:ext cx="2048996" cy="964233"/>
          </a:xfrm>
          <a:prstGeom prst="rect">
            <a:avLst/>
          </a:prstGeom>
        </p:spPr>
      </p:pic>
      <p:pic>
        <p:nvPicPr>
          <p:cNvPr id="12" name="Picture 11">
            <a:extLst>
              <a:ext uri="{FF2B5EF4-FFF2-40B4-BE49-F238E27FC236}">
                <a16:creationId xmlns:a16="http://schemas.microsoft.com/office/drawing/2014/main" id="{90BDCBFC-BE20-06E5-95D4-14777FDEA94E}"/>
              </a:ext>
            </a:extLst>
          </p:cNvPr>
          <p:cNvPicPr>
            <a:picLocks noChangeAspect="1"/>
          </p:cNvPicPr>
          <p:nvPr/>
        </p:nvPicPr>
        <p:blipFill rotWithShape="1">
          <a:blip r:embed="rId4"/>
          <a:srcRect t="3213"/>
          <a:stretch/>
        </p:blipFill>
        <p:spPr>
          <a:xfrm>
            <a:off x="9516502" y="2549372"/>
            <a:ext cx="1790950" cy="931242"/>
          </a:xfrm>
          <a:prstGeom prst="rect">
            <a:avLst/>
          </a:prstGeom>
        </p:spPr>
      </p:pic>
      <p:sp>
        <p:nvSpPr>
          <p:cNvPr id="13" name="Rectangle: Rounded Corners 12">
            <a:extLst>
              <a:ext uri="{FF2B5EF4-FFF2-40B4-BE49-F238E27FC236}">
                <a16:creationId xmlns:a16="http://schemas.microsoft.com/office/drawing/2014/main" id="{0AF04EBB-F352-44B9-63F2-FC70AE989A6E}"/>
              </a:ext>
            </a:extLst>
          </p:cNvPr>
          <p:cNvSpPr/>
          <p:nvPr/>
        </p:nvSpPr>
        <p:spPr>
          <a:xfrm>
            <a:off x="9598598" y="3150530"/>
            <a:ext cx="17088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5" name="Straight Arrow Connector 14">
            <a:extLst>
              <a:ext uri="{FF2B5EF4-FFF2-40B4-BE49-F238E27FC236}">
                <a16:creationId xmlns:a16="http://schemas.microsoft.com/office/drawing/2014/main" id="{FC415533-68C1-2A75-0CD9-87540DD1850C}"/>
              </a:ext>
            </a:extLst>
          </p:cNvPr>
          <p:cNvCxnSpPr>
            <a:cxnSpLocks/>
          </p:cNvCxnSpPr>
          <p:nvPr/>
        </p:nvCxnSpPr>
        <p:spPr>
          <a:xfrm>
            <a:off x="7353300" y="2471024"/>
            <a:ext cx="2245298" cy="6795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659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50D8B4F-01CE-6B65-10C2-766144B7E7A7}"/>
              </a:ext>
            </a:extLst>
          </p:cNvPr>
          <p:cNvSpPr txBox="1"/>
          <p:nvPr/>
        </p:nvSpPr>
        <p:spPr>
          <a:xfrm>
            <a:off x="206381" y="1032584"/>
            <a:ext cx="7536201" cy="923330"/>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InfluxDB</a:t>
            </a:r>
            <a:r>
              <a:rPr lang="nb-NO"/>
              <a:t> &gt; </a:t>
            </a:r>
            <a:r>
              <a:rPr lang="nb-NO" err="1"/>
              <a:t>About</a:t>
            </a: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Note </a:t>
            </a:r>
            <a:r>
              <a:rPr lang="nb-NO" err="1"/>
              <a:t>this</a:t>
            </a:r>
            <a:r>
              <a:rPr lang="nb-NO"/>
              <a:t> </a:t>
            </a:r>
            <a:r>
              <a:rPr lang="nb-NO" err="1"/>
              <a:t>down</a:t>
            </a:r>
            <a:r>
              <a:rPr lang="nb-NO"/>
              <a:t> in </a:t>
            </a:r>
            <a:r>
              <a:rPr lang="nb-NO" err="1"/>
              <a:t>the</a:t>
            </a:r>
            <a:r>
              <a:rPr lang="nb-NO"/>
              <a:t> Lab10_notes.txt fil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ocate your Organization ID</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pic>
        <p:nvPicPr>
          <p:cNvPr id="11" name="Picture 10">
            <a:extLst>
              <a:ext uri="{FF2B5EF4-FFF2-40B4-BE49-F238E27FC236}">
                <a16:creationId xmlns:a16="http://schemas.microsoft.com/office/drawing/2014/main" id="{0B14112B-EDAE-2CD4-8AA2-79B84C6E7376}"/>
              </a:ext>
            </a:extLst>
          </p:cNvPr>
          <p:cNvPicPr>
            <a:picLocks noChangeAspect="1"/>
          </p:cNvPicPr>
          <p:nvPr/>
        </p:nvPicPr>
        <p:blipFill>
          <a:blip r:embed="rId3"/>
          <a:stretch>
            <a:fillRect/>
          </a:stretch>
        </p:blipFill>
        <p:spPr>
          <a:xfrm>
            <a:off x="7677533" y="979132"/>
            <a:ext cx="4059195" cy="4899735"/>
          </a:xfrm>
          <a:prstGeom prst="rect">
            <a:avLst/>
          </a:prstGeom>
        </p:spPr>
      </p:pic>
      <p:cxnSp>
        <p:nvCxnSpPr>
          <p:cNvPr id="14" name="Straight Arrow Connector 13">
            <a:extLst>
              <a:ext uri="{FF2B5EF4-FFF2-40B4-BE49-F238E27FC236}">
                <a16:creationId xmlns:a16="http://schemas.microsoft.com/office/drawing/2014/main" id="{FD37C567-66E8-B223-3CDF-32ACDFB03A55}"/>
              </a:ext>
            </a:extLst>
          </p:cNvPr>
          <p:cNvCxnSpPr>
            <a:cxnSpLocks/>
          </p:cNvCxnSpPr>
          <p:nvPr/>
        </p:nvCxnSpPr>
        <p:spPr>
          <a:xfrm>
            <a:off x="2650435" y="1225826"/>
            <a:ext cx="5027098" cy="38431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6" name="Straight Arrow Connector 5">
            <a:extLst>
              <a:ext uri="{FF2B5EF4-FFF2-40B4-BE49-F238E27FC236}">
                <a16:creationId xmlns:a16="http://schemas.microsoft.com/office/drawing/2014/main" id="{2E46FD96-C660-230A-8076-0696B2B42884}"/>
              </a:ext>
            </a:extLst>
          </p:cNvPr>
          <p:cNvCxnSpPr>
            <a:cxnSpLocks/>
          </p:cNvCxnSpPr>
          <p:nvPr/>
        </p:nvCxnSpPr>
        <p:spPr>
          <a:xfrm>
            <a:off x="7991061" y="1656522"/>
            <a:ext cx="417443" cy="19878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0" name="Straight Arrow Connector 9">
            <a:extLst>
              <a:ext uri="{FF2B5EF4-FFF2-40B4-BE49-F238E27FC236}">
                <a16:creationId xmlns:a16="http://schemas.microsoft.com/office/drawing/2014/main" id="{98103196-E228-8A19-CCE9-B4FA85618A8C}"/>
              </a:ext>
            </a:extLst>
          </p:cNvPr>
          <p:cNvCxnSpPr>
            <a:cxnSpLocks/>
          </p:cNvCxnSpPr>
          <p:nvPr/>
        </p:nvCxnSpPr>
        <p:spPr>
          <a:xfrm flipH="1">
            <a:off x="9044609" y="2054087"/>
            <a:ext cx="132521" cy="320702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Bilde 8" descr="Et bilde som inneholder tekst, Font, skjermbilde&#10;&#10;Automatisk generert beskrivelse">
            <a:extLst>
              <a:ext uri="{FF2B5EF4-FFF2-40B4-BE49-F238E27FC236}">
                <a16:creationId xmlns:a16="http://schemas.microsoft.com/office/drawing/2014/main" id="{DBC95805-6453-63FC-BAB1-9A90A74BBBA1}"/>
              </a:ext>
            </a:extLst>
          </p:cNvPr>
          <p:cNvPicPr>
            <a:picLocks noChangeAspect="1"/>
          </p:cNvPicPr>
          <p:nvPr/>
        </p:nvPicPr>
        <p:blipFill>
          <a:blip r:embed="rId4"/>
          <a:stretch>
            <a:fillRect/>
          </a:stretch>
        </p:blipFill>
        <p:spPr>
          <a:xfrm>
            <a:off x="537514" y="1954265"/>
            <a:ext cx="4989428" cy="1495425"/>
          </a:xfrm>
          <a:prstGeom prst="rect">
            <a:avLst/>
          </a:prstGeom>
        </p:spPr>
      </p:pic>
      <p:cxnSp>
        <p:nvCxnSpPr>
          <p:cNvPr id="17" name="Straight Arrow Connector 16">
            <a:extLst>
              <a:ext uri="{FF2B5EF4-FFF2-40B4-BE49-F238E27FC236}">
                <a16:creationId xmlns:a16="http://schemas.microsoft.com/office/drawing/2014/main" id="{F5CD7132-256F-45DA-0B2E-727B8C9EF22E}"/>
              </a:ext>
            </a:extLst>
          </p:cNvPr>
          <p:cNvCxnSpPr>
            <a:cxnSpLocks/>
          </p:cNvCxnSpPr>
          <p:nvPr/>
        </p:nvCxnSpPr>
        <p:spPr>
          <a:xfrm flipH="1" flipV="1">
            <a:off x="3731219" y="3127966"/>
            <a:ext cx="4614001" cy="217902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Picture 2" descr="A blue logo with a black background&#10;&#10;Description automatically generated">
            <a:extLst>
              <a:ext uri="{FF2B5EF4-FFF2-40B4-BE49-F238E27FC236}">
                <a16:creationId xmlns:a16="http://schemas.microsoft.com/office/drawing/2014/main" id="{291AB399-12D2-9817-4132-625A0130244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40545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Locate your </a:t>
            </a:r>
            <a:r>
              <a:rPr lang="en-GB" err="1"/>
              <a:t>InfluxDB</a:t>
            </a:r>
            <a:r>
              <a:rPr lang="en-GB"/>
              <a:t> Docker container ID</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sp>
        <p:nvSpPr>
          <p:cNvPr id="5" name="TextBox 4">
            <a:extLst>
              <a:ext uri="{FF2B5EF4-FFF2-40B4-BE49-F238E27FC236}">
                <a16:creationId xmlns:a16="http://schemas.microsoft.com/office/drawing/2014/main" id="{8C308093-F362-D64F-12C8-14918A6EDC64}"/>
              </a:ext>
            </a:extLst>
          </p:cNvPr>
          <p:cNvSpPr txBox="1"/>
          <p:nvPr/>
        </p:nvSpPr>
        <p:spPr>
          <a:xfrm>
            <a:off x="540000" y="1407575"/>
            <a:ext cx="10553932" cy="79348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 docker </a:t>
            </a:r>
            <a:r>
              <a:rPr lang="fr-FR" sz="1050" dirty="0" err="1">
                <a:solidFill>
                  <a:srgbClr val="EEE8D5"/>
                </a:solidFill>
                <a:latin typeface="Consolas" panose="020B0609020204030204" pitchFamily="49" charset="0"/>
              </a:rPr>
              <a:t>ps</a:t>
            </a:r>
            <a:r>
              <a:rPr lang="fr-FR" sz="1050" dirty="0">
                <a:solidFill>
                  <a:srgbClr val="EEE8D5"/>
                </a:solidFill>
                <a:latin typeface="Consolas" panose="020B0609020204030204" pitchFamily="49" charset="0"/>
              </a:rPr>
              <a:t> -a --</a:t>
            </a:r>
            <a:r>
              <a:rPr lang="fr-FR" sz="1050" dirty="0" err="1">
                <a:solidFill>
                  <a:srgbClr val="EEE8D5"/>
                </a:solidFill>
                <a:latin typeface="Consolas" panose="020B0609020204030204" pitchFamily="49" charset="0"/>
              </a:rPr>
              <a:t>filter</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name</a:t>
            </a:r>
            <a:r>
              <a:rPr lang="fr-FR" sz="1050" dirty="0">
                <a:solidFill>
                  <a:srgbClr val="EEE8D5"/>
                </a:solidFill>
                <a:latin typeface="Consolas" panose="020B0609020204030204" pitchFamily="49" charset="0"/>
              </a:rPr>
              <a:t>=</a:t>
            </a:r>
            <a:r>
              <a:rPr lang="fr-FR" sz="1050" dirty="0" err="1">
                <a:solidFill>
                  <a:srgbClr val="EEE8D5"/>
                </a:solidFill>
                <a:latin typeface="Consolas" panose="020B0609020204030204" pitchFamily="49" charset="0"/>
              </a:rPr>
              <a:t>influxdb</a:t>
            </a:r>
            <a:endParaRPr lang="fr-FR" sz="1050" dirty="0">
              <a:solidFill>
                <a:srgbClr val="EEE8D5"/>
              </a:solidFill>
              <a:latin typeface="Consolas" panose="020B0609020204030204" pitchFamily="49" charset="0"/>
            </a:endParaRPr>
          </a:p>
          <a:p>
            <a:pPr lvl="1"/>
            <a:r>
              <a:rPr lang="fr-FR" sz="1050" dirty="0">
                <a:solidFill>
                  <a:srgbClr val="EEE8D5"/>
                </a:solidFill>
                <a:latin typeface="Consolas" panose="020B0609020204030204" pitchFamily="49" charset="0"/>
              </a:rPr>
              <a:t>CONTAINER ID   IMAGE             COMMAND                  </a:t>
            </a:r>
            <a:r>
              <a:rPr lang="fr-FR" sz="1050" dirty="0" err="1">
                <a:solidFill>
                  <a:srgbClr val="EEE8D5"/>
                </a:solidFill>
                <a:latin typeface="Consolas" panose="020B0609020204030204" pitchFamily="49" charset="0"/>
              </a:rPr>
              <a:t>CREATED</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STATUS</a:t>
            </a:r>
            <a:r>
              <a:rPr lang="fr-FR" sz="1050" dirty="0">
                <a:solidFill>
                  <a:srgbClr val="EEE8D5"/>
                </a:solidFill>
                <a:latin typeface="Consolas" panose="020B0609020204030204" pitchFamily="49" charset="0"/>
              </a:rPr>
              <a:t>         PORTS                                       </a:t>
            </a:r>
            <a:r>
              <a:rPr lang="fr-FR" sz="1050" dirty="0" err="1">
                <a:solidFill>
                  <a:srgbClr val="EEE8D5"/>
                </a:solidFill>
                <a:latin typeface="Consolas" panose="020B0609020204030204" pitchFamily="49" charset="0"/>
              </a:rPr>
              <a:t>NAMES</a:t>
            </a:r>
            <a:endParaRPr lang="fr-FR" sz="1050" dirty="0">
              <a:solidFill>
                <a:srgbClr val="EEE8D5"/>
              </a:solidFill>
              <a:latin typeface="Consolas" panose="020B0609020204030204" pitchFamily="49" charset="0"/>
            </a:endParaRPr>
          </a:p>
          <a:p>
            <a:pPr lvl="1"/>
            <a:r>
              <a:rPr lang="fr-FR" sz="1050" dirty="0" err="1">
                <a:solidFill>
                  <a:srgbClr val="EEE8D5"/>
                </a:solidFill>
                <a:latin typeface="Consolas" panose="020B0609020204030204" pitchFamily="49" charset="0"/>
              </a:rPr>
              <a:t>71b07ba58958</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2.7.10</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entrypoint.sh</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a:t>
            </a:r>
            <a:r>
              <a:rPr lang="fr-FR" sz="1050" dirty="0">
                <a:solidFill>
                  <a:srgbClr val="EEE8D5"/>
                </a:solidFill>
                <a:latin typeface="Consolas" panose="020B0609020204030204" pitchFamily="49" charset="0"/>
              </a:rPr>
              <a:t>…"   2 minutes </a:t>
            </a:r>
            <a:r>
              <a:rPr lang="fr-FR" sz="1050" dirty="0" err="1">
                <a:solidFill>
                  <a:srgbClr val="EEE8D5"/>
                </a:solidFill>
                <a:latin typeface="Consolas" panose="020B0609020204030204" pitchFamily="49" charset="0"/>
              </a:rPr>
              <a:t>ago</a:t>
            </a:r>
            <a:r>
              <a:rPr lang="fr-FR" sz="1050" dirty="0">
                <a:solidFill>
                  <a:srgbClr val="EEE8D5"/>
                </a:solidFill>
                <a:latin typeface="Consolas" panose="020B0609020204030204" pitchFamily="49" charset="0"/>
              </a:rPr>
              <a:t>   Up 2 minutes   0.0.0.0:8086-&gt;8086/</a:t>
            </a:r>
            <a:r>
              <a:rPr lang="fr-FR" sz="1050" dirty="0" err="1">
                <a:solidFill>
                  <a:srgbClr val="EEE8D5"/>
                </a:solidFill>
                <a:latin typeface="Consolas" panose="020B0609020204030204" pitchFamily="49" charset="0"/>
              </a:rPr>
              <a:t>tcp</a:t>
            </a:r>
            <a:r>
              <a:rPr lang="fr-FR" sz="1050" dirty="0">
                <a:solidFill>
                  <a:srgbClr val="EEE8D5"/>
                </a:solidFill>
                <a:latin typeface="Consolas" panose="020B0609020204030204" pitchFamily="49" charset="0"/>
              </a:rPr>
              <a:t>, :::8086-&gt;8086/</a:t>
            </a:r>
            <a:r>
              <a:rPr lang="fr-FR" sz="1050" dirty="0" err="1">
                <a:solidFill>
                  <a:srgbClr val="EEE8D5"/>
                </a:solidFill>
                <a:latin typeface="Consolas" panose="020B0609020204030204" pitchFamily="49" charset="0"/>
              </a:rPr>
              <a:t>tcp</a:t>
            </a:r>
            <a:r>
              <a:rPr lang="fr-FR" sz="1050" dirty="0">
                <a:solidFill>
                  <a:srgbClr val="EEE8D5"/>
                </a:solidFill>
                <a:latin typeface="Consolas" panose="020B0609020204030204" pitchFamily="49" charset="0"/>
              </a:rPr>
              <a:t>   </a:t>
            </a:r>
            <a:r>
              <a:rPr lang="fr-FR" sz="1050" dirty="0" err="1">
                <a:solidFill>
                  <a:srgbClr val="EEE8D5"/>
                </a:solidFill>
                <a:latin typeface="Consolas" panose="020B0609020204030204" pitchFamily="49" charset="0"/>
              </a:rPr>
              <a:t>influxdb</a:t>
            </a:r>
            <a:endParaRPr lang="fr-FR" sz="1050" dirty="0">
              <a:solidFill>
                <a:srgbClr val="EEE8D5"/>
              </a:solidFill>
              <a:latin typeface="Consolas" panose="020B0609020204030204" pitchFamily="49" charset="0"/>
            </a:endParaRPr>
          </a:p>
          <a:p>
            <a:pPr lvl="1"/>
            <a:r>
              <a:rPr lang="fr-FR" sz="1050" dirty="0" err="1">
                <a:solidFill>
                  <a:srgbClr val="6D6D6D"/>
                </a:solidFill>
              </a:rPr>
              <a:t>devnet-adm@ubuntu-devnet</a:t>
            </a:r>
            <a:r>
              <a:rPr lang="fr-FR" sz="1050" dirty="0">
                <a:solidFill>
                  <a:srgbClr val="6D6D6D"/>
                </a:solidFill>
              </a:rPr>
              <a:t>:</a:t>
            </a:r>
            <a:r>
              <a:rPr lang="fr-FR" sz="1050" dirty="0">
                <a:solidFill>
                  <a:srgbClr val="8C8C8C"/>
                </a:solidFill>
                <a:latin typeface="Consolas" panose="020B0609020204030204" pitchFamily="49" charset="0"/>
              </a:rPr>
              <a:t>~/</a:t>
            </a:r>
            <a:r>
              <a:rPr lang="fr-FR" sz="1050" dirty="0" err="1">
                <a:solidFill>
                  <a:srgbClr val="8C8C8C"/>
                </a:solidFill>
                <a:latin typeface="Consolas" panose="020B0609020204030204" pitchFamily="49" charset="0"/>
              </a:rPr>
              <a:t>tig</a:t>
            </a:r>
            <a:r>
              <a:rPr lang="fr-FR" sz="1050" dirty="0">
                <a:solidFill>
                  <a:srgbClr val="8C8C8C"/>
                </a:solidFill>
                <a:latin typeface="Consolas" panose="020B0609020204030204" pitchFamily="49" charset="0"/>
              </a:rPr>
              <a:t>-stack</a:t>
            </a:r>
            <a:r>
              <a:rPr lang="fr-FR" sz="1050" dirty="0">
                <a:solidFill>
                  <a:srgbClr val="EEE8D5"/>
                </a:solidFill>
                <a:latin typeface="Consolas" panose="020B0609020204030204" pitchFamily="49" charset="0"/>
              </a:rPr>
              <a:t>$</a:t>
            </a:r>
          </a:p>
        </p:txBody>
      </p:sp>
      <p:sp>
        <p:nvSpPr>
          <p:cNvPr id="6" name="Rectangle: Rounded Corners 5">
            <a:extLst>
              <a:ext uri="{FF2B5EF4-FFF2-40B4-BE49-F238E27FC236}">
                <a16:creationId xmlns:a16="http://schemas.microsoft.com/office/drawing/2014/main" id="{583AD5EB-40B5-661E-3BC2-C961D02E52BD}"/>
              </a:ext>
            </a:extLst>
          </p:cNvPr>
          <p:cNvSpPr/>
          <p:nvPr/>
        </p:nvSpPr>
        <p:spPr>
          <a:xfrm>
            <a:off x="600698" y="1804318"/>
            <a:ext cx="991565" cy="1749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8" name="TextBox 7">
            <a:extLst>
              <a:ext uri="{FF2B5EF4-FFF2-40B4-BE49-F238E27FC236}">
                <a16:creationId xmlns:a16="http://schemas.microsoft.com/office/drawing/2014/main" id="{EC34F5A6-39AC-B8EA-D57A-97BF293B4CD3}"/>
              </a:ext>
            </a:extLst>
          </p:cNvPr>
          <p:cNvSpPr txBox="1"/>
          <p:nvPr/>
        </p:nvSpPr>
        <p:spPr>
          <a:xfrm>
            <a:off x="274018" y="1025401"/>
            <a:ext cx="5611324" cy="369332"/>
          </a:xfrm>
          <a:prstGeom prst="rect">
            <a:avLst/>
          </a:prstGeom>
          <a:noFill/>
        </p:spPr>
        <p:txBody>
          <a:bodyPr wrap="square">
            <a:spAutoFit/>
          </a:bodyPr>
          <a:lstStyle/>
          <a:p>
            <a:pPr marL="285750" indent="-285750">
              <a:buFont typeface="Arial" panose="020B0604020202020204" pitchFamily="34" charset="0"/>
              <a:buChar char="•"/>
            </a:pPr>
            <a:r>
              <a:rPr lang="nb-NO"/>
              <a:t>Note </a:t>
            </a:r>
            <a:r>
              <a:rPr lang="nb-NO" err="1"/>
              <a:t>this</a:t>
            </a:r>
            <a:r>
              <a:rPr lang="nb-NO"/>
              <a:t> </a:t>
            </a:r>
            <a:r>
              <a:rPr lang="nb-NO" err="1"/>
              <a:t>down</a:t>
            </a:r>
            <a:r>
              <a:rPr lang="nb-NO"/>
              <a:t> in </a:t>
            </a:r>
            <a:r>
              <a:rPr lang="nb-NO" err="1"/>
              <a:t>the</a:t>
            </a:r>
            <a:r>
              <a:rPr lang="nb-NO"/>
              <a:t> </a:t>
            </a:r>
            <a:r>
              <a:rPr lang="nb-NO" err="1"/>
              <a:t>Lab10_notes.txt</a:t>
            </a:r>
            <a:r>
              <a:rPr lang="nb-NO"/>
              <a:t> file</a:t>
            </a:r>
          </a:p>
        </p:txBody>
      </p:sp>
      <p:sp>
        <p:nvSpPr>
          <p:cNvPr id="12" name="TextBox 11">
            <a:extLst>
              <a:ext uri="{FF2B5EF4-FFF2-40B4-BE49-F238E27FC236}">
                <a16:creationId xmlns:a16="http://schemas.microsoft.com/office/drawing/2014/main" id="{31139563-055D-5988-9126-2A188F225214}"/>
              </a:ext>
            </a:extLst>
          </p:cNvPr>
          <p:cNvSpPr txBox="1"/>
          <p:nvPr/>
        </p:nvSpPr>
        <p:spPr>
          <a:xfrm>
            <a:off x="231335" y="4262939"/>
            <a:ext cx="5722300" cy="1569660"/>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sz="1600" dirty="0"/>
              <a:t>In </a:t>
            </a:r>
            <a:r>
              <a:rPr lang="nb-NO" sz="1600" dirty="0" err="1"/>
              <a:t>the</a:t>
            </a:r>
            <a:r>
              <a:rPr lang="nb-NO" sz="1600" dirty="0"/>
              <a:t> notes, </a:t>
            </a:r>
            <a:r>
              <a:rPr lang="nb-NO" sz="1600" dirty="0" err="1"/>
              <a:t>you</a:t>
            </a:r>
            <a:r>
              <a:rPr lang="nb-NO" sz="1600" dirty="0"/>
              <a:t> </a:t>
            </a:r>
            <a:r>
              <a:rPr lang="nb-NO" sz="1600" dirty="0" err="1"/>
              <a:t>will</a:t>
            </a:r>
            <a:r>
              <a:rPr lang="nb-NO" sz="1600" dirty="0"/>
              <a:t> </a:t>
            </a:r>
            <a:r>
              <a:rPr lang="nb-NO" sz="1600" dirty="0" err="1"/>
              <a:t>then</a:t>
            </a:r>
            <a:r>
              <a:rPr lang="nb-NO" sz="1600" dirty="0"/>
              <a:t> have</a:t>
            </a:r>
          </a:p>
          <a:p>
            <a:pPr marL="742950" lvl="1" indent="-285750">
              <a:buFont typeface="Arial" panose="020B0604020202020204" pitchFamily="34" charset="0"/>
              <a:buChar char="•"/>
            </a:pPr>
            <a:r>
              <a:rPr lang="nb-NO" sz="1600" dirty="0" err="1"/>
              <a:t>Admin</a:t>
            </a:r>
            <a:r>
              <a:rPr lang="nb-NO" sz="1600" dirty="0"/>
              <a:t> token</a:t>
            </a:r>
          </a:p>
          <a:p>
            <a:pPr marL="742950" lvl="1" indent="-285750">
              <a:buFont typeface="Arial" panose="020B0604020202020204" pitchFamily="34" charset="0"/>
              <a:buChar char="•"/>
            </a:pPr>
            <a:r>
              <a:rPr lang="nb-NO" sz="1600" dirty="0" err="1"/>
              <a:t>Grafana</a:t>
            </a:r>
            <a:r>
              <a:rPr lang="nb-NO" sz="1600" dirty="0"/>
              <a:t> token</a:t>
            </a:r>
          </a:p>
          <a:p>
            <a:pPr marL="742950" lvl="1" indent="-285750">
              <a:buFont typeface="Arial" panose="020B0604020202020204" pitchFamily="34" charset="0"/>
              <a:buChar char="•"/>
            </a:pPr>
            <a:r>
              <a:rPr lang="nb-NO" sz="1600" dirty="0"/>
              <a:t>Telegraf token (</a:t>
            </a:r>
            <a:r>
              <a:rPr lang="nb-NO" sz="1600" dirty="0" err="1"/>
              <a:t>optional</a:t>
            </a:r>
            <a:r>
              <a:rPr lang="nb-NO" sz="1600" dirty="0"/>
              <a:t>)</a:t>
            </a:r>
          </a:p>
          <a:p>
            <a:pPr marL="742950" lvl="1" indent="-285750">
              <a:buFont typeface="Arial" panose="020B0604020202020204" pitchFamily="34" charset="0"/>
              <a:buChar char="•"/>
            </a:pPr>
            <a:r>
              <a:rPr lang="nb-NO" sz="1600" dirty="0"/>
              <a:t>Org ID</a:t>
            </a:r>
          </a:p>
          <a:p>
            <a:pPr marL="742950" lvl="1" indent="-285750">
              <a:buFont typeface="Arial" panose="020B0604020202020204" pitchFamily="34" charset="0"/>
              <a:buChar char="•"/>
            </a:pPr>
            <a:r>
              <a:rPr lang="nb-NO" sz="1600" dirty="0"/>
              <a:t>Container IDs</a:t>
            </a:r>
          </a:p>
        </p:txBody>
      </p:sp>
      <p:pic>
        <p:nvPicPr>
          <p:cNvPr id="3" name="Bilde 2" descr="Et bilde som inneholder tekst, skjermbilde, Font, nummer&#10;&#10;Automatisk generert beskrivelse">
            <a:extLst>
              <a:ext uri="{FF2B5EF4-FFF2-40B4-BE49-F238E27FC236}">
                <a16:creationId xmlns:a16="http://schemas.microsoft.com/office/drawing/2014/main" id="{338822F4-B62F-DC52-6D9A-837448275E2B}"/>
              </a:ext>
            </a:extLst>
          </p:cNvPr>
          <p:cNvPicPr>
            <a:picLocks noChangeAspect="1"/>
          </p:cNvPicPr>
          <p:nvPr/>
        </p:nvPicPr>
        <p:blipFill>
          <a:blip r:embed="rId3"/>
          <a:stretch>
            <a:fillRect/>
          </a:stretch>
        </p:blipFill>
        <p:spPr>
          <a:xfrm>
            <a:off x="4189032" y="4304819"/>
            <a:ext cx="5331646" cy="1485900"/>
          </a:xfrm>
          <a:prstGeom prst="rect">
            <a:avLst/>
          </a:prstGeom>
        </p:spPr>
      </p:pic>
      <p:pic>
        <p:nvPicPr>
          <p:cNvPr id="7" name="Bilde 6" descr="Et bilde som inneholder tekst, skjermbilde, Font&#10;&#10;Automatisk generert beskrivelse">
            <a:extLst>
              <a:ext uri="{FF2B5EF4-FFF2-40B4-BE49-F238E27FC236}">
                <a16:creationId xmlns:a16="http://schemas.microsoft.com/office/drawing/2014/main" id="{C8187E36-36B8-731E-FE40-D5515896AFB4}"/>
              </a:ext>
            </a:extLst>
          </p:cNvPr>
          <p:cNvPicPr>
            <a:picLocks noChangeAspect="1"/>
          </p:cNvPicPr>
          <p:nvPr/>
        </p:nvPicPr>
        <p:blipFill>
          <a:blip r:embed="rId4"/>
          <a:stretch>
            <a:fillRect/>
          </a:stretch>
        </p:blipFill>
        <p:spPr>
          <a:xfrm>
            <a:off x="621015" y="2274138"/>
            <a:ext cx="4489856" cy="1455677"/>
          </a:xfrm>
          <a:prstGeom prst="rect">
            <a:avLst/>
          </a:prstGeom>
        </p:spPr>
      </p:pic>
      <p:cxnSp>
        <p:nvCxnSpPr>
          <p:cNvPr id="16" name="Straight Arrow Connector 15">
            <a:extLst>
              <a:ext uri="{FF2B5EF4-FFF2-40B4-BE49-F238E27FC236}">
                <a16:creationId xmlns:a16="http://schemas.microsoft.com/office/drawing/2014/main" id="{9E75C817-DD11-B346-3724-DC4188327E15}"/>
              </a:ext>
            </a:extLst>
          </p:cNvPr>
          <p:cNvCxnSpPr>
            <a:cxnSpLocks/>
          </p:cNvCxnSpPr>
          <p:nvPr/>
        </p:nvCxnSpPr>
        <p:spPr>
          <a:xfrm>
            <a:off x="1299729" y="2013424"/>
            <a:ext cx="1116882" cy="148574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9" name="Picture 8" descr="A blue logo with a black background&#10;&#10;Description automatically generated">
            <a:extLst>
              <a:ext uri="{FF2B5EF4-FFF2-40B4-BE49-F238E27FC236}">
                <a16:creationId xmlns:a16="http://schemas.microsoft.com/office/drawing/2014/main" id="{E5B5C68C-44AB-7EBB-0340-F846454F8A3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40024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93A1DB-7485-E1FF-28C9-17222A32C989}"/>
              </a:ext>
            </a:extLst>
          </p:cNvPr>
          <p:cNvSpPr txBox="1"/>
          <p:nvPr/>
        </p:nvSpPr>
        <p:spPr>
          <a:xfrm>
            <a:off x="274017" y="974159"/>
            <a:ext cx="10368821" cy="5324535"/>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sz="1600" dirty="0" err="1"/>
              <a:t>We</a:t>
            </a:r>
            <a:r>
              <a:rPr lang="nb-NO" sz="1600" dirty="0"/>
              <a:t> </a:t>
            </a:r>
            <a:r>
              <a:rPr lang="nb-NO" sz="1600" dirty="0" err="1"/>
              <a:t>will</a:t>
            </a:r>
            <a:r>
              <a:rPr lang="nb-NO" sz="1600" dirty="0"/>
              <a:t> </a:t>
            </a:r>
            <a:r>
              <a:rPr lang="nb-NO" sz="1600" dirty="0" err="1"/>
              <a:t>use</a:t>
            </a:r>
            <a:r>
              <a:rPr lang="nb-NO" sz="1600" dirty="0"/>
              <a:t> </a:t>
            </a:r>
            <a:r>
              <a:rPr lang="nb-NO" sz="1600" dirty="0" err="1"/>
              <a:t>the</a:t>
            </a:r>
            <a:r>
              <a:rPr lang="nb-NO" sz="1600" dirty="0"/>
              <a:t> </a:t>
            </a:r>
            <a:r>
              <a:rPr lang="nb-NO" sz="1600" dirty="0" err="1"/>
              <a:t>values</a:t>
            </a:r>
            <a:r>
              <a:rPr lang="nb-NO" sz="1600" dirty="0"/>
              <a:t> from </a:t>
            </a:r>
            <a:r>
              <a:rPr lang="nb-NO" sz="1600" dirty="0" err="1"/>
              <a:t>our</a:t>
            </a:r>
            <a:r>
              <a:rPr lang="nb-NO" sz="1600" dirty="0"/>
              <a:t> lab notes</a:t>
            </a:r>
          </a:p>
          <a:p>
            <a:pPr marL="742950" lvl="1" indent="-285750">
              <a:buFont typeface="Arial" panose="020B0604020202020204" pitchFamily="34" charset="0"/>
              <a:buChar char="•"/>
            </a:pPr>
            <a:r>
              <a:rPr lang="nb-NO" sz="1600" dirty="0">
                <a:ea typeface="Verdana"/>
              </a:rPr>
              <a:t>In v1 mode, it is </a:t>
            </a:r>
            <a:r>
              <a:rPr lang="nb-NO" sz="1600" dirty="0" err="1">
                <a:ea typeface="Verdana"/>
              </a:rPr>
              <a:t>called</a:t>
            </a:r>
            <a:r>
              <a:rPr lang="nb-NO" sz="1600" dirty="0">
                <a:ea typeface="Verdana"/>
              </a:rPr>
              <a:t> a "database«</a:t>
            </a:r>
          </a:p>
          <a:p>
            <a:pPr marL="742950" lvl="1" indent="-285750">
              <a:buFont typeface="Arial" panose="020B0604020202020204" pitchFamily="34" charset="0"/>
              <a:buChar char="•"/>
            </a:pPr>
            <a:endParaRPr lang="nb-NO" sz="1600" dirty="0">
              <a:ea typeface="Verdana"/>
            </a:endParaRPr>
          </a:p>
          <a:p>
            <a:pPr marL="742950" lvl="1"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endParaRPr lang="nb-NO" sz="1600" dirty="0">
              <a:ea typeface="Verdana"/>
            </a:endParaRPr>
          </a:p>
          <a:p>
            <a:pPr marL="285750" indent="-285750">
              <a:buFont typeface="Arial" panose="020B0604020202020204" pitchFamily="34" charset="0"/>
              <a:buChar char="•"/>
            </a:pPr>
            <a:r>
              <a:rPr lang="nb-NO" sz="1600" dirty="0" err="1">
                <a:ea typeface="Verdana"/>
              </a:rPr>
              <a:t>What</a:t>
            </a:r>
            <a:r>
              <a:rPr lang="nb-NO" sz="1600" dirty="0">
                <a:ea typeface="Verdana"/>
              </a:rPr>
              <a:t> </a:t>
            </a:r>
            <a:r>
              <a:rPr lang="nb-NO" sz="1600" dirty="0" err="1">
                <a:ea typeface="Verdana"/>
              </a:rPr>
              <a:t>we</a:t>
            </a:r>
            <a:r>
              <a:rPr lang="nb-NO" sz="1600" dirty="0">
                <a:ea typeface="Verdana"/>
              </a:rPr>
              <a:t> have done </a:t>
            </a:r>
            <a:r>
              <a:rPr lang="nb-NO" sz="1600" dirty="0" err="1">
                <a:ea typeface="Verdana"/>
              </a:rPr>
              <a:t>here</a:t>
            </a:r>
            <a:r>
              <a:rPr lang="nb-NO" sz="1600" dirty="0">
                <a:ea typeface="Verdana"/>
              </a:rPr>
              <a:t>, is </a:t>
            </a:r>
            <a:r>
              <a:rPr lang="nb-NO" sz="1600" dirty="0" err="1">
                <a:ea typeface="Verdana"/>
              </a:rPr>
              <a:t>create</a:t>
            </a:r>
            <a:r>
              <a:rPr lang="nb-NO" sz="1600" dirty="0">
                <a:ea typeface="Verdana"/>
              </a:rPr>
              <a:t> a db </a:t>
            </a:r>
            <a:r>
              <a:rPr lang="nb-NO" sz="1600" dirty="0" err="1">
                <a:ea typeface="Verdana"/>
              </a:rPr>
              <a:t>which</a:t>
            </a:r>
            <a:r>
              <a:rPr lang="nb-NO" sz="1600" dirty="0">
                <a:ea typeface="Verdana"/>
              </a:rPr>
              <a:t> </a:t>
            </a:r>
            <a:r>
              <a:rPr lang="nb-NO" sz="1600" dirty="0" err="1">
                <a:ea typeface="Verdana"/>
              </a:rPr>
              <a:t>point</a:t>
            </a:r>
            <a:r>
              <a:rPr lang="nb-NO" sz="1600" dirty="0">
                <a:ea typeface="Verdana"/>
              </a:rPr>
              <a:t> to </a:t>
            </a:r>
            <a:r>
              <a:rPr lang="nb-NO" sz="1600" dirty="0" err="1">
                <a:ea typeface="Verdana"/>
              </a:rPr>
              <a:t>the</a:t>
            </a:r>
            <a:r>
              <a:rPr lang="nb-NO" sz="1600" dirty="0">
                <a:ea typeface="Verdana"/>
              </a:rPr>
              <a:t> same </a:t>
            </a:r>
            <a:r>
              <a:rPr lang="nb-NO" sz="1600" dirty="0" err="1">
                <a:ea typeface="Verdana"/>
              </a:rPr>
              <a:t>Bucket</a:t>
            </a:r>
            <a:r>
              <a:rPr lang="nb-NO" sz="1600" dirty="0">
                <a:ea typeface="Verdana"/>
              </a:rPr>
              <a:t> ID as </a:t>
            </a:r>
            <a:r>
              <a:rPr lang="nb-NO" sz="1600" dirty="0" err="1">
                <a:ea typeface="Verdana"/>
              </a:rPr>
              <a:t>the</a:t>
            </a:r>
            <a:r>
              <a:rPr lang="nb-NO" sz="1600" dirty="0">
                <a:ea typeface="Verdana"/>
              </a:rPr>
              <a:t> </a:t>
            </a:r>
            <a:r>
              <a:rPr lang="nb-NO" sz="1600" dirty="0" err="1">
                <a:ea typeface="Verdana"/>
              </a:rPr>
              <a:t>c9800-bucket</a:t>
            </a:r>
            <a:endParaRPr lang="nb-NO" sz="1600" dirty="0">
              <a:ea typeface="Verdana"/>
            </a:endParaRPr>
          </a:p>
          <a:p>
            <a:pPr marL="285750" indent="-285750">
              <a:buFont typeface="Arial" panose="020B0604020202020204" pitchFamily="34" charset="0"/>
              <a:buChar char="•"/>
            </a:pPr>
            <a:r>
              <a:rPr lang="nb-NO" sz="1200" dirty="0" err="1">
                <a:ea typeface="Verdana"/>
              </a:rPr>
              <a:t>We</a:t>
            </a:r>
            <a:r>
              <a:rPr lang="nb-NO" sz="1200" dirty="0">
                <a:ea typeface="Verdana"/>
              </a:rPr>
              <a:t> </a:t>
            </a:r>
            <a:r>
              <a:rPr lang="nb-NO" sz="1200" dirty="0" err="1">
                <a:ea typeface="Verdana"/>
              </a:rPr>
              <a:t>now</a:t>
            </a:r>
            <a:r>
              <a:rPr lang="nb-NO" sz="1200" dirty="0">
                <a:ea typeface="Verdana"/>
              </a:rPr>
              <a:t> have</a:t>
            </a:r>
          </a:p>
          <a:p>
            <a:pPr marL="742950" lvl="1" indent="-285750">
              <a:buFont typeface="Arial" panose="020B0604020202020204" pitchFamily="34" charset="0"/>
              <a:buChar char="•"/>
            </a:pPr>
            <a:r>
              <a:rPr lang="nb-NO" sz="1050" dirty="0">
                <a:ea typeface="Verdana"/>
              </a:rPr>
              <a:t>a </a:t>
            </a:r>
            <a:r>
              <a:rPr lang="nb-NO" sz="1050" dirty="0" err="1">
                <a:ea typeface="Verdana"/>
              </a:rPr>
              <a:t>c9800-bucket</a:t>
            </a:r>
            <a:r>
              <a:rPr lang="nb-NO" sz="1050" dirty="0">
                <a:ea typeface="Verdana"/>
              </a:rPr>
              <a:t> </a:t>
            </a:r>
            <a:r>
              <a:rPr lang="nb-NO" sz="1050" dirty="0" err="1">
                <a:ea typeface="Verdana"/>
              </a:rPr>
              <a:t>where</a:t>
            </a:r>
            <a:r>
              <a:rPr lang="nb-NO" sz="1050" dirty="0">
                <a:ea typeface="Verdana"/>
              </a:rPr>
              <a:t> </a:t>
            </a:r>
            <a:r>
              <a:rPr lang="nb-NO" sz="1050" dirty="0" err="1">
                <a:ea typeface="Verdana"/>
              </a:rPr>
              <a:t>we</a:t>
            </a:r>
            <a:r>
              <a:rPr lang="nb-NO" sz="1050" dirty="0">
                <a:ea typeface="Verdana"/>
              </a:rPr>
              <a:t> </a:t>
            </a:r>
            <a:r>
              <a:rPr lang="nb-NO" sz="1050" dirty="0" err="1">
                <a:ea typeface="Verdana"/>
              </a:rPr>
              <a:t>can</a:t>
            </a:r>
            <a:r>
              <a:rPr lang="nb-NO" sz="1050" dirty="0">
                <a:ea typeface="Verdana"/>
              </a:rPr>
              <a:t> </a:t>
            </a:r>
            <a:r>
              <a:rPr lang="nb-NO" sz="1050" dirty="0" err="1">
                <a:ea typeface="Verdana"/>
              </a:rPr>
              <a:t>query</a:t>
            </a:r>
            <a:r>
              <a:rPr lang="nb-NO" sz="1050" dirty="0">
                <a:ea typeface="Verdana"/>
              </a:rPr>
              <a:t> </a:t>
            </a:r>
            <a:r>
              <a:rPr lang="nb-NO" sz="1050" dirty="0" err="1">
                <a:ea typeface="Verdana"/>
              </a:rPr>
              <a:t>using</a:t>
            </a:r>
            <a:r>
              <a:rPr lang="nb-NO" sz="1050" dirty="0">
                <a:ea typeface="Verdana"/>
              </a:rPr>
              <a:t> </a:t>
            </a:r>
            <a:r>
              <a:rPr lang="nb-NO" sz="1050" dirty="0" err="1">
                <a:ea typeface="Verdana"/>
              </a:rPr>
              <a:t>FLUX</a:t>
            </a:r>
            <a:endParaRPr lang="nb-NO" sz="1050" dirty="0">
              <a:ea typeface="Verdana"/>
            </a:endParaRPr>
          </a:p>
          <a:p>
            <a:pPr marL="742950" lvl="1" indent="-285750">
              <a:buFont typeface="Arial" panose="020B0604020202020204" pitchFamily="34" charset="0"/>
              <a:buChar char="•"/>
            </a:pPr>
            <a:r>
              <a:rPr lang="nb-NO" sz="1050" dirty="0">
                <a:ea typeface="Verdana"/>
              </a:rPr>
              <a:t>a </a:t>
            </a:r>
            <a:r>
              <a:rPr lang="nb-NO" sz="1050" dirty="0" err="1">
                <a:ea typeface="Verdana"/>
              </a:rPr>
              <a:t>c9800</a:t>
            </a:r>
            <a:r>
              <a:rPr lang="nb-NO" sz="1050" dirty="0">
                <a:ea typeface="Verdana"/>
              </a:rPr>
              <a:t>-db </a:t>
            </a:r>
            <a:r>
              <a:rPr lang="nb-NO" sz="1050" dirty="0" err="1">
                <a:ea typeface="Verdana"/>
              </a:rPr>
              <a:t>where</a:t>
            </a:r>
            <a:r>
              <a:rPr lang="nb-NO" sz="1050" dirty="0">
                <a:ea typeface="Verdana"/>
              </a:rPr>
              <a:t> </a:t>
            </a:r>
            <a:r>
              <a:rPr lang="nb-NO" sz="1050" dirty="0" err="1">
                <a:ea typeface="Verdana"/>
              </a:rPr>
              <a:t>we</a:t>
            </a:r>
            <a:r>
              <a:rPr lang="nb-NO" sz="1050" dirty="0">
                <a:ea typeface="Verdana"/>
              </a:rPr>
              <a:t> </a:t>
            </a:r>
            <a:r>
              <a:rPr lang="nb-NO" sz="1050" dirty="0" err="1">
                <a:ea typeface="Verdana"/>
              </a:rPr>
              <a:t>can</a:t>
            </a:r>
            <a:r>
              <a:rPr lang="nb-NO" sz="1050" dirty="0">
                <a:ea typeface="Verdana"/>
              </a:rPr>
              <a:t> </a:t>
            </a:r>
            <a:r>
              <a:rPr lang="nb-NO" sz="1050" dirty="0" err="1">
                <a:ea typeface="Verdana"/>
              </a:rPr>
              <a:t>query</a:t>
            </a:r>
            <a:r>
              <a:rPr lang="nb-NO" sz="1050" dirty="0">
                <a:ea typeface="Verdana"/>
              </a:rPr>
              <a:t> </a:t>
            </a:r>
            <a:r>
              <a:rPr lang="nb-NO" sz="1050" dirty="0" err="1">
                <a:ea typeface="Verdana"/>
              </a:rPr>
              <a:t>the</a:t>
            </a:r>
            <a:r>
              <a:rPr lang="nb-NO" sz="1050" dirty="0">
                <a:ea typeface="Verdana"/>
              </a:rPr>
              <a:t> same data, </a:t>
            </a:r>
            <a:r>
              <a:rPr lang="nb-NO" sz="1050" dirty="0" err="1">
                <a:ea typeface="Verdana"/>
              </a:rPr>
              <a:t>using</a:t>
            </a:r>
            <a:r>
              <a:rPr lang="nb-NO" sz="1050" dirty="0">
                <a:ea typeface="Verdana"/>
              </a:rPr>
              <a:t> </a:t>
            </a:r>
            <a:r>
              <a:rPr lang="nb-NO" sz="1050" dirty="0" err="1">
                <a:ea typeface="Verdana"/>
              </a:rPr>
              <a:t>InfluxQL</a:t>
            </a:r>
            <a:endParaRPr lang="nb-NO" sz="1050" dirty="0">
              <a:ea typeface="Verdana"/>
            </a:endParaRPr>
          </a:p>
          <a:p>
            <a:pPr marL="742950" lvl="1" indent="-285750">
              <a:buFont typeface="Arial" panose="020B0604020202020204" pitchFamily="34" charset="0"/>
              <a:buChar char="•"/>
            </a:pPr>
            <a:r>
              <a:rPr lang="nb-NO" sz="1050" dirty="0">
                <a:ea typeface="Verdana"/>
              </a:rPr>
              <a:t>See </a:t>
            </a:r>
            <a:r>
              <a:rPr lang="nb-NO" sz="1050" dirty="0" err="1">
                <a:ea typeface="Verdana"/>
              </a:rPr>
              <a:t>earlier</a:t>
            </a:r>
            <a:r>
              <a:rPr lang="nb-NO" sz="1050" dirty="0">
                <a:ea typeface="Verdana"/>
              </a:rPr>
              <a:t> slide "Different </a:t>
            </a:r>
            <a:r>
              <a:rPr lang="nb-NO" sz="1050" dirty="0" err="1">
                <a:ea typeface="Verdana"/>
              </a:rPr>
              <a:t>flavors</a:t>
            </a:r>
            <a:r>
              <a:rPr lang="nb-NO" sz="1050" dirty="0">
                <a:ea typeface="Verdana"/>
              </a:rPr>
              <a:t> </a:t>
            </a:r>
            <a:r>
              <a:rPr lang="nb-NO" sz="1050" dirty="0" err="1">
                <a:ea typeface="Verdana"/>
              </a:rPr>
              <a:t>of</a:t>
            </a:r>
            <a:r>
              <a:rPr lang="nb-NO" sz="1050" dirty="0">
                <a:ea typeface="Verdana"/>
              </a:rPr>
              <a:t> </a:t>
            </a:r>
            <a:r>
              <a:rPr lang="nb-NO" sz="1050" dirty="0" err="1">
                <a:ea typeface="Verdana"/>
              </a:rPr>
              <a:t>InfluxDB</a:t>
            </a:r>
            <a:r>
              <a:rPr lang="nb-NO" sz="1050" dirty="0">
                <a:ea typeface="Verdana"/>
              </a:rPr>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err="1"/>
              <a:t>InfluxDB</a:t>
            </a:r>
            <a:r>
              <a:rPr lang="en-GB" dirty="0"/>
              <a:t> </a:t>
            </a:r>
            <a:r>
              <a:rPr lang="en-GB" dirty="0" err="1"/>
              <a:t>2.X</a:t>
            </a:r>
            <a:r>
              <a:rPr lang="en-GB" dirty="0"/>
              <a:t>: Query data in Grafana with </a:t>
            </a:r>
            <a:r>
              <a:rPr lang="en-GB" dirty="0" err="1"/>
              <a:t>InfluxQL</a:t>
            </a:r>
            <a:endParaRPr lang="en-GB" dirty="0"/>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exercise #10.1: Install TIG stack, InfluxDB</a:t>
            </a:r>
            <a:endParaRPr lang="en-US" sz="1100"/>
          </a:p>
        </p:txBody>
      </p:sp>
      <p:cxnSp>
        <p:nvCxnSpPr>
          <p:cNvPr id="19" name="Straight Arrow Connector 18">
            <a:extLst>
              <a:ext uri="{FF2B5EF4-FFF2-40B4-BE49-F238E27FC236}">
                <a16:creationId xmlns:a16="http://schemas.microsoft.com/office/drawing/2014/main" id="{E4D3BF94-7E27-622D-168F-AF56226F4CE8}"/>
              </a:ext>
            </a:extLst>
          </p:cNvPr>
          <p:cNvCxnSpPr>
            <a:cxnSpLocks/>
          </p:cNvCxnSpPr>
          <p:nvPr/>
        </p:nvCxnSpPr>
        <p:spPr>
          <a:xfrm>
            <a:off x="1668683" y="3553159"/>
            <a:ext cx="5762264" cy="40511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5" name="TextBox 4">
            <a:extLst>
              <a:ext uri="{FF2B5EF4-FFF2-40B4-BE49-F238E27FC236}">
                <a16:creationId xmlns:a16="http://schemas.microsoft.com/office/drawing/2014/main" id="{505A3283-4B3C-5923-55E0-B286F3132295}"/>
              </a:ext>
            </a:extLst>
          </p:cNvPr>
          <p:cNvSpPr txBox="1"/>
          <p:nvPr/>
        </p:nvSpPr>
        <p:spPr>
          <a:xfrm>
            <a:off x="133838" y="1603876"/>
            <a:ext cx="11779866" cy="3807068"/>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 docker </a:t>
            </a:r>
            <a:r>
              <a:rPr lang="fr-FR" sz="1000" dirty="0" err="1">
                <a:solidFill>
                  <a:srgbClr val="EEE8D5"/>
                </a:solidFill>
                <a:latin typeface="Consolas" panose="020B0609020204030204" pitchFamily="49" charset="0"/>
              </a:rPr>
              <a:t>exec</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it</a:t>
            </a:r>
            <a:r>
              <a:rPr lang="fr-FR" sz="1000" dirty="0">
                <a:solidFill>
                  <a:srgbClr val="EEE8D5"/>
                </a:solidFill>
                <a:latin typeface="Consolas" panose="020B0609020204030204" pitchFamily="49" charset="0"/>
              </a:rPr>
              <a:t> </a:t>
            </a:r>
            <a:r>
              <a:rPr lang="fr-FR" sz="1000" dirty="0">
                <a:solidFill>
                  <a:schemeClr val="tx1"/>
                </a:solidFill>
                <a:highlight>
                  <a:srgbClr val="FFFF00"/>
                </a:highlight>
              </a:rPr>
              <a:t>&lt;</a:t>
            </a:r>
            <a:r>
              <a:rPr lang="fr-FR" sz="1000" dirty="0" err="1">
                <a:solidFill>
                  <a:schemeClr val="tx1"/>
                </a:solidFill>
                <a:highlight>
                  <a:srgbClr val="FFFF00"/>
                </a:highlight>
              </a:rPr>
              <a:t>your_container</a:t>
            </a:r>
            <a:r>
              <a:rPr lang="fr-FR" sz="1000" dirty="0">
                <a:solidFill>
                  <a:schemeClr val="tx1"/>
                </a:solidFill>
                <a:highlight>
                  <a:srgbClr val="FFFF00"/>
                </a:highlight>
              </a:rPr>
              <a:t>-id&gt;</a:t>
            </a:r>
            <a:r>
              <a:rPr lang="fr-FR" sz="1000" dirty="0">
                <a:solidFill>
                  <a:srgbClr val="EEE8D5"/>
                </a:solidFill>
                <a:latin typeface="Consolas" panose="020B0609020204030204" pitchFamily="49" charset="0"/>
              </a:rPr>
              <a:t> </a:t>
            </a:r>
            <a:r>
              <a:rPr lang="fr-FR" sz="1000" dirty="0" err="1">
                <a:solidFill>
                  <a:srgbClr val="EEE8D5"/>
                </a:solidFill>
                <a:latin typeface="Consolas" panose="020B0609020204030204" pitchFamily="49" charset="0"/>
              </a:rPr>
              <a:t>bash</a:t>
            </a:r>
            <a:endParaRPr lang="fr-FR" sz="1000" dirty="0">
              <a:solidFill>
                <a:srgbClr val="EEE8D5"/>
              </a:solidFill>
            </a:endParaRPr>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a:t>
            </a:r>
          </a:p>
          <a:p>
            <a:pPr lvl="1" indent="-97155"/>
            <a:r>
              <a:rPr lang="en-US" sz="1000" dirty="0">
                <a:solidFill>
                  <a:srgbClr val="FF0000"/>
                </a:solidFill>
                <a:latin typeface="Consolas" panose="020B0609020204030204" pitchFamily="49" charset="0"/>
              </a:rPr>
              <a:t>Error:</a:t>
            </a:r>
            <a:r>
              <a:rPr lang="en-US" sz="1000" dirty="0">
                <a:solidFill>
                  <a:srgbClr val="EEE8D5"/>
                </a:solidFill>
                <a:latin typeface="Consolas" panose="020B0609020204030204" pitchFamily="49" charset="0"/>
              </a:rPr>
              <a:t> must specify org ID or org name</a:t>
            </a:r>
            <a:endParaRPr lang="en-US" sz="1000" dirty="0">
              <a:solidFill>
                <a:srgbClr val="EEE8D5"/>
              </a:solidFill>
            </a:endParaRPr>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influx v1 </a:t>
            </a:r>
            <a:r>
              <a:rPr lang="fr-FR" sz="1000" dirty="0" err="1">
                <a:latin typeface="Consolas"/>
              </a:rPr>
              <a:t>dbrp</a:t>
            </a:r>
            <a:r>
              <a:rPr lang="fr-FR" sz="1000" dirty="0">
                <a:latin typeface="Consolas"/>
              </a:rPr>
              <a:t> lis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endParaRPr lang="fr-FR" sz="1000" dirty="0"/>
          </a:p>
          <a:p>
            <a:pPr lvl="1" indent="-97155"/>
            <a:r>
              <a:rPr lang="fr-FR" sz="1000" dirty="0">
                <a:latin typeface="Consolas"/>
              </a:rPr>
              <a:t>VIRTUAL </a:t>
            </a:r>
            <a:r>
              <a:rPr lang="fr-FR" sz="1000" dirty="0" err="1">
                <a:latin typeface="Consolas"/>
              </a:rPr>
              <a:t>DBRP</a:t>
            </a:r>
            <a:r>
              <a:rPr lang="fr-FR" sz="1000" dirty="0">
                <a:latin typeface="Consolas"/>
              </a:rPr>
              <a:t> </a:t>
            </a:r>
            <a:r>
              <a:rPr lang="fr-FR" sz="1000" dirty="0" err="1">
                <a:latin typeface="Consolas"/>
              </a:rPr>
              <a:t>MAPPINGS</a:t>
            </a:r>
            <a:r>
              <a:rPr lang="fr-FR" sz="1000" dirty="0">
                <a:latin typeface="Consolas"/>
              </a:rPr>
              <a:t> (READ-</a:t>
            </a:r>
            <a:r>
              <a:rPr lang="fr-FR" sz="1000" dirty="0" err="1">
                <a:latin typeface="Consolas"/>
              </a:rPr>
              <a:t>ONLY</a:t>
            </a:r>
            <a:r>
              <a:rPr lang="fr-FR" sz="1000" dirty="0">
                <a:latin typeface="Consolas"/>
              </a:rPr>
              <a:t>)</a:t>
            </a:r>
          </a:p>
          <a:p>
            <a:pPr lvl="1" indent="-97155"/>
            <a:r>
              <a:rPr lang="fr-FR" sz="1000" dirty="0"/>
              <a:t>----------------------------------</a:t>
            </a: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dirty="0" err="1">
                <a:latin typeface="Consolas"/>
              </a:rPr>
              <a:t>b53d2ec9d932635a</a:t>
            </a:r>
            <a:r>
              <a:rPr lang="fr-FR" sz="1000" dirty="0">
                <a:latin typeface="Consolas"/>
              </a:rPr>
              <a:t>        _monitoring     </a:t>
            </a:r>
            <a:r>
              <a:rPr lang="fr-FR" sz="1000" dirty="0" err="1">
                <a:latin typeface="Consolas"/>
              </a:rPr>
              <a:t>b53d2ec9d932635a</a:t>
            </a:r>
            <a:r>
              <a:rPr lang="fr-FR" sz="1000" dirty="0">
                <a:latin typeface="Consolas"/>
              </a:rPr>
              <a:t>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r>
              <a:rPr lang="fr-FR" sz="1000" dirty="0" err="1">
                <a:latin typeface="Consolas"/>
              </a:rPr>
              <a:t>09aac3a6cee8ab99</a:t>
            </a:r>
            <a:r>
              <a:rPr lang="fr-FR" sz="1000" dirty="0">
                <a:latin typeface="Consolas"/>
              </a:rPr>
              <a:t>        _</a:t>
            </a:r>
            <a:r>
              <a:rPr lang="fr-FR" sz="1000" dirty="0" err="1">
                <a:latin typeface="Consolas"/>
              </a:rPr>
              <a:t>tasks</a:t>
            </a:r>
            <a:r>
              <a:rPr lang="fr-FR" sz="1000" dirty="0">
                <a:latin typeface="Consolas"/>
              </a:rPr>
              <a:t>          </a:t>
            </a:r>
            <a:r>
              <a:rPr lang="fr-FR" sz="1000" dirty="0" err="1">
                <a:latin typeface="Consolas"/>
              </a:rPr>
              <a:t>09aac3a6cee8ab99</a:t>
            </a:r>
            <a:r>
              <a:rPr lang="fr-FR" sz="1000" dirty="0">
                <a:latin typeface="Consolas"/>
              </a:rPr>
              <a:t>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r>
              <a:rPr lang="fr-FR" sz="1000" dirty="0">
                <a:latin typeface="Consolas"/>
              </a:rPr>
              <a:t>574c74f705d86be2        </a:t>
            </a:r>
            <a:r>
              <a:rPr lang="fr-FR" sz="1000" dirty="0" err="1">
                <a:latin typeface="Consolas"/>
              </a:rPr>
              <a:t>syslog-bucket</a:t>
            </a:r>
            <a:r>
              <a:rPr lang="fr-FR" sz="1000" dirty="0">
                <a:latin typeface="Consolas"/>
              </a:rPr>
              <a:t>   294c74f678d86ab3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6a6f13e3a65de450</a:t>
            </a:r>
          </a:p>
          <a:p>
            <a:pPr lvl="1" indent="-97155"/>
            <a:r>
              <a:rPr lang="fr-FR" sz="1000" dirty="0">
                <a:latin typeface="Consolas"/>
              </a:rPr>
              <a:t>574c74f705d86be2        c9800-bucket    574c74f705d86be2        </a:t>
            </a:r>
            <a:r>
              <a:rPr lang="fr-FR" sz="1000" dirty="0" err="1">
                <a:latin typeface="Consolas"/>
              </a:rPr>
              <a:t>autogen</a:t>
            </a:r>
            <a:r>
              <a:rPr lang="fr-FR" sz="1000" dirty="0">
                <a:latin typeface="Consolas"/>
              </a:rPr>
              <a:t>                 </a:t>
            </a:r>
            <a:r>
              <a:rPr lang="fr-FR" sz="1000" dirty="0" err="1">
                <a:latin typeface="Consolas"/>
              </a:rPr>
              <a:t>true</a:t>
            </a:r>
            <a:r>
              <a:rPr lang="fr-FR" sz="1000" dirty="0">
                <a:latin typeface="Consolas"/>
              </a:rPr>
              <a:t>    6a6f13e3a65de450</a:t>
            </a:r>
          </a:p>
          <a:p>
            <a:pPr lvl="1" indent="-97155"/>
            <a:endParaRPr lang="fr-FR" sz="1000" dirty="0">
              <a:solidFill>
                <a:srgbClr val="6D6D6D"/>
              </a:solidFill>
            </a:endParaRPr>
          </a:p>
          <a:p>
            <a:pPr lvl="1" indent="-97155"/>
            <a:r>
              <a:rPr lang="fr-FR" sz="1000" dirty="0">
                <a:solidFill>
                  <a:srgbClr val="6D6D6D"/>
                </a:solidFill>
                <a:latin typeface="Consolas"/>
              </a:rPr>
              <a:t>root@71b07ba58958:/#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dirty="0" err="1">
                <a:latin typeface="Consolas"/>
              </a:rPr>
              <a:t>db</a:t>
            </a:r>
            <a:r>
              <a:rPr lang="fr-FR" sz="1000" dirty="0">
                <a:latin typeface="Consolas"/>
              </a:rPr>
              <a:t> c9800-db --</a:t>
            </a:r>
            <a:r>
              <a:rPr lang="fr-FR" sz="1000" dirty="0" err="1">
                <a:latin typeface="Consolas"/>
              </a:rPr>
              <a:t>rp</a:t>
            </a:r>
            <a:r>
              <a:rPr lang="fr-FR" sz="1000" dirty="0">
                <a:latin typeface="Consolas"/>
              </a:rPr>
              <a:t> c9800-rp --</a:t>
            </a:r>
            <a:r>
              <a:rPr lang="fr-FR" sz="1000" dirty="0" err="1">
                <a:latin typeface="Consolas"/>
              </a:rPr>
              <a:t>bucket</a:t>
            </a:r>
            <a:r>
              <a:rPr lang="fr-FR" sz="1000" dirty="0">
                <a:latin typeface="Consolas"/>
              </a:rPr>
              <a:t>-id 574c74f705d86be2 --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r>
              <a:rPr lang="fr-FR" sz="1000" dirty="0">
                <a:solidFill>
                  <a:srgbClr val="6D6D6D"/>
                </a:solidFill>
                <a:latin typeface="Consolas"/>
              </a:rPr>
              <a:t>root@71b07ba58958:/# </a:t>
            </a:r>
            <a:r>
              <a:rPr lang="fr-FR" sz="1000" dirty="0">
                <a:latin typeface="Consolas"/>
              </a:rPr>
              <a:t>influx v1 </a:t>
            </a:r>
            <a:r>
              <a:rPr lang="fr-FR" sz="1000" dirty="0" err="1">
                <a:latin typeface="Consolas"/>
              </a:rPr>
              <a:t>dbrp</a:t>
            </a:r>
            <a:r>
              <a:rPr lang="fr-FR" sz="1000" dirty="0">
                <a:latin typeface="Consolas"/>
              </a:rPr>
              <a:t> </a:t>
            </a:r>
            <a:r>
              <a:rPr lang="fr-FR" sz="1000" dirty="0" err="1">
                <a:latin typeface="Consolas"/>
              </a:rPr>
              <a:t>create</a:t>
            </a:r>
            <a:r>
              <a:rPr lang="fr-FR" sz="1000" dirty="0">
                <a:latin typeface="Consolas"/>
              </a:rPr>
              <a:t> --</a:t>
            </a:r>
            <a:r>
              <a:rPr lang="fr-FR" sz="1000" dirty="0" err="1">
                <a:latin typeface="Consolas"/>
              </a:rPr>
              <a:t>db</a:t>
            </a:r>
            <a:r>
              <a:rPr lang="fr-FR" sz="1000" dirty="0">
                <a:latin typeface="Consolas"/>
              </a:rPr>
              <a:t> </a:t>
            </a:r>
            <a:r>
              <a:rPr lang="fr-FR" sz="1000" dirty="0" err="1">
                <a:latin typeface="Consolas"/>
              </a:rPr>
              <a:t>syslog-db</a:t>
            </a:r>
            <a:r>
              <a:rPr lang="fr-FR" sz="1000" dirty="0">
                <a:latin typeface="Consolas"/>
              </a:rPr>
              <a:t> --</a:t>
            </a:r>
            <a:r>
              <a:rPr lang="fr-FR" sz="1000" dirty="0" err="1">
                <a:latin typeface="Consolas"/>
              </a:rPr>
              <a:t>rp</a:t>
            </a:r>
            <a:r>
              <a:rPr lang="fr-FR" sz="1000" dirty="0">
                <a:latin typeface="Consolas"/>
              </a:rPr>
              <a:t> </a:t>
            </a:r>
            <a:r>
              <a:rPr lang="fr-FR" sz="1000" dirty="0" err="1">
                <a:latin typeface="Consolas"/>
              </a:rPr>
              <a:t>syslog-rp</a:t>
            </a:r>
            <a:r>
              <a:rPr lang="fr-FR" sz="1000" dirty="0">
                <a:latin typeface="Consolas"/>
              </a:rPr>
              <a:t> --</a:t>
            </a:r>
            <a:r>
              <a:rPr lang="fr-FR" sz="1000" dirty="0" err="1">
                <a:latin typeface="Consolas"/>
              </a:rPr>
              <a:t>bucket</a:t>
            </a:r>
            <a:r>
              <a:rPr lang="fr-FR" sz="1000" dirty="0">
                <a:latin typeface="Consolas"/>
              </a:rPr>
              <a:t>-id 294c74f678d86ab3 --default --</a:t>
            </a:r>
            <a:r>
              <a:rPr lang="fr-FR" sz="1000" dirty="0" err="1">
                <a:latin typeface="Consolas"/>
              </a:rPr>
              <a:t>org</a:t>
            </a:r>
            <a:r>
              <a:rPr lang="fr-FR" sz="1000" dirty="0">
                <a:latin typeface="Consolas"/>
              </a:rPr>
              <a:t>-id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org</a:t>
            </a:r>
            <a:r>
              <a:rPr lang="fr-FR" sz="1000" dirty="0">
                <a:solidFill>
                  <a:schemeClr val="tx1"/>
                </a:solidFill>
                <a:highlight>
                  <a:srgbClr val="FFFF00"/>
                </a:highlight>
                <a:latin typeface="Consolas"/>
              </a:rPr>
              <a:t>-id&gt;</a:t>
            </a:r>
            <a:r>
              <a:rPr lang="fr-FR" sz="1000" dirty="0">
                <a:latin typeface="Consolas"/>
              </a:rPr>
              <a:t> --</a:t>
            </a:r>
            <a:r>
              <a:rPr lang="fr-FR" sz="1000" dirty="0" err="1">
                <a:latin typeface="Consolas"/>
              </a:rPr>
              <a:t>token</a:t>
            </a:r>
            <a:r>
              <a:rPr lang="fr-FR" sz="1000" dirty="0">
                <a:latin typeface="Consolas"/>
              </a:rPr>
              <a:t> </a:t>
            </a:r>
            <a:r>
              <a:rPr lang="fr-FR" sz="1000" dirty="0">
                <a:solidFill>
                  <a:schemeClr val="tx1"/>
                </a:solidFill>
                <a:highlight>
                  <a:srgbClr val="FFFF00"/>
                </a:highlight>
                <a:latin typeface="Consolas"/>
              </a:rPr>
              <a:t>&lt;</a:t>
            </a:r>
            <a:r>
              <a:rPr lang="fr-FR" sz="1000" dirty="0" err="1">
                <a:solidFill>
                  <a:schemeClr val="tx1"/>
                </a:solidFill>
                <a:highlight>
                  <a:srgbClr val="FFFF00"/>
                </a:highlight>
                <a:latin typeface="Consolas"/>
              </a:rPr>
              <a:t>your_admin_token</a:t>
            </a:r>
            <a:r>
              <a:rPr lang="fr-FR" sz="1000" dirty="0">
                <a:solidFill>
                  <a:schemeClr val="tx1"/>
                </a:solidFill>
                <a:highlight>
                  <a:srgbClr val="FFFF00"/>
                </a:highlight>
                <a:latin typeface="Consolas"/>
              </a:rPr>
              <a:t>&gt;</a:t>
            </a:r>
          </a:p>
          <a:p>
            <a:pPr lvl="1" indent="-97155"/>
            <a:endParaRPr lang="fr-FR" sz="1000" dirty="0">
              <a:solidFill>
                <a:schemeClr val="tx1"/>
              </a:solidFill>
              <a:latin typeface="Consolas"/>
            </a:endParaRPr>
          </a:p>
          <a:p>
            <a:pPr lvl="1" indent="-97155"/>
            <a:r>
              <a:rPr lang="fr-FR" sz="1000" dirty="0"/>
              <a:t>ID                      </a:t>
            </a:r>
            <a:r>
              <a:rPr lang="fr-FR" sz="1000" dirty="0" err="1"/>
              <a:t>Database</a:t>
            </a:r>
            <a:r>
              <a:rPr lang="fr-FR" sz="1000" dirty="0"/>
              <a:t>        </a:t>
            </a:r>
            <a:r>
              <a:rPr lang="fr-FR" sz="1000" dirty="0" err="1"/>
              <a:t>Bucket</a:t>
            </a:r>
            <a:r>
              <a:rPr lang="fr-FR" sz="1000" dirty="0"/>
              <a:t> ID               </a:t>
            </a:r>
            <a:r>
              <a:rPr lang="fr-FR" sz="1000" dirty="0" err="1"/>
              <a:t>Retention</a:t>
            </a:r>
            <a:r>
              <a:rPr lang="fr-FR" sz="1000" dirty="0"/>
              <a:t> Policy        Default </a:t>
            </a:r>
            <a:r>
              <a:rPr lang="fr-FR" sz="1000" dirty="0" err="1"/>
              <a:t>Organization</a:t>
            </a:r>
            <a:r>
              <a:rPr lang="fr-FR" sz="1000" dirty="0"/>
              <a:t> ID</a:t>
            </a:r>
          </a:p>
          <a:p>
            <a:pPr lvl="1" indent="-97155"/>
            <a:r>
              <a:rPr lang="fr-FR" sz="1000" dirty="0" err="1">
                <a:latin typeface="Consolas"/>
              </a:rPr>
              <a:t>0d94a420be168000</a:t>
            </a:r>
            <a:r>
              <a:rPr lang="fr-FR" sz="1000" dirty="0">
                <a:latin typeface="Consolas"/>
              </a:rPr>
              <a:t>        </a:t>
            </a:r>
            <a:r>
              <a:rPr lang="fr-FR" sz="1000" dirty="0" err="1">
                <a:latin typeface="Consolas"/>
              </a:rPr>
              <a:t>c9800-db</a:t>
            </a:r>
            <a:r>
              <a:rPr lang="fr-FR" sz="1000" dirty="0">
                <a:latin typeface="Consolas"/>
              </a:rPr>
              <a:t>        </a:t>
            </a:r>
            <a:r>
              <a:rPr lang="fr-FR" sz="1000" dirty="0" err="1">
                <a:latin typeface="Consolas"/>
              </a:rPr>
              <a:t>bc926b463de1d39a</a:t>
            </a:r>
            <a:r>
              <a:rPr lang="fr-FR" sz="1000" dirty="0">
                <a:latin typeface="Consolas"/>
              </a:rPr>
              <a:t>        </a:t>
            </a:r>
            <a:r>
              <a:rPr lang="fr-FR" sz="1000" dirty="0" err="1">
                <a:latin typeface="Consolas"/>
              </a:rPr>
              <a:t>c9800-rp</a:t>
            </a:r>
            <a:r>
              <a:rPr lang="fr-FR" sz="1000" dirty="0">
                <a:latin typeface="Consolas"/>
              </a:rPr>
              <a:t>                </a:t>
            </a:r>
            <a:r>
              <a:rPr lang="fr-FR" sz="1000" dirty="0" err="1">
                <a:latin typeface="Consolas"/>
              </a:rPr>
              <a:t>true</a:t>
            </a:r>
            <a:r>
              <a:rPr lang="fr-FR" sz="1000" dirty="0">
                <a:latin typeface="Consolas"/>
              </a:rPr>
              <a:t>    </a:t>
            </a:r>
            <a:r>
              <a:rPr lang="fr-FR" sz="1000" dirty="0" err="1">
                <a:latin typeface="Consolas"/>
              </a:rPr>
              <a:t>6a6f13e3a65de450</a:t>
            </a:r>
            <a:endParaRPr lang="fr-FR" sz="1000" dirty="0">
              <a:latin typeface="Consolas"/>
            </a:endParaRPr>
          </a:p>
          <a:p>
            <a:pPr lvl="1" indent="-97155"/>
            <a:endParaRPr lang="fr-FR" sz="1000" dirty="0"/>
          </a:p>
          <a:p>
            <a:pPr lvl="1" indent="-97155"/>
            <a:r>
              <a:rPr lang="fr-FR" sz="1000" dirty="0" err="1">
                <a:solidFill>
                  <a:srgbClr val="6D6D6D"/>
                </a:solidFill>
                <a:latin typeface="Consolas"/>
              </a:rPr>
              <a:t>root@71b07ba58958</a:t>
            </a:r>
            <a:r>
              <a:rPr lang="fr-FR" sz="1000" dirty="0">
                <a:solidFill>
                  <a:srgbClr val="6D6D6D"/>
                </a:solidFill>
                <a:latin typeface="Consolas"/>
              </a:rPr>
              <a:t>:/# </a:t>
            </a:r>
            <a:r>
              <a:rPr lang="fr-FR" sz="1000" dirty="0">
                <a:latin typeface="Consolas"/>
              </a:rPr>
              <a:t>exit </a:t>
            </a:r>
          </a:p>
          <a:p>
            <a:pPr lvl="1" indent="-97155"/>
            <a:r>
              <a:rPr lang="fr-FR" sz="1000" dirty="0" err="1">
                <a:solidFill>
                  <a:srgbClr val="6D6D6D"/>
                </a:solidFill>
              </a:rPr>
              <a:t>devnet-adm@ubuntu-devnet</a:t>
            </a:r>
            <a:r>
              <a:rPr lang="fr-FR" sz="1000" dirty="0">
                <a:solidFill>
                  <a:srgbClr val="6D6D6D"/>
                </a:solidFill>
              </a:rPr>
              <a:t>:</a:t>
            </a:r>
            <a:r>
              <a:rPr lang="fr-FR" sz="1000" dirty="0">
                <a:solidFill>
                  <a:srgbClr val="8C8C8C"/>
                </a:solidFill>
                <a:latin typeface="Consolas" panose="020B0609020204030204" pitchFamily="49" charset="0"/>
              </a:rPr>
              <a:t>~/</a:t>
            </a:r>
            <a:r>
              <a:rPr lang="fr-FR" sz="1000" dirty="0" err="1">
                <a:solidFill>
                  <a:srgbClr val="8C8C8C"/>
                </a:solidFill>
                <a:latin typeface="Consolas" panose="020B0609020204030204" pitchFamily="49" charset="0"/>
              </a:rPr>
              <a:t>tig</a:t>
            </a:r>
            <a:r>
              <a:rPr lang="fr-FR" sz="1000" dirty="0">
                <a:solidFill>
                  <a:srgbClr val="8C8C8C"/>
                </a:solidFill>
                <a:latin typeface="Consolas" panose="020B0609020204030204" pitchFamily="49" charset="0"/>
              </a:rPr>
              <a:t>-stack</a:t>
            </a:r>
            <a:r>
              <a:rPr lang="fr-FR" sz="1000" dirty="0">
                <a:solidFill>
                  <a:srgbClr val="EEE8D5"/>
                </a:solidFill>
                <a:latin typeface="Consolas" panose="020B0609020204030204" pitchFamily="49" charset="0"/>
              </a:rPr>
              <a:t>$</a:t>
            </a:r>
            <a:endParaRPr lang="fr-FR" sz="1000" dirty="0">
              <a:solidFill>
                <a:srgbClr val="EEE8D5"/>
              </a:solidFill>
            </a:endParaRPr>
          </a:p>
        </p:txBody>
      </p:sp>
      <p:sp>
        <p:nvSpPr>
          <p:cNvPr id="7" name="TextBox 6">
            <a:extLst>
              <a:ext uri="{FF2B5EF4-FFF2-40B4-BE49-F238E27FC236}">
                <a16:creationId xmlns:a16="http://schemas.microsoft.com/office/drawing/2014/main" id="{5B000B3B-FCE9-A97B-F593-0ED993A20E4E}"/>
              </a:ext>
            </a:extLst>
          </p:cNvPr>
          <p:cNvSpPr txBox="1"/>
          <p:nvPr/>
        </p:nvSpPr>
        <p:spPr>
          <a:xfrm>
            <a:off x="6349855" y="1109210"/>
            <a:ext cx="1851737" cy="246221"/>
          </a:xfrm>
          <a:prstGeom prst="rect">
            <a:avLst/>
          </a:prstGeom>
          <a:noFill/>
          <a:ln>
            <a:solidFill>
              <a:schemeClr val="tx1"/>
            </a:solidFill>
          </a:ln>
        </p:spPr>
        <p:txBody>
          <a:bodyPr wrap="square">
            <a:spAutoFit/>
          </a:bodyPr>
          <a:lstStyle/>
          <a:p>
            <a:r>
              <a:rPr lang="nb-NO" sz="1000" err="1"/>
              <a:t>Insert</a:t>
            </a:r>
            <a:r>
              <a:rPr lang="nb-NO" sz="1000"/>
              <a:t> YOUR container-id</a:t>
            </a:r>
          </a:p>
        </p:txBody>
      </p:sp>
      <p:cxnSp>
        <p:nvCxnSpPr>
          <p:cNvPr id="8" name="Straight Arrow Connector 7">
            <a:extLst>
              <a:ext uri="{FF2B5EF4-FFF2-40B4-BE49-F238E27FC236}">
                <a16:creationId xmlns:a16="http://schemas.microsoft.com/office/drawing/2014/main" id="{C56B8C0F-8251-B32F-FD76-3702DE57A20E}"/>
              </a:ext>
            </a:extLst>
          </p:cNvPr>
          <p:cNvCxnSpPr>
            <a:cxnSpLocks/>
            <a:stCxn id="7" idx="1"/>
          </p:cNvCxnSpPr>
          <p:nvPr/>
        </p:nvCxnSpPr>
        <p:spPr>
          <a:xfrm flipH="1">
            <a:off x="5327374" y="1232321"/>
            <a:ext cx="1022481" cy="43745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7" name="TextBox 16">
            <a:extLst>
              <a:ext uri="{FF2B5EF4-FFF2-40B4-BE49-F238E27FC236}">
                <a16:creationId xmlns:a16="http://schemas.microsoft.com/office/drawing/2014/main" id="{7F8AC2AD-8600-B7F9-3405-13B3F8A43182}"/>
              </a:ext>
            </a:extLst>
          </p:cNvPr>
          <p:cNvSpPr txBox="1"/>
          <p:nvPr/>
        </p:nvSpPr>
        <p:spPr>
          <a:xfrm>
            <a:off x="5157444" y="1847039"/>
            <a:ext cx="1442137" cy="246221"/>
          </a:xfrm>
          <a:prstGeom prst="rect">
            <a:avLst/>
          </a:prstGeom>
          <a:solidFill>
            <a:srgbClr val="FFF7F2"/>
          </a:solidFill>
        </p:spPr>
        <p:txBody>
          <a:bodyPr wrap="square">
            <a:spAutoFit/>
          </a:bodyPr>
          <a:lstStyle/>
          <a:p>
            <a:r>
              <a:rPr lang="nb-NO" sz="1000" err="1"/>
              <a:t>Insert</a:t>
            </a:r>
            <a:r>
              <a:rPr lang="nb-NO" sz="1000"/>
              <a:t> YOUR org-id</a:t>
            </a:r>
          </a:p>
        </p:txBody>
      </p:sp>
      <p:cxnSp>
        <p:nvCxnSpPr>
          <p:cNvPr id="18" name="Straight Arrow Connector 17">
            <a:extLst>
              <a:ext uri="{FF2B5EF4-FFF2-40B4-BE49-F238E27FC236}">
                <a16:creationId xmlns:a16="http://schemas.microsoft.com/office/drawing/2014/main" id="{BA53B13F-2011-F361-A43A-57F25857EE40}"/>
              </a:ext>
            </a:extLst>
          </p:cNvPr>
          <p:cNvCxnSpPr>
            <a:cxnSpLocks/>
            <a:stCxn id="17" idx="1"/>
          </p:cNvCxnSpPr>
          <p:nvPr/>
        </p:nvCxnSpPr>
        <p:spPr>
          <a:xfrm flipH="1">
            <a:off x="4611757" y="1970150"/>
            <a:ext cx="545687" cy="2087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2" name="TextBox 21">
            <a:extLst>
              <a:ext uri="{FF2B5EF4-FFF2-40B4-BE49-F238E27FC236}">
                <a16:creationId xmlns:a16="http://schemas.microsoft.com/office/drawing/2014/main" id="{B1D87E0E-E163-136C-50EF-3353BEB5CE4F}"/>
              </a:ext>
            </a:extLst>
          </p:cNvPr>
          <p:cNvSpPr txBox="1"/>
          <p:nvPr/>
        </p:nvSpPr>
        <p:spPr>
          <a:xfrm>
            <a:off x="7592091" y="1932720"/>
            <a:ext cx="1835203" cy="246221"/>
          </a:xfrm>
          <a:prstGeom prst="rect">
            <a:avLst/>
          </a:prstGeom>
          <a:solidFill>
            <a:srgbClr val="FFF7F2"/>
          </a:solidFill>
        </p:spPr>
        <p:txBody>
          <a:bodyPr wrap="square">
            <a:spAutoFit/>
          </a:bodyPr>
          <a:lstStyle/>
          <a:p>
            <a:r>
              <a:rPr lang="nb-NO" sz="1000" err="1"/>
              <a:t>Insert</a:t>
            </a:r>
            <a:r>
              <a:rPr lang="nb-NO" sz="1000"/>
              <a:t> YOUR </a:t>
            </a:r>
            <a:r>
              <a:rPr lang="nb-NO" sz="1000" err="1"/>
              <a:t>admin</a:t>
            </a:r>
            <a:r>
              <a:rPr lang="nb-NO" sz="1000"/>
              <a:t> token</a:t>
            </a:r>
          </a:p>
        </p:txBody>
      </p:sp>
      <p:cxnSp>
        <p:nvCxnSpPr>
          <p:cNvPr id="23" name="Straight Arrow Connector 22">
            <a:extLst>
              <a:ext uri="{FF2B5EF4-FFF2-40B4-BE49-F238E27FC236}">
                <a16:creationId xmlns:a16="http://schemas.microsoft.com/office/drawing/2014/main" id="{46A09FA6-BCCB-EDB1-B325-44655456F0C1}"/>
              </a:ext>
            </a:extLst>
          </p:cNvPr>
          <p:cNvCxnSpPr>
            <a:cxnSpLocks/>
            <a:stCxn id="22" idx="1"/>
          </p:cNvCxnSpPr>
          <p:nvPr/>
        </p:nvCxnSpPr>
        <p:spPr>
          <a:xfrm flipH="1">
            <a:off x="6539948" y="2055831"/>
            <a:ext cx="1052143" cy="16390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3" name="Straight Arrow Connector 32">
            <a:extLst>
              <a:ext uri="{FF2B5EF4-FFF2-40B4-BE49-F238E27FC236}">
                <a16:creationId xmlns:a16="http://schemas.microsoft.com/office/drawing/2014/main" id="{3958A235-3EEF-4DDB-4BCF-C190247EEBD8}"/>
              </a:ext>
            </a:extLst>
          </p:cNvPr>
          <p:cNvCxnSpPr>
            <a:cxnSpLocks/>
          </p:cNvCxnSpPr>
          <p:nvPr/>
        </p:nvCxnSpPr>
        <p:spPr>
          <a:xfrm>
            <a:off x="4184676" y="3796907"/>
            <a:ext cx="1803894" cy="21765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4" name="Rectangle: Rounded Corners 33">
            <a:extLst>
              <a:ext uri="{FF2B5EF4-FFF2-40B4-BE49-F238E27FC236}">
                <a16:creationId xmlns:a16="http://schemas.microsoft.com/office/drawing/2014/main" id="{3A1CF6D8-F588-D165-D9CC-BB832925A285}"/>
              </a:ext>
            </a:extLst>
          </p:cNvPr>
          <p:cNvSpPr/>
          <p:nvPr/>
        </p:nvSpPr>
        <p:spPr>
          <a:xfrm>
            <a:off x="2971036" y="3496874"/>
            <a:ext cx="1213037" cy="32387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 name="TextBox 2">
            <a:extLst>
              <a:ext uri="{FF2B5EF4-FFF2-40B4-BE49-F238E27FC236}">
                <a16:creationId xmlns:a16="http://schemas.microsoft.com/office/drawing/2014/main" id="{F617456D-20F2-88A1-F517-729F1294C24B}"/>
              </a:ext>
            </a:extLst>
          </p:cNvPr>
          <p:cNvSpPr txBox="1"/>
          <p:nvPr/>
        </p:nvSpPr>
        <p:spPr>
          <a:xfrm>
            <a:off x="6757980" y="5563033"/>
            <a:ext cx="5165740" cy="371513"/>
          </a:xfrm>
          <a:prstGeom prst="rect">
            <a:avLst/>
          </a:prstGeom>
          <a:solidFill>
            <a:srgbClr val="19AAF8"/>
          </a:solidFill>
        </p:spPr>
        <p:txBody>
          <a:bodyPr rot="0" spcFirstLastPara="0" vertOverflow="overflow" horzOverflow="overflow" vert="horz" wrap="square" lIns="90000" tIns="46800" rIns="90000" bIns="46800" numCol="1" spcCol="0" rtlCol="0" fromWordArt="0" anchor="t" anchorCtr="0" forceAA="0" compatLnSpc="1">
            <a:prstTxWarp prst="textNoShape">
              <a:avLst/>
            </a:prstTxWarp>
            <a:spAutoFit/>
          </a:bodyPr>
          <a:lstStyle/>
          <a:p>
            <a:r>
              <a:rPr lang="en-US" dirty="0">
                <a:ea typeface="Verdana"/>
              </a:rPr>
              <a:t>Repeat this step for the syslog-bucket</a:t>
            </a:r>
          </a:p>
        </p:txBody>
      </p:sp>
      <p:cxnSp>
        <p:nvCxnSpPr>
          <p:cNvPr id="9" name="Straight Arrow Connector 8">
            <a:extLst>
              <a:ext uri="{FF2B5EF4-FFF2-40B4-BE49-F238E27FC236}">
                <a16:creationId xmlns:a16="http://schemas.microsoft.com/office/drawing/2014/main" id="{F9F8CD7A-B323-B325-558D-17AE7EC8CD29}"/>
              </a:ext>
            </a:extLst>
          </p:cNvPr>
          <p:cNvCxnSpPr>
            <a:cxnSpLocks/>
          </p:cNvCxnSpPr>
          <p:nvPr/>
        </p:nvCxnSpPr>
        <p:spPr>
          <a:xfrm flipH="1" flipV="1">
            <a:off x="4184073" y="4384623"/>
            <a:ext cx="2628957" cy="120358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1" name="Picture 10" descr="A blue logo with a black background&#10;&#10;Description automatically generated">
            <a:extLst>
              <a:ext uri="{FF2B5EF4-FFF2-40B4-BE49-F238E27FC236}">
                <a16:creationId xmlns:a16="http://schemas.microsoft.com/office/drawing/2014/main" id="{8B33903B-1A6B-0112-870F-40C71E364D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07196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3</a:t>
            </a:fld>
            <a:endParaRPr lang="en-GB"/>
          </a:p>
        </p:txBody>
      </p:sp>
      <p:sp>
        <p:nvSpPr>
          <p:cNvPr id="180" name="Text+Image 50:50"/>
          <p:cNvSpPr txBox="1">
            <a:spLocks noGrp="1"/>
          </p:cNvSpPr>
          <p:nvPr>
            <p:ph type="title"/>
          </p:nvPr>
        </p:nvSpPr>
        <p:spPr>
          <a:xfrm>
            <a:off x="540406" y="432000"/>
            <a:ext cx="11109600" cy="540000"/>
          </a:xfrm>
        </p:spPr>
        <p:txBody>
          <a:bodyPr anchor="ctr">
            <a:normAutofit/>
          </a:bodyPr>
          <a:lstStyle/>
          <a:p>
            <a:r>
              <a:rPr lang="en-GB"/>
              <a:t>A bit about telemetry subscriptions</a:t>
            </a:r>
          </a:p>
        </p:txBody>
      </p:sp>
      <p:sp>
        <p:nvSpPr>
          <p:cNvPr id="2" name="The distance between the headline and the start of the body copy is always constant.…">
            <a:extLst>
              <a:ext uri="{FF2B5EF4-FFF2-40B4-BE49-F238E27FC236}">
                <a16:creationId xmlns:a16="http://schemas.microsoft.com/office/drawing/2014/main" id="{6B539DEF-BEF0-2AA6-A90D-BC67AC4C73CD}"/>
              </a:ext>
            </a:extLst>
          </p:cNvPr>
          <p:cNvSpPr txBox="1">
            <a:spLocks noGrp="1"/>
          </p:cNvSpPr>
          <p:nvPr>
            <p:ph idx="1"/>
          </p:nvPr>
        </p:nvSpPr>
        <p:spPr>
          <a:xfrm>
            <a:off x="540000" y="971999"/>
            <a:ext cx="11109600" cy="4819201"/>
          </a:xfrm>
        </p:spPr>
        <p:txBody>
          <a:bodyPr>
            <a:normAutofit/>
          </a:bodyPr>
          <a:lstStyle/>
          <a:p>
            <a:pPr>
              <a:lnSpc>
                <a:spcPct val="110000"/>
              </a:lnSpc>
            </a:pPr>
            <a:r>
              <a:rPr lang="nb-NO" sz="1600" err="1"/>
              <a:t>Below</a:t>
            </a:r>
            <a:r>
              <a:rPr lang="nb-NO" sz="1600"/>
              <a:t> </a:t>
            </a:r>
            <a:r>
              <a:rPr lang="nb-NO" sz="1600" err="1"/>
              <a:t>are</a:t>
            </a:r>
            <a:r>
              <a:rPr lang="nb-NO" sz="1600"/>
              <a:t> a </a:t>
            </a:r>
            <a:r>
              <a:rPr lang="nb-NO" sz="1600" err="1"/>
              <a:t>couple</a:t>
            </a:r>
            <a:r>
              <a:rPr lang="nb-NO" sz="1600"/>
              <a:t> </a:t>
            </a:r>
            <a:r>
              <a:rPr lang="nb-NO" sz="1600" err="1"/>
              <a:t>of</a:t>
            </a:r>
            <a:r>
              <a:rPr lang="nb-NO" sz="1600"/>
              <a:t> sample "</a:t>
            </a:r>
            <a:r>
              <a:rPr lang="nb-NO" sz="1600" err="1"/>
              <a:t>telemetry</a:t>
            </a:r>
            <a:r>
              <a:rPr lang="nb-NO" sz="1600"/>
              <a:t> </a:t>
            </a:r>
            <a:r>
              <a:rPr lang="nb-NO" sz="1600" err="1"/>
              <a:t>subscriptions</a:t>
            </a:r>
            <a:r>
              <a:rPr lang="nb-NO" sz="1600"/>
              <a:t>"'</a:t>
            </a:r>
          </a:p>
          <a:p>
            <a:pPr>
              <a:lnSpc>
                <a:spcPct val="110000"/>
              </a:lnSpc>
            </a:pPr>
            <a:r>
              <a:rPr lang="nb-NO" sz="1600" err="1"/>
              <a:t>Telemetry</a:t>
            </a:r>
            <a:r>
              <a:rPr lang="nb-NO" sz="1600"/>
              <a:t> </a:t>
            </a:r>
            <a:r>
              <a:rPr lang="nb-NO" sz="1600" err="1"/>
              <a:t>subscriptions</a:t>
            </a:r>
            <a:r>
              <a:rPr lang="nb-NO" sz="1600"/>
              <a:t> </a:t>
            </a:r>
            <a:r>
              <a:rPr lang="nb-NO" sz="1600" err="1"/>
              <a:t>are</a:t>
            </a:r>
            <a:r>
              <a:rPr lang="nb-NO" sz="1600"/>
              <a:t> </a:t>
            </a:r>
            <a:r>
              <a:rPr lang="nb-NO" sz="1600" err="1"/>
              <a:t>the</a:t>
            </a:r>
            <a:r>
              <a:rPr lang="nb-NO" sz="1600"/>
              <a:t> same as </a:t>
            </a:r>
            <a:r>
              <a:rPr lang="nb-NO" sz="1600" err="1"/>
              <a:t>Catalyst</a:t>
            </a:r>
            <a:r>
              <a:rPr lang="nb-NO" sz="1600"/>
              <a:t> Center </a:t>
            </a:r>
            <a:r>
              <a:rPr lang="nb-NO" sz="1600" err="1"/>
              <a:t>use</a:t>
            </a:r>
            <a:r>
              <a:rPr lang="nb-NO" sz="1600"/>
              <a:t> to </a:t>
            </a:r>
            <a:r>
              <a:rPr lang="nb-NO" sz="1600" err="1"/>
              <a:t>get</a:t>
            </a:r>
            <a:r>
              <a:rPr lang="nb-NO" sz="1600"/>
              <a:t> </a:t>
            </a:r>
            <a:r>
              <a:rPr lang="nb-NO" sz="1600" err="1"/>
              <a:t>telemetry</a:t>
            </a:r>
            <a:r>
              <a:rPr lang="nb-NO" sz="1600"/>
              <a:t> data from IOS-</a:t>
            </a:r>
            <a:r>
              <a:rPr lang="nb-NO" sz="1600" err="1"/>
              <a:t>XE</a:t>
            </a:r>
            <a:r>
              <a:rPr lang="nb-NO" sz="1600"/>
              <a:t> </a:t>
            </a:r>
            <a:r>
              <a:rPr lang="nb-NO" sz="1600" err="1"/>
              <a:t>devices</a:t>
            </a:r>
            <a:endParaRPr lang="nb-NO" sz="1600"/>
          </a:p>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telemetry</a:t>
            </a:r>
            <a:r>
              <a:rPr lang="nb-NO" sz="1600"/>
              <a:t> </a:t>
            </a:r>
            <a:r>
              <a:rPr lang="nb-NO" sz="1600" err="1"/>
              <a:t>subscriptions</a:t>
            </a:r>
            <a:r>
              <a:rPr lang="nb-NO" sz="1600"/>
              <a:t> to </a:t>
            </a:r>
            <a:r>
              <a:rPr lang="nb-NO" sz="1600" err="1"/>
              <a:t>get</a:t>
            </a:r>
            <a:r>
              <a:rPr lang="nb-NO" sz="1600"/>
              <a:t> data from </a:t>
            </a:r>
            <a:r>
              <a:rPr lang="nb-NO" sz="1600" err="1"/>
              <a:t>the</a:t>
            </a:r>
            <a:r>
              <a:rPr lang="nb-NO" sz="1600"/>
              <a:t> 9800 over to </a:t>
            </a:r>
            <a:r>
              <a:rPr lang="nb-NO" sz="1600" err="1"/>
              <a:t>our</a:t>
            </a:r>
            <a:r>
              <a:rPr lang="nb-NO" sz="1600"/>
              <a:t> </a:t>
            </a:r>
            <a:r>
              <a:rPr lang="nb-NO" sz="1600" err="1"/>
              <a:t>TIG</a:t>
            </a:r>
            <a:r>
              <a:rPr lang="nb-NO" sz="1600"/>
              <a:t> </a:t>
            </a:r>
            <a:r>
              <a:rPr lang="nb-NO" sz="1600" err="1"/>
              <a:t>stack</a:t>
            </a:r>
            <a:br>
              <a:rPr lang="nb-NO" sz="1600"/>
            </a:br>
            <a:r>
              <a:rPr lang="nb-NO" sz="1600"/>
              <a:t>(9800 -&gt; Telegraf -&gt; </a:t>
            </a:r>
            <a:r>
              <a:rPr lang="nb-NO" sz="1600" err="1"/>
              <a:t>InfluxDB</a:t>
            </a:r>
            <a:r>
              <a:rPr lang="nb-NO" sz="1600"/>
              <a:t> -&gt; </a:t>
            </a:r>
            <a:r>
              <a:rPr lang="nb-NO" sz="1600" err="1"/>
              <a:t>Grafana</a:t>
            </a:r>
            <a:r>
              <a:rPr lang="nb-NO" sz="1600"/>
              <a:t>)</a:t>
            </a:r>
          </a:p>
          <a:p>
            <a:pPr>
              <a:lnSpc>
                <a:spcPct val="110000"/>
              </a:lnSpc>
            </a:pPr>
            <a:r>
              <a:rPr lang="nb-NO" sz="1600"/>
              <a:t>The </a:t>
            </a:r>
            <a:r>
              <a:rPr lang="nb-NO" sz="1600" err="1"/>
              <a:t>syntax</a:t>
            </a:r>
            <a:r>
              <a:rPr lang="nb-NO" sz="1600"/>
              <a:t> is </a:t>
            </a:r>
            <a:r>
              <a:rPr lang="nb-NO" sz="1600" err="1"/>
              <a:t>inside</a:t>
            </a:r>
            <a:r>
              <a:rPr lang="nb-NO" sz="1600"/>
              <a:t> </a:t>
            </a:r>
            <a:r>
              <a:rPr lang="nb-NO" sz="1600" err="1"/>
              <a:t>configuration</a:t>
            </a:r>
            <a:r>
              <a:rPr lang="nb-NO" sz="1600"/>
              <a:t> mode (</a:t>
            </a:r>
            <a:r>
              <a:rPr lang="nb-NO" sz="1600" err="1"/>
              <a:t>conf</a:t>
            </a:r>
            <a:r>
              <a:rPr lang="nb-NO" sz="1600"/>
              <a:t> t) </a:t>
            </a:r>
            <a:r>
              <a:rPr lang="nb-NO" sz="1600" err="1"/>
              <a:t>on</a:t>
            </a:r>
            <a:r>
              <a:rPr lang="nb-NO" sz="1600"/>
              <a:t> 9800</a:t>
            </a:r>
          </a:p>
          <a:p>
            <a:pPr lvl="1">
              <a:lnSpc>
                <a:spcPct val="110000"/>
              </a:lnSpc>
            </a:pPr>
            <a:r>
              <a:rPr lang="nb-NO" sz="1400" err="1"/>
              <a:t>Each</a:t>
            </a:r>
            <a:r>
              <a:rPr lang="nb-NO" sz="1400"/>
              <a:t> </a:t>
            </a:r>
            <a:r>
              <a:rPr lang="nb-NO" sz="1400" err="1"/>
              <a:t>subscription</a:t>
            </a:r>
            <a:r>
              <a:rPr lang="nb-NO" sz="1400"/>
              <a:t> has an ID</a:t>
            </a:r>
          </a:p>
          <a:p>
            <a:pPr lvl="1">
              <a:lnSpc>
                <a:spcPct val="110000"/>
              </a:lnSpc>
            </a:pPr>
            <a:r>
              <a:rPr lang="nb-NO" sz="1400"/>
              <a:t>The filter is </a:t>
            </a:r>
            <a:r>
              <a:rPr lang="nb-NO" sz="1400" err="1"/>
              <a:t>built</a:t>
            </a:r>
            <a:r>
              <a:rPr lang="nb-NO" sz="1400"/>
              <a:t> from </a:t>
            </a:r>
            <a:r>
              <a:rPr lang="nb-NO" sz="1400" err="1"/>
              <a:t>the</a:t>
            </a:r>
            <a:r>
              <a:rPr lang="nb-NO" sz="1400"/>
              <a:t> </a:t>
            </a:r>
            <a:r>
              <a:rPr lang="nb-NO" sz="1400" err="1"/>
              <a:t>YANG</a:t>
            </a:r>
            <a:r>
              <a:rPr lang="nb-NO" sz="1400"/>
              <a:t> </a:t>
            </a:r>
            <a:r>
              <a:rPr lang="nb-NO" sz="1400" err="1"/>
              <a:t>model</a:t>
            </a:r>
            <a:endParaRPr lang="nb-NO" sz="1400"/>
          </a:p>
          <a:p>
            <a:pPr lvl="1">
              <a:lnSpc>
                <a:spcPct val="110000"/>
              </a:lnSpc>
            </a:pPr>
            <a:r>
              <a:rPr lang="nb-NO" sz="1400"/>
              <a:t>Update policy </a:t>
            </a:r>
            <a:r>
              <a:rPr lang="nb-NO" sz="1400" err="1"/>
              <a:t>decide</a:t>
            </a:r>
            <a:r>
              <a:rPr lang="nb-NO" sz="1400"/>
              <a:t> </a:t>
            </a:r>
            <a:r>
              <a:rPr lang="nb-NO" sz="1400" err="1"/>
              <a:t>how</a:t>
            </a:r>
            <a:r>
              <a:rPr lang="nb-NO" sz="1400"/>
              <a:t> </a:t>
            </a:r>
            <a:r>
              <a:rPr lang="nb-NO" sz="1400" err="1"/>
              <a:t>often</a:t>
            </a:r>
            <a:r>
              <a:rPr lang="nb-NO" sz="1400"/>
              <a:t> 9800 </a:t>
            </a:r>
            <a:r>
              <a:rPr lang="nb-NO" sz="1400" err="1"/>
              <a:t>will</a:t>
            </a:r>
            <a:r>
              <a:rPr lang="nb-NO" sz="1400"/>
              <a:t> push </a:t>
            </a:r>
            <a:r>
              <a:rPr lang="nb-NO" sz="1400" err="1"/>
              <a:t>this</a:t>
            </a:r>
            <a:r>
              <a:rPr lang="nb-NO" sz="1400"/>
              <a:t> to Telegraf (in </a:t>
            </a:r>
            <a:r>
              <a:rPr lang="nb-NO" sz="1400" err="1"/>
              <a:t>100ths</a:t>
            </a:r>
            <a:r>
              <a:rPr lang="nb-NO" sz="1400"/>
              <a:t> </a:t>
            </a:r>
            <a:r>
              <a:rPr lang="nb-NO" sz="1400" err="1"/>
              <a:t>of</a:t>
            </a:r>
            <a:r>
              <a:rPr lang="nb-NO" sz="1400"/>
              <a:t> a </a:t>
            </a:r>
            <a:r>
              <a:rPr lang="nb-NO" sz="1400" err="1"/>
              <a:t>second</a:t>
            </a:r>
            <a:r>
              <a:rPr lang="nb-NO" sz="1400"/>
              <a:t> -&gt; 500 = 5 sec)</a:t>
            </a:r>
          </a:p>
          <a:p>
            <a:pPr lvl="1">
              <a:lnSpc>
                <a:spcPct val="110000"/>
              </a:lnSpc>
            </a:pPr>
            <a:r>
              <a:rPr lang="nb-NO" sz="1400" err="1"/>
              <a:t>Receiver</a:t>
            </a:r>
            <a:r>
              <a:rPr lang="nb-NO" sz="1400"/>
              <a:t> IP is </a:t>
            </a:r>
            <a:r>
              <a:rPr lang="nb-NO" sz="1400" err="1"/>
              <a:t>the</a:t>
            </a:r>
            <a:r>
              <a:rPr lang="nb-NO" sz="1400"/>
              <a:t> IP </a:t>
            </a:r>
            <a:r>
              <a:rPr lang="nb-NO" sz="1400" err="1"/>
              <a:t>of</a:t>
            </a:r>
            <a:r>
              <a:rPr lang="nb-NO" sz="1400"/>
              <a:t> Telegraf (in </a:t>
            </a:r>
            <a:r>
              <a:rPr lang="nb-NO" sz="1400" err="1"/>
              <a:t>this</a:t>
            </a:r>
            <a:r>
              <a:rPr lang="nb-NO" sz="1400"/>
              <a:t> lab: your </a:t>
            </a:r>
            <a:r>
              <a:rPr lang="nb-NO" sz="1400" err="1"/>
              <a:t>Ubuntu</a:t>
            </a:r>
            <a:r>
              <a:rPr lang="nb-NO" sz="1400"/>
              <a:t> server)</a:t>
            </a:r>
          </a:p>
          <a:p>
            <a:pPr>
              <a:lnSpc>
                <a:spcPct val="110000"/>
              </a:lnSpc>
            </a:pPr>
            <a:r>
              <a:rPr lang="nb-NO" sz="1600" err="1"/>
              <a:t>You</a:t>
            </a:r>
            <a:r>
              <a:rPr lang="nb-NO" sz="1600"/>
              <a:t> </a:t>
            </a:r>
            <a:r>
              <a:rPr lang="nb-NO" sz="1600" err="1"/>
              <a:t>will</a:t>
            </a:r>
            <a:r>
              <a:rPr lang="nb-NO" sz="1600"/>
              <a:t> not </a:t>
            </a:r>
            <a:r>
              <a:rPr lang="nb-NO" sz="1600" err="1"/>
              <a:t>configure</a:t>
            </a:r>
            <a:r>
              <a:rPr lang="nb-NO" sz="1600"/>
              <a:t> </a:t>
            </a:r>
            <a:r>
              <a:rPr lang="nb-NO" sz="1600" err="1"/>
              <a:t>these</a:t>
            </a:r>
            <a:r>
              <a:rPr lang="nb-NO" sz="1600"/>
              <a:t> </a:t>
            </a:r>
            <a:r>
              <a:rPr lang="nb-NO" sz="1600" err="1"/>
              <a:t>now</a:t>
            </a:r>
            <a:r>
              <a:rPr lang="nb-NO" sz="1600"/>
              <a:t>, </a:t>
            </a:r>
            <a:r>
              <a:rPr lang="nb-NO" sz="1600" err="1"/>
              <a:t>they</a:t>
            </a:r>
            <a:r>
              <a:rPr lang="nb-NO" sz="1600"/>
              <a:t> </a:t>
            </a:r>
            <a:r>
              <a:rPr lang="nb-NO" sz="1600" err="1"/>
              <a:t>are</a:t>
            </a:r>
            <a:r>
              <a:rPr lang="nb-NO" sz="1600"/>
              <a:t> </a:t>
            </a:r>
            <a:r>
              <a:rPr lang="nb-NO" sz="1600" err="1"/>
              <a:t>only</a:t>
            </a:r>
            <a:r>
              <a:rPr lang="nb-NO" sz="1600"/>
              <a:t> </a:t>
            </a:r>
            <a:r>
              <a:rPr lang="nb-NO" sz="1600" err="1"/>
              <a:t>examples</a:t>
            </a:r>
            <a:r>
              <a:rPr lang="nb-NO" sz="1600"/>
              <a:t>. </a:t>
            </a:r>
            <a:r>
              <a:rPr lang="nb-NO" sz="1600" err="1"/>
              <a:t>We</a:t>
            </a:r>
            <a:r>
              <a:rPr lang="nb-NO" sz="1600"/>
              <a:t> </a:t>
            </a:r>
            <a:r>
              <a:rPr lang="nb-NO" sz="1600" err="1"/>
              <a:t>will</a:t>
            </a:r>
            <a:r>
              <a:rPr lang="nb-NO" sz="1600"/>
              <a:t> </a:t>
            </a:r>
            <a:r>
              <a:rPr lang="nb-NO" sz="1600" err="1"/>
              <a:t>use</a:t>
            </a:r>
            <a:r>
              <a:rPr lang="nb-NO" sz="1600"/>
              <a:t> </a:t>
            </a:r>
            <a:r>
              <a:rPr lang="nb-NO" sz="1600" err="1"/>
              <a:t>some</a:t>
            </a:r>
            <a:r>
              <a:rPr lang="nb-NO" sz="1600"/>
              <a:t> </a:t>
            </a:r>
            <a:r>
              <a:rPr lang="nb-NO" sz="1600" err="1"/>
              <a:t>other</a:t>
            </a:r>
            <a:r>
              <a:rPr lang="nb-NO" sz="1600"/>
              <a:t> data </a:t>
            </a:r>
            <a:r>
              <a:rPr lang="nb-NO" sz="1600">
                <a:sym typeface="Wingdings" panose="05000000000000000000" pitchFamily="2" charset="2"/>
              </a:rPr>
              <a:t></a:t>
            </a:r>
            <a:endParaRPr lang="nb-NO" sz="1600"/>
          </a:p>
        </p:txBody>
      </p:sp>
      <p:sp>
        <p:nvSpPr>
          <p:cNvPr id="4" name="TextBox 3">
            <a:extLst>
              <a:ext uri="{FF2B5EF4-FFF2-40B4-BE49-F238E27FC236}">
                <a16:creationId xmlns:a16="http://schemas.microsoft.com/office/drawing/2014/main" id="{F5738D0C-CBD4-78A4-C3C7-21AA65CB25E4}"/>
              </a:ext>
            </a:extLst>
          </p:cNvPr>
          <p:cNvSpPr txBox="1"/>
          <p:nvPr/>
        </p:nvSpPr>
        <p:spPr>
          <a:xfrm>
            <a:off x="246418" y="4803147"/>
            <a:ext cx="4996613" cy="1200329"/>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telemetry</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etf</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ubscription</a:t>
            </a:r>
            <a:r>
              <a:rPr lang="nb-NO" sz="1200">
                <a:solidFill>
                  <a:srgbClr val="00B050"/>
                </a:solidFill>
                <a:latin typeface="Consolas" panose="020B0609020204030204" pitchFamily="49" charset="0"/>
              </a:rPr>
              <a:t> 101</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ing</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e-kvgpb</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filter </a:t>
            </a:r>
            <a:r>
              <a:rPr lang="nb-NO" sz="1200" err="1">
                <a:solidFill>
                  <a:srgbClr val="00B050"/>
                </a:solidFill>
                <a:latin typeface="Consolas" panose="020B0609020204030204" pitchFamily="49" charset="0"/>
              </a:rPr>
              <a:t>xpath</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os:native</a:t>
            </a:r>
            <a:r>
              <a:rPr lang="nb-NO" sz="1200">
                <a:solidFill>
                  <a:srgbClr val="00B050"/>
                </a:solidFill>
                <a:latin typeface="Consolas" panose="020B0609020204030204" pitchFamily="49" charset="0"/>
              </a:rPr>
              <a:t>/</a:t>
            </a:r>
            <a:r>
              <a:rPr lang="nb-NO" sz="1200" err="1">
                <a:solidFill>
                  <a:srgbClr val="00B050"/>
                </a:solidFill>
                <a:latin typeface="Consolas" panose="020B0609020204030204" pitchFamily="49" charset="0"/>
              </a:rPr>
              <a:t>version</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tream</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yang</a:t>
            </a:r>
            <a:r>
              <a:rPr lang="nb-NO" sz="1200">
                <a:solidFill>
                  <a:srgbClr val="00B050"/>
                </a:solidFill>
                <a:latin typeface="Consolas" panose="020B0609020204030204" pitchFamily="49" charset="0"/>
              </a:rPr>
              <a:t>-push</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update</a:t>
            </a:r>
            <a:r>
              <a:rPr lang="nb-NO" sz="1200">
                <a:solidFill>
                  <a:srgbClr val="00B050"/>
                </a:solidFill>
                <a:latin typeface="Consolas" panose="020B0609020204030204" pitchFamily="49" charset="0"/>
              </a:rPr>
              <a:t>-policy </a:t>
            </a:r>
            <a:r>
              <a:rPr lang="nb-NO" sz="1200" err="1">
                <a:solidFill>
                  <a:srgbClr val="00B050"/>
                </a:solidFill>
                <a:latin typeface="Consolas" panose="020B0609020204030204" pitchFamily="49" charset="0"/>
              </a:rPr>
              <a:t>periodic</a:t>
            </a:r>
            <a:r>
              <a:rPr lang="nb-NO" sz="1200">
                <a:solidFill>
                  <a:srgbClr val="00B050"/>
                </a:solidFill>
                <a:latin typeface="Consolas" panose="020B0609020204030204" pitchFamily="49" charset="0"/>
              </a:rPr>
              <a:t> 30000</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receiver</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p</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address</a:t>
            </a:r>
            <a:r>
              <a:rPr lang="nb-NO" sz="1200">
                <a:solidFill>
                  <a:srgbClr val="00B050"/>
                </a:solidFill>
                <a:latin typeface="Consolas" panose="020B0609020204030204" pitchFamily="49" charset="0"/>
              </a:rPr>
              <a:t> 192.168.10.7 57000 </a:t>
            </a:r>
            <a:r>
              <a:rPr lang="nb-NO" sz="1200" err="1">
                <a:solidFill>
                  <a:srgbClr val="00B050"/>
                </a:solidFill>
                <a:latin typeface="Consolas" panose="020B0609020204030204" pitchFamily="49" charset="0"/>
              </a:rPr>
              <a:t>protocol</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grpc-tcp</a:t>
            </a:r>
            <a:endParaRPr lang="nb-NO" sz="1200">
              <a:solidFill>
                <a:srgbClr val="00B050"/>
              </a:solidFill>
              <a:latin typeface="Consolas" panose="020B0609020204030204" pitchFamily="49" charset="0"/>
            </a:endParaRPr>
          </a:p>
        </p:txBody>
      </p:sp>
      <p:sp>
        <p:nvSpPr>
          <p:cNvPr id="3" name="TextBox 2">
            <a:extLst>
              <a:ext uri="{FF2B5EF4-FFF2-40B4-BE49-F238E27FC236}">
                <a16:creationId xmlns:a16="http://schemas.microsoft.com/office/drawing/2014/main" id="{2774CF7C-18E8-25C7-1EEE-32AF4445888B}"/>
              </a:ext>
            </a:extLst>
          </p:cNvPr>
          <p:cNvSpPr txBox="1"/>
          <p:nvPr/>
        </p:nvSpPr>
        <p:spPr>
          <a:xfrm>
            <a:off x="5320668" y="4803147"/>
            <a:ext cx="6684207" cy="1200329"/>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telemetry</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etf</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ubscription</a:t>
            </a:r>
            <a:r>
              <a:rPr lang="nb-NO" sz="1200">
                <a:solidFill>
                  <a:srgbClr val="00B050"/>
                </a:solidFill>
                <a:latin typeface="Consolas" panose="020B0609020204030204" pitchFamily="49" charset="0"/>
              </a:rPr>
              <a:t> 102</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ing</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encode-kvgpb</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filter </a:t>
            </a:r>
            <a:r>
              <a:rPr lang="nb-NO" sz="1200" err="1">
                <a:solidFill>
                  <a:srgbClr val="00B050"/>
                </a:solidFill>
                <a:latin typeface="Consolas" panose="020B0609020204030204" pitchFamily="49" charset="0"/>
              </a:rPr>
              <a:t>xpath</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process-cpu-ios-xe-oper:cpu-usage</a:t>
            </a:r>
            <a:r>
              <a:rPr lang="nb-NO" sz="1200">
                <a:solidFill>
                  <a:srgbClr val="00B050"/>
                </a:solidFill>
                <a:latin typeface="Consolas" panose="020B0609020204030204" pitchFamily="49" charset="0"/>
              </a:rPr>
              <a:t>/</a:t>
            </a:r>
            <a:r>
              <a:rPr lang="nb-NO" sz="1200" err="1">
                <a:solidFill>
                  <a:srgbClr val="00B050"/>
                </a:solidFill>
                <a:latin typeface="Consolas" panose="020B0609020204030204" pitchFamily="49" charset="0"/>
              </a:rPr>
              <a:t>cpu-utilization</a:t>
            </a:r>
            <a:r>
              <a:rPr lang="nb-NO" sz="1200">
                <a:solidFill>
                  <a:srgbClr val="00B050"/>
                </a:solidFill>
                <a:latin typeface="Consolas" panose="020B0609020204030204" pitchFamily="49" charset="0"/>
              </a:rPr>
              <a:t>/five-</a:t>
            </a:r>
            <a:r>
              <a:rPr lang="nb-NO" sz="1200" err="1">
                <a:solidFill>
                  <a:srgbClr val="00B050"/>
                </a:solidFill>
                <a:latin typeface="Consolas" panose="020B0609020204030204" pitchFamily="49" charset="0"/>
              </a:rPr>
              <a:t>seconds</a:t>
            </a:r>
            <a:endParaRPr lang="nb-NO" sz="1200">
              <a:solidFill>
                <a:srgbClr val="00B050"/>
              </a:solidFill>
              <a:latin typeface="Consolas" panose="020B0609020204030204" pitchFamily="49" charset="0"/>
            </a:endParaRP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stream</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yang</a:t>
            </a:r>
            <a:r>
              <a:rPr lang="nb-NO" sz="1200">
                <a:solidFill>
                  <a:srgbClr val="00B050"/>
                </a:solidFill>
                <a:latin typeface="Consolas" panose="020B0609020204030204" pitchFamily="49" charset="0"/>
              </a:rPr>
              <a:t>-push</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update</a:t>
            </a:r>
            <a:r>
              <a:rPr lang="nb-NO" sz="1200">
                <a:solidFill>
                  <a:srgbClr val="00B050"/>
                </a:solidFill>
                <a:latin typeface="Consolas" panose="020B0609020204030204" pitchFamily="49" charset="0"/>
              </a:rPr>
              <a:t>-policy </a:t>
            </a:r>
            <a:r>
              <a:rPr lang="nb-NO" sz="1200" err="1">
                <a:solidFill>
                  <a:srgbClr val="00B050"/>
                </a:solidFill>
                <a:latin typeface="Consolas" panose="020B0609020204030204" pitchFamily="49" charset="0"/>
              </a:rPr>
              <a:t>periodic</a:t>
            </a:r>
            <a:r>
              <a:rPr lang="nb-NO" sz="1200">
                <a:solidFill>
                  <a:srgbClr val="00B050"/>
                </a:solidFill>
                <a:latin typeface="Consolas" panose="020B0609020204030204" pitchFamily="49" charset="0"/>
              </a:rPr>
              <a:t> 500</a:t>
            </a:r>
          </a:p>
          <a:p>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receiver</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ip</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address</a:t>
            </a:r>
            <a:r>
              <a:rPr lang="nb-NO" sz="1200">
                <a:solidFill>
                  <a:srgbClr val="00B050"/>
                </a:solidFill>
                <a:latin typeface="Consolas" panose="020B0609020204030204" pitchFamily="49" charset="0"/>
              </a:rPr>
              <a:t> 192.168.10.7 57000 </a:t>
            </a:r>
            <a:r>
              <a:rPr lang="nb-NO" sz="1200" err="1">
                <a:solidFill>
                  <a:srgbClr val="00B050"/>
                </a:solidFill>
                <a:latin typeface="Consolas" panose="020B0609020204030204" pitchFamily="49" charset="0"/>
              </a:rPr>
              <a:t>protocol</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grpc-tcp</a:t>
            </a:r>
            <a:endParaRPr lang="nb-NO" sz="1200">
              <a:solidFill>
                <a:srgbClr val="00B050"/>
              </a:solidFill>
              <a:latin typeface="Consolas" panose="020B0609020204030204" pitchFamily="49" charset="0"/>
            </a:endParaRPr>
          </a:p>
        </p:txBody>
      </p:sp>
      <p:sp>
        <p:nvSpPr>
          <p:cNvPr id="5" name="Footer Placeholder 6">
            <a:extLst>
              <a:ext uri="{FF2B5EF4-FFF2-40B4-BE49-F238E27FC236}">
                <a16:creationId xmlns:a16="http://schemas.microsoft.com/office/drawing/2014/main" id="{154927B6-778C-CCEB-F6B5-24A57E91074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10" name="Footer Placeholder 6">
            <a:extLst>
              <a:ext uri="{FF2B5EF4-FFF2-40B4-BE49-F238E27FC236}">
                <a16:creationId xmlns:a16="http://schemas.microsoft.com/office/drawing/2014/main" id="{2B6E741D-F3B6-E374-050C-D8C0B42D6623}"/>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t>
            </a:r>
            <a:r>
              <a:rPr lang="sv-SE" sz="1100"/>
              <a:t>Lab </a:t>
            </a:r>
            <a:r>
              <a:rPr lang="sv-SE" sz="1100" err="1"/>
              <a:t>exercise</a:t>
            </a:r>
            <a:r>
              <a:rPr lang="sv-SE" sz="1100"/>
              <a:t> #10: </a:t>
            </a:r>
            <a:r>
              <a:rPr lang="sv-SE" sz="1100" err="1"/>
              <a:t>Install</a:t>
            </a:r>
            <a:r>
              <a:rPr lang="sv-SE" sz="1100"/>
              <a:t> TIG stack</a:t>
            </a:r>
            <a:endParaRPr lang="en-US" sz="1100"/>
          </a:p>
        </p:txBody>
      </p:sp>
      <p:pic>
        <p:nvPicPr>
          <p:cNvPr id="6" name="Picture 5" descr="A blue logo with a black background&#10;&#10;Description automatically generated">
            <a:extLst>
              <a:ext uri="{FF2B5EF4-FFF2-40B4-BE49-F238E27FC236}">
                <a16:creationId xmlns:a16="http://schemas.microsoft.com/office/drawing/2014/main" id="{F0B5BEDD-85A0-1C82-5FBE-D58EDD3687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0050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a:t>In </a:t>
            </a:r>
            <a:r>
              <a:rPr lang="nb-NO" sz="1600" dirty="0" err="1"/>
              <a:t>this</a:t>
            </a:r>
            <a:r>
              <a:rPr lang="nb-NO" sz="1600" dirty="0"/>
              <a:t> </a:t>
            </a:r>
            <a:r>
              <a:rPr lang="nb-NO" sz="1600" dirty="0" err="1"/>
              <a:t>exercise</a:t>
            </a:r>
            <a:r>
              <a:rPr lang="nb-NO" sz="1600" dirty="0"/>
              <a:t> </a:t>
            </a:r>
            <a:r>
              <a:rPr lang="nb-NO" sz="1600" dirty="0" err="1"/>
              <a:t>you</a:t>
            </a:r>
            <a:r>
              <a:rPr lang="nb-NO" sz="1600" dirty="0"/>
              <a:t> </a:t>
            </a:r>
            <a:r>
              <a:rPr lang="nb-NO" sz="1600" dirty="0" err="1"/>
              <a:t>will</a:t>
            </a:r>
            <a:r>
              <a:rPr lang="nb-NO" sz="1600" dirty="0"/>
              <a:t> be hand-held to </a:t>
            </a:r>
            <a:r>
              <a:rPr lang="nb-NO" sz="1600" dirty="0" err="1"/>
              <a:t>build</a:t>
            </a:r>
            <a:r>
              <a:rPr lang="nb-NO" sz="1600" dirty="0"/>
              <a:t> </a:t>
            </a:r>
            <a:r>
              <a:rPr lang="nb-NO" sz="1600" dirty="0" err="1"/>
              <a:t>your</a:t>
            </a:r>
            <a:r>
              <a:rPr lang="nb-NO" sz="1600" dirty="0"/>
              <a:t> first </a:t>
            </a:r>
            <a:r>
              <a:rPr lang="nb-NO" sz="1600" dirty="0" err="1"/>
              <a:t>dashboard</a:t>
            </a:r>
            <a:r>
              <a:rPr lang="nb-NO" sz="1600" dirty="0"/>
              <a:t> in </a:t>
            </a:r>
            <a:r>
              <a:rPr lang="nb-NO" sz="1600" dirty="0" err="1"/>
              <a:t>Grafana</a:t>
            </a:r>
            <a:endParaRPr lang="nb-NO" sz="1600" dirty="0"/>
          </a:p>
          <a:p>
            <a:pPr>
              <a:lnSpc>
                <a:spcPct val="110000"/>
              </a:lnSpc>
            </a:pPr>
            <a:r>
              <a:rPr lang="nb-NO" sz="1600" dirty="0"/>
              <a:t>The </a:t>
            </a:r>
            <a:r>
              <a:rPr lang="nb-NO" sz="1600" dirty="0" err="1"/>
              <a:t>dashboard</a:t>
            </a:r>
            <a:r>
              <a:rPr lang="nb-NO" sz="1600" dirty="0"/>
              <a:t> </a:t>
            </a:r>
            <a:r>
              <a:rPr lang="nb-NO" sz="1600" dirty="0" err="1"/>
              <a:t>will</a:t>
            </a:r>
            <a:r>
              <a:rPr lang="nb-NO" sz="1600" dirty="0"/>
              <a:t> be an AP Dashboard</a:t>
            </a:r>
          </a:p>
          <a:p>
            <a:pPr>
              <a:lnSpc>
                <a:spcPct val="110000"/>
              </a:lnSpc>
            </a:pPr>
            <a:r>
              <a:rPr lang="nb-NO" sz="1600" dirty="0"/>
              <a:t>More </a:t>
            </a:r>
            <a:r>
              <a:rPr lang="nb-NO" sz="1600" dirty="0" err="1"/>
              <a:t>dashboards</a:t>
            </a:r>
            <a:r>
              <a:rPr lang="nb-NO" sz="1600" dirty="0"/>
              <a:t> to be </a:t>
            </a:r>
            <a:r>
              <a:rPr lang="nb-NO" sz="1600" dirty="0" err="1"/>
              <a:t>explored</a:t>
            </a:r>
            <a:r>
              <a:rPr lang="nb-NO" sz="1600" dirty="0"/>
              <a:t> </a:t>
            </a:r>
            <a:r>
              <a:rPr lang="nb-NO" sz="1600" dirty="0" err="1"/>
              <a:t>on</a:t>
            </a:r>
            <a:r>
              <a:rPr lang="nb-NO" sz="1600" dirty="0"/>
              <a:t> </a:t>
            </a:r>
            <a:r>
              <a:rPr lang="nb-NO" sz="1600" dirty="0" err="1"/>
              <a:t>day</a:t>
            </a:r>
            <a:r>
              <a:rPr lang="nb-NO" sz="1600" dirty="0"/>
              <a:t> 2</a:t>
            </a:r>
          </a:p>
          <a:p>
            <a:pPr>
              <a:lnSpc>
                <a:spcPct val="110000"/>
              </a:lnSpc>
            </a:pPr>
            <a:r>
              <a:rPr lang="nb-NO" sz="1600" dirty="0"/>
              <a:t>A </a:t>
            </a:r>
            <a:r>
              <a:rPr lang="nb-NO" sz="1600" dirty="0" err="1"/>
              <a:t>word</a:t>
            </a:r>
            <a:r>
              <a:rPr lang="nb-NO" sz="1600" dirty="0"/>
              <a:t> </a:t>
            </a:r>
            <a:r>
              <a:rPr lang="nb-NO" sz="1600" dirty="0" err="1"/>
              <a:t>of</a:t>
            </a:r>
            <a:r>
              <a:rPr lang="nb-NO" sz="1600" dirty="0"/>
              <a:t> </a:t>
            </a:r>
            <a:r>
              <a:rPr lang="nb-NO" sz="1600" dirty="0" err="1"/>
              <a:t>caution</a:t>
            </a:r>
            <a:r>
              <a:rPr lang="nb-NO" sz="1600" dirty="0"/>
              <a:t> </a:t>
            </a:r>
            <a:r>
              <a:rPr lang="nb-NO" sz="1600" dirty="0" err="1"/>
              <a:t>when</a:t>
            </a:r>
            <a:r>
              <a:rPr lang="nb-NO" sz="1600" dirty="0"/>
              <a:t> </a:t>
            </a:r>
            <a:r>
              <a:rPr lang="nb-NO" sz="1600" dirty="0" err="1"/>
              <a:t>making</a:t>
            </a:r>
            <a:r>
              <a:rPr lang="nb-NO" sz="1600" dirty="0"/>
              <a:t> </a:t>
            </a:r>
            <a:r>
              <a:rPr lang="nb-NO" sz="1600" dirty="0" err="1"/>
              <a:t>your</a:t>
            </a:r>
            <a:r>
              <a:rPr lang="nb-NO" sz="1600" dirty="0"/>
              <a:t> first </a:t>
            </a:r>
            <a:r>
              <a:rPr lang="nb-NO" sz="1600" dirty="0" err="1"/>
              <a:t>dashboards</a:t>
            </a:r>
            <a:r>
              <a:rPr lang="nb-NO" sz="1600" dirty="0"/>
              <a:t>... </a:t>
            </a:r>
            <a:r>
              <a:rPr lang="nb-NO" sz="1600" dirty="0" err="1"/>
              <a:t>don't</a:t>
            </a:r>
            <a:r>
              <a:rPr lang="nb-NO" sz="1600" dirty="0"/>
              <a:t> </a:t>
            </a:r>
            <a:r>
              <a:rPr lang="nb-NO" sz="1600" dirty="0" err="1"/>
              <a:t>use</a:t>
            </a:r>
            <a:r>
              <a:rPr lang="nb-NO" sz="1600" dirty="0"/>
              <a:t> "</a:t>
            </a:r>
            <a:r>
              <a:rPr lang="nb-NO" sz="1600" dirty="0" err="1"/>
              <a:t>Esc</a:t>
            </a:r>
            <a:r>
              <a:rPr lang="nb-NO" sz="1600" dirty="0"/>
              <a:t>" </a:t>
            </a:r>
            <a:r>
              <a:rPr lang="nb-NO" sz="1600" dirty="0" err="1"/>
              <a:t>key</a:t>
            </a:r>
            <a:r>
              <a:rPr lang="nb-NO" sz="1600" dirty="0"/>
              <a:t> </a:t>
            </a:r>
            <a:r>
              <a:rPr lang="nb-NO" sz="1600" dirty="0" err="1"/>
              <a:t>without</a:t>
            </a:r>
            <a:r>
              <a:rPr lang="nb-NO" sz="1600" dirty="0"/>
              <a:t> </a:t>
            </a:r>
            <a:r>
              <a:rPr lang="nb-NO" sz="1600" dirty="0" err="1"/>
              <a:t>saving</a:t>
            </a:r>
            <a:r>
              <a:rPr lang="nb-NO" sz="1600" dirty="0"/>
              <a:t>, </a:t>
            </a:r>
            <a:r>
              <a:rPr lang="nb-NO" sz="1600" dirty="0" err="1"/>
              <a:t>you</a:t>
            </a:r>
            <a:r>
              <a:rPr lang="nb-NO" sz="1600" dirty="0"/>
              <a:t> </a:t>
            </a:r>
            <a:r>
              <a:rPr lang="nb-NO" sz="1600" dirty="0" err="1"/>
              <a:t>might</a:t>
            </a:r>
            <a:r>
              <a:rPr lang="nb-NO" sz="1600" dirty="0"/>
              <a:t> have to do </a:t>
            </a:r>
            <a:r>
              <a:rPr lang="nb-NO" sz="1600" dirty="0" err="1"/>
              <a:t>some</a:t>
            </a:r>
            <a:r>
              <a:rPr lang="nb-NO" sz="1600" dirty="0"/>
              <a:t> </a:t>
            </a:r>
            <a:r>
              <a:rPr lang="nb-NO" sz="1600" dirty="0" err="1"/>
              <a:t>work</a:t>
            </a:r>
            <a:r>
              <a:rPr lang="nb-NO" sz="1600" dirty="0"/>
              <a:t> </a:t>
            </a:r>
            <a:r>
              <a:rPr lang="nb-NO" sz="1600" dirty="0" err="1"/>
              <a:t>again</a:t>
            </a:r>
            <a:r>
              <a:rPr lang="nb-NO" sz="1600" dirty="0"/>
              <a:t>. </a:t>
            </a:r>
            <a:r>
              <a:rPr lang="nb-NO" sz="1600" dirty="0" err="1"/>
              <a:t>You</a:t>
            </a:r>
            <a:r>
              <a:rPr lang="nb-NO" sz="1600" dirty="0"/>
              <a:t> </a:t>
            </a:r>
            <a:r>
              <a:rPr lang="nb-NO" sz="1600" dirty="0" err="1"/>
              <a:t>will</a:t>
            </a:r>
            <a:r>
              <a:rPr lang="nb-NO" sz="1600" dirty="0"/>
              <a:t> </a:t>
            </a:r>
            <a:r>
              <a:rPr lang="nb-NO" sz="1600" dirty="0" err="1"/>
              <a:t>probably</a:t>
            </a:r>
            <a:r>
              <a:rPr lang="nb-NO" sz="1600" dirty="0"/>
              <a:t> do just </a:t>
            </a:r>
            <a:r>
              <a:rPr lang="nb-NO" sz="1600" dirty="0" err="1"/>
              <a:t>that</a:t>
            </a:r>
            <a:r>
              <a:rPr lang="nb-NO" sz="1600" dirty="0"/>
              <a:t>, and </a:t>
            </a:r>
            <a:r>
              <a:rPr lang="nb-NO" sz="1600" dirty="0" err="1"/>
              <a:t>THEN</a:t>
            </a:r>
            <a:r>
              <a:rPr lang="nb-NO" sz="1600" dirty="0"/>
              <a:t> </a:t>
            </a:r>
            <a:r>
              <a:rPr lang="nb-NO" sz="1600" dirty="0" err="1"/>
              <a:t>learn</a:t>
            </a:r>
            <a:r>
              <a:rPr lang="nb-NO" sz="1600" dirty="0"/>
              <a:t> it </a:t>
            </a:r>
            <a:r>
              <a:rPr lang="nb-NO" sz="1600" dirty="0" err="1"/>
              <a:t>the</a:t>
            </a:r>
            <a:r>
              <a:rPr lang="nb-NO" sz="1600" dirty="0"/>
              <a:t> hard </a:t>
            </a:r>
            <a:r>
              <a:rPr lang="nb-NO" sz="1600" dirty="0" err="1"/>
              <a:t>way</a:t>
            </a:r>
            <a:r>
              <a:rPr lang="nb-NO" sz="1600" dirty="0"/>
              <a:t> </a:t>
            </a:r>
            <a:r>
              <a:rPr lang="nb-NO" sz="1600" dirty="0">
                <a:sym typeface="Wingdings" panose="05000000000000000000" pitchFamily="2" charset="2"/>
              </a:rPr>
              <a:t></a:t>
            </a:r>
            <a:endParaRPr lang="nb-NO" sz="1600" dirty="0"/>
          </a:p>
          <a:p>
            <a:pPr>
              <a:lnSpc>
                <a:spcPct val="110000"/>
              </a:lnSpc>
            </a:pPr>
            <a:endParaRPr lang="nb-NO" sz="1600" dirty="0"/>
          </a:p>
          <a:p>
            <a:pPr>
              <a:lnSpc>
                <a:spcPct val="110000"/>
              </a:lnSpc>
            </a:pPr>
            <a:r>
              <a:rPr lang="nb-NO" sz="1600" dirty="0">
                <a:solidFill>
                  <a:srgbClr val="FF0000"/>
                </a:solidFill>
              </a:rPr>
              <a:t>!!! Note !!!</a:t>
            </a:r>
          </a:p>
          <a:p>
            <a:pPr lvl="1">
              <a:lnSpc>
                <a:spcPct val="110000"/>
              </a:lnSpc>
            </a:pPr>
            <a:r>
              <a:rPr lang="nb-NO" sz="1400" dirty="0">
                <a:solidFill>
                  <a:srgbClr val="FF0000"/>
                </a:solidFill>
              </a:rPr>
              <a:t>If </a:t>
            </a:r>
            <a:r>
              <a:rPr lang="nb-NO" sz="1400" dirty="0" err="1">
                <a:solidFill>
                  <a:srgbClr val="FF0000"/>
                </a:solidFill>
              </a:rPr>
              <a:t>you</a:t>
            </a:r>
            <a:r>
              <a:rPr lang="nb-NO" sz="1400" dirty="0">
                <a:solidFill>
                  <a:srgbClr val="FF0000"/>
                </a:solidFill>
              </a:rPr>
              <a:t> </a:t>
            </a:r>
            <a:r>
              <a:rPr lang="nb-NO" sz="1400" dirty="0" err="1">
                <a:solidFill>
                  <a:srgbClr val="FF0000"/>
                </a:solidFill>
              </a:rPr>
              <a:t>are</a:t>
            </a:r>
            <a:r>
              <a:rPr lang="nb-NO" sz="1400" dirty="0">
                <a:solidFill>
                  <a:srgbClr val="FF0000"/>
                </a:solidFill>
              </a:rPr>
              <a:t> </a:t>
            </a:r>
            <a:r>
              <a:rPr lang="nb-NO" sz="1400" dirty="0" err="1">
                <a:solidFill>
                  <a:srgbClr val="FF0000"/>
                </a:solidFill>
              </a:rPr>
              <a:t>doing</a:t>
            </a:r>
            <a:r>
              <a:rPr lang="nb-NO" sz="1400" dirty="0">
                <a:solidFill>
                  <a:srgbClr val="FF0000"/>
                </a:solidFill>
              </a:rPr>
              <a:t> </a:t>
            </a:r>
            <a:r>
              <a:rPr lang="nb-NO" sz="1400" dirty="0" err="1">
                <a:solidFill>
                  <a:srgbClr val="FF0000"/>
                </a:solidFill>
              </a:rPr>
              <a:t>this</a:t>
            </a:r>
            <a:r>
              <a:rPr lang="nb-NO" sz="1400" dirty="0">
                <a:solidFill>
                  <a:srgbClr val="FF0000"/>
                </a:solidFill>
              </a:rPr>
              <a:t> lab </a:t>
            </a:r>
            <a:r>
              <a:rPr lang="nb-NO" sz="1400" dirty="0" err="1">
                <a:solidFill>
                  <a:srgbClr val="FF0000"/>
                </a:solidFill>
              </a:rPr>
              <a:t>exercise</a:t>
            </a:r>
            <a:r>
              <a:rPr lang="nb-NO" sz="1400" dirty="0">
                <a:solidFill>
                  <a:srgbClr val="FF0000"/>
                </a:solidFill>
              </a:rPr>
              <a:t> </a:t>
            </a:r>
            <a:r>
              <a:rPr lang="nb-NO" sz="1400" dirty="0" err="1">
                <a:solidFill>
                  <a:srgbClr val="FF0000"/>
                </a:solidFill>
              </a:rPr>
              <a:t>using</a:t>
            </a:r>
            <a:r>
              <a:rPr lang="nb-NO" sz="1400" dirty="0">
                <a:solidFill>
                  <a:srgbClr val="FF0000"/>
                </a:solidFill>
              </a:rPr>
              <a:t> </a:t>
            </a:r>
            <a:r>
              <a:rPr lang="nb-NO" sz="1400" dirty="0" err="1">
                <a:solidFill>
                  <a:srgbClr val="FF0000"/>
                </a:solidFill>
              </a:rPr>
              <a:t>TIG</a:t>
            </a:r>
            <a:r>
              <a:rPr lang="nb-NO" sz="1400" dirty="0">
                <a:solidFill>
                  <a:srgbClr val="FF0000"/>
                </a:solidFill>
              </a:rPr>
              <a:t> </a:t>
            </a:r>
            <a:r>
              <a:rPr lang="nb-NO" sz="1400" dirty="0" err="1">
                <a:solidFill>
                  <a:srgbClr val="FF0000"/>
                </a:solidFill>
              </a:rPr>
              <a:t>Stack</a:t>
            </a:r>
            <a:r>
              <a:rPr lang="nb-NO" sz="1400" dirty="0">
                <a:solidFill>
                  <a:srgbClr val="FF0000"/>
                </a:solidFill>
              </a:rPr>
              <a:t> </a:t>
            </a:r>
            <a:r>
              <a:rPr lang="nb-NO" sz="1400" dirty="0" err="1">
                <a:solidFill>
                  <a:srgbClr val="FF0000"/>
                </a:solidFill>
              </a:rPr>
              <a:t>on</a:t>
            </a:r>
            <a:r>
              <a:rPr lang="nb-NO" sz="1400" dirty="0">
                <a:solidFill>
                  <a:srgbClr val="FF0000"/>
                </a:solidFill>
              </a:rPr>
              <a:t> a </a:t>
            </a:r>
            <a:r>
              <a:rPr lang="nb-NO" sz="1400" dirty="0" err="1">
                <a:solidFill>
                  <a:srgbClr val="FF0000"/>
                </a:solidFill>
              </a:rPr>
              <a:t>shared</a:t>
            </a:r>
            <a:r>
              <a:rPr lang="nb-NO" sz="1400" dirty="0">
                <a:solidFill>
                  <a:srgbClr val="FF0000"/>
                </a:solidFill>
              </a:rPr>
              <a:t> server</a:t>
            </a:r>
          </a:p>
          <a:p>
            <a:pPr lvl="2">
              <a:lnSpc>
                <a:spcPct val="110000"/>
              </a:lnSpc>
            </a:pPr>
            <a:r>
              <a:rPr lang="nb-NO" sz="1200" dirty="0">
                <a:solidFill>
                  <a:srgbClr val="FF0000"/>
                </a:solidFill>
              </a:rPr>
              <a:t>Have a </a:t>
            </a:r>
            <a:r>
              <a:rPr lang="nb-NO" sz="1200" dirty="0" err="1">
                <a:solidFill>
                  <a:srgbClr val="FF0000"/>
                </a:solidFill>
              </a:rPr>
              <a:t>word</a:t>
            </a:r>
            <a:r>
              <a:rPr lang="nb-NO" sz="1200" dirty="0">
                <a:solidFill>
                  <a:srgbClr val="FF0000"/>
                </a:solidFill>
              </a:rPr>
              <a:t> </a:t>
            </a:r>
            <a:r>
              <a:rPr lang="nb-NO" sz="1200" dirty="0" err="1">
                <a:solidFill>
                  <a:srgbClr val="FF0000"/>
                </a:solidFill>
              </a:rPr>
              <a:t>with</a:t>
            </a:r>
            <a:r>
              <a:rPr lang="nb-NO" sz="1200" dirty="0">
                <a:solidFill>
                  <a:srgbClr val="FF0000"/>
                </a:solidFill>
              </a:rPr>
              <a:t> </a:t>
            </a:r>
            <a:r>
              <a:rPr lang="nb-NO" sz="1200" dirty="0" err="1">
                <a:solidFill>
                  <a:srgbClr val="FF0000"/>
                </a:solidFill>
              </a:rPr>
              <a:t>one</a:t>
            </a:r>
            <a:r>
              <a:rPr lang="nb-NO" sz="1200" dirty="0">
                <a:solidFill>
                  <a:srgbClr val="FF0000"/>
                </a:solidFill>
              </a:rPr>
              <a:t> </a:t>
            </a:r>
            <a:r>
              <a:rPr lang="nb-NO" sz="1200" dirty="0" err="1">
                <a:solidFill>
                  <a:srgbClr val="FF0000"/>
                </a:solidFill>
              </a:rPr>
              <a:t>of</a:t>
            </a:r>
            <a:r>
              <a:rPr lang="nb-NO" sz="1200" dirty="0">
                <a:solidFill>
                  <a:srgbClr val="FF0000"/>
                </a:solidFill>
              </a:rPr>
              <a:t> </a:t>
            </a:r>
            <a:r>
              <a:rPr lang="nb-NO" sz="1200" dirty="0" err="1">
                <a:solidFill>
                  <a:srgbClr val="FF0000"/>
                </a:solidFill>
              </a:rPr>
              <a:t>the</a:t>
            </a:r>
            <a:r>
              <a:rPr lang="nb-NO" sz="1200" dirty="0">
                <a:solidFill>
                  <a:srgbClr val="FF0000"/>
                </a:solidFill>
              </a:rPr>
              <a:t> </a:t>
            </a:r>
            <a:r>
              <a:rPr lang="nb-NO" sz="1200" dirty="0" err="1">
                <a:solidFill>
                  <a:srgbClr val="FF0000"/>
                </a:solidFill>
              </a:rPr>
              <a:t>instructors</a:t>
            </a:r>
            <a:r>
              <a:rPr lang="nb-NO" sz="1200" dirty="0">
                <a:solidFill>
                  <a:srgbClr val="FF0000"/>
                </a:solidFill>
              </a:rPr>
              <a:t> </a:t>
            </a:r>
            <a:r>
              <a:rPr lang="nb-NO" sz="1200" dirty="0" err="1">
                <a:solidFill>
                  <a:srgbClr val="FF0000"/>
                </a:solidFill>
              </a:rPr>
              <a:t>if</a:t>
            </a:r>
            <a:r>
              <a:rPr lang="nb-NO" sz="1200" dirty="0">
                <a:solidFill>
                  <a:srgbClr val="FF0000"/>
                </a:solidFill>
              </a:rPr>
              <a:t> </a:t>
            </a:r>
            <a:r>
              <a:rPr lang="nb-NO" sz="1200" dirty="0" err="1">
                <a:solidFill>
                  <a:srgbClr val="FF0000"/>
                </a:solidFill>
              </a:rPr>
              <a:t>there</a:t>
            </a:r>
            <a:r>
              <a:rPr lang="nb-NO" sz="1200" dirty="0">
                <a:solidFill>
                  <a:srgbClr val="FF0000"/>
                </a:solidFill>
              </a:rPr>
              <a:t> is </a:t>
            </a:r>
            <a:r>
              <a:rPr lang="nb-NO" sz="1200" dirty="0" err="1">
                <a:solidFill>
                  <a:srgbClr val="FF0000"/>
                </a:solidFill>
              </a:rPr>
              <a:t>any</a:t>
            </a:r>
            <a:r>
              <a:rPr lang="nb-NO" sz="1200" dirty="0">
                <a:solidFill>
                  <a:srgbClr val="FF0000"/>
                </a:solidFill>
              </a:rPr>
              <a:t> </a:t>
            </a:r>
            <a:r>
              <a:rPr lang="nb-NO" sz="1200" dirty="0" err="1">
                <a:solidFill>
                  <a:srgbClr val="FF0000"/>
                </a:solidFill>
              </a:rPr>
              <a:t>neccessary</a:t>
            </a:r>
            <a:r>
              <a:rPr lang="nb-NO" sz="1200" dirty="0">
                <a:solidFill>
                  <a:srgbClr val="FF0000"/>
                </a:solidFill>
              </a:rPr>
              <a:t> </a:t>
            </a:r>
            <a:r>
              <a:rPr lang="nb-NO" sz="1200" dirty="0" err="1">
                <a:solidFill>
                  <a:srgbClr val="FF0000"/>
                </a:solidFill>
              </a:rPr>
              <a:t>coordination</a:t>
            </a:r>
            <a:r>
              <a:rPr lang="nb-NO" sz="1200" dirty="0">
                <a:solidFill>
                  <a:srgbClr val="FF0000"/>
                </a:solidFill>
              </a:rPr>
              <a:t> or </a:t>
            </a:r>
            <a:r>
              <a:rPr lang="nb-NO" sz="1200" dirty="0" err="1">
                <a:solidFill>
                  <a:srgbClr val="FF0000"/>
                </a:solidFill>
              </a:rPr>
              <a:t>steps</a:t>
            </a:r>
            <a:r>
              <a:rPr lang="nb-NO" sz="1200" dirty="0">
                <a:solidFill>
                  <a:srgbClr val="FF0000"/>
                </a:solidFill>
              </a:rPr>
              <a:t> </a:t>
            </a:r>
            <a:r>
              <a:rPr lang="nb-NO" sz="1200" dirty="0" err="1">
                <a:solidFill>
                  <a:srgbClr val="FF0000"/>
                </a:solidFill>
              </a:rPr>
              <a:t>that</a:t>
            </a:r>
            <a:r>
              <a:rPr lang="nb-NO" sz="1200" dirty="0">
                <a:solidFill>
                  <a:srgbClr val="FF0000"/>
                </a:solidFill>
              </a:rPr>
              <a:t> </a:t>
            </a:r>
            <a:r>
              <a:rPr lang="nb-NO" sz="1200" dirty="0" err="1">
                <a:solidFill>
                  <a:srgbClr val="FF0000"/>
                </a:solidFill>
              </a:rPr>
              <a:t>differ</a:t>
            </a:r>
            <a:endParaRPr lang="nb-NO" sz="1200" dirty="0">
              <a:solidFill>
                <a:srgbClr val="FF0000"/>
              </a:solidFill>
            </a:endParaRPr>
          </a:p>
          <a:p>
            <a:pPr lvl="2">
              <a:lnSpc>
                <a:spcPct val="110000"/>
              </a:lnSpc>
            </a:pPr>
            <a:r>
              <a:rPr lang="nb-NO" sz="1200" dirty="0" err="1">
                <a:solidFill>
                  <a:srgbClr val="FF0000"/>
                </a:solidFill>
              </a:rPr>
              <a:t>Replace</a:t>
            </a:r>
            <a:r>
              <a:rPr lang="nb-NO" sz="1200" dirty="0">
                <a:solidFill>
                  <a:srgbClr val="FF0000"/>
                </a:solidFill>
              </a:rPr>
              <a:t> "Your </a:t>
            </a:r>
            <a:r>
              <a:rPr lang="nb-NO" sz="1200" dirty="0" err="1">
                <a:solidFill>
                  <a:srgbClr val="FF0000"/>
                </a:solidFill>
              </a:rPr>
              <a:t>Ubuntu</a:t>
            </a:r>
            <a:r>
              <a:rPr lang="nb-NO" sz="1200" dirty="0">
                <a:solidFill>
                  <a:srgbClr val="FF0000"/>
                </a:solidFill>
              </a:rPr>
              <a:t> IP" </a:t>
            </a:r>
            <a:r>
              <a:rPr lang="nb-NO" sz="1200" dirty="0" err="1">
                <a:solidFill>
                  <a:srgbClr val="FF0000"/>
                </a:solidFill>
              </a:rPr>
              <a:t>with</a:t>
            </a:r>
            <a:r>
              <a:rPr lang="nb-NO" sz="1200" dirty="0">
                <a:solidFill>
                  <a:srgbClr val="FF0000"/>
                </a:solidFill>
              </a:rPr>
              <a:t> </a:t>
            </a:r>
            <a:r>
              <a:rPr lang="nb-NO" sz="1200" dirty="0" err="1">
                <a:solidFill>
                  <a:srgbClr val="FF0000"/>
                </a:solidFill>
              </a:rPr>
              <a:t>the</a:t>
            </a:r>
            <a:r>
              <a:rPr lang="nb-NO" sz="1200" dirty="0">
                <a:solidFill>
                  <a:srgbClr val="FF0000"/>
                </a:solidFill>
              </a:rPr>
              <a:t> </a:t>
            </a:r>
            <a:r>
              <a:rPr lang="nb-NO" sz="1200" dirty="0" err="1">
                <a:solidFill>
                  <a:srgbClr val="FF0000"/>
                </a:solidFill>
              </a:rPr>
              <a:t>respective</a:t>
            </a:r>
            <a:r>
              <a:rPr lang="nb-NO" sz="1200" dirty="0">
                <a:solidFill>
                  <a:srgbClr val="FF0000"/>
                </a:solidFill>
              </a:rPr>
              <a:t> IP </a:t>
            </a:r>
            <a:r>
              <a:rPr lang="nb-NO" sz="1200" dirty="0" err="1">
                <a:solidFill>
                  <a:srgbClr val="FF0000"/>
                </a:solidFill>
              </a:rPr>
              <a:t>of</a:t>
            </a:r>
            <a:r>
              <a:rPr lang="nb-NO" sz="1200" dirty="0">
                <a:solidFill>
                  <a:srgbClr val="FF0000"/>
                </a:solidFill>
              </a:rPr>
              <a:t> </a:t>
            </a:r>
            <a:r>
              <a:rPr lang="nb-NO" sz="1200" dirty="0" err="1">
                <a:solidFill>
                  <a:srgbClr val="FF0000"/>
                </a:solidFill>
              </a:rPr>
              <a:t>the</a:t>
            </a:r>
            <a:r>
              <a:rPr lang="nb-NO" sz="1200" dirty="0">
                <a:solidFill>
                  <a:srgbClr val="FF0000"/>
                </a:solidFill>
              </a:rPr>
              <a:t> </a:t>
            </a:r>
            <a:r>
              <a:rPr lang="nb-NO" sz="1200" dirty="0" err="1">
                <a:solidFill>
                  <a:srgbClr val="FF0000"/>
                </a:solidFill>
              </a:rPr>
              <a:t>shared</a:t>
            </a:r>
            <a:r>
              <a:rPr lang="nb-NO" sz="1200" dirty="0">
                <a:solidFill>
                  <a:srgbClr val="FF0000"/>
                </a:solidFill>
              </a:rPr>
              <a:t> server </a:t>
            </a:r>
            <a:r>
              <a:rPr lang="nb-NO" sz="1200" dirty="0" err="1">
                <a:solidFill>
                  <a:srgbClr val="FF0000"/>
                </a:solidFill>
              </a:rPr>
              <a:t>you</a:t>
            </a:r>
            <a:r>
              <a:rPr lang="nb-NO" sz="1200" dirty="0">
                <a:solidFill>
                  <a:srgbClr val="FF0000"/>
                </a:solidFill>
              </a:rPr>
              <a:t> </a:t>
            </a:r>
            <a:r>
              <a:rPr lang="nb-NO" sz="1200" dirty="0" err="1">
                <a:solidFill>
                  <a:srgbClr val="FF0000"/>
                </a:solidFill>
              </a:rPr>
              <a:t>are</a:t>
            </a:r>
            <a:r>
              <a:rPr lang="nb-NO" sz="1200" dirty="0">
                <a:solidFill>
                  <a:srgbClr val="FF0000"/>
                </a:solidFill>
              </a:rPr>
              <a:t> </a:t>
            </a:r>
            <a:r>
              <a:rPr lang="nb-NO" sz="1200" dirty="0" err="1">
                <a:solidFill>
                  <a:srgbClr val="FF0000"/>
                </a:solidFill>
              </a:rPr>
              <a:t>using</a:t>
            </a:r>
            <a:endParaRPr lang="nb-NO" sz="1200" dirty="0">
              <a:solidFill>
                <a:srgbClr val="FF0000"/>
              </a:solidFill>
            </a:endParaRPr>
          </a:p>
          <a:p>
            <a:pPr lvl="2">
              <a:lnSpc>
                <a:spcPct val="110000"/>
              </a:lnSpc>
            </a:pPr>
            <a:r>
              <a:rPr lang="nb-NO" sz="1200" dirty="0">
                <a:solidFill>
                  <a:srgbClr val="FF0000"/>
                </a:solidFill>
              </a:rPr>
              <a:t>If </a:t>
            </a:r>
            <a:r>
              <a:rPr lang="nb-NO" sz="1200" dirty="0" err="1">
                <a:solidFill>
                  <a:srgbClr val="FF0000"/>
                </a:solidFill>
              </a:rPr>
              <a:t>you</a:t>
            </a:r>
            <a:r>
              <a:rPr lang="nb-NO" sz="1200" dirty="0">
                <a:solidFill>
                  <a:srgbClr val="FF0000"/>
                </a:solidFill>
              </a:rPr>
              <a:t> have </a:t>
            </a:r>
            <a:r>
              <a:rPr lang="nb-NO" sz="1200" dirty="0" err="1">
                <a:solidFill>
                  <a:srgbClr val="FF0000"/>
                </a:solidFill>
              </a:rPr>
              <a:t>your</a:t>
            </a:r>
            <a:r>
              <a:rPr lang="nb-NO" sz="1200" dirty="0">
                <a:solidFill>
                  <a:srgbClr val="FF0000"/>
                </a:solidFill>
              </a:rPr>
              <a:t> </a:t>
            </a:r>
            <a:r>
              <a:rPr lang="nb-NO" sz="1200" dirty="0" err="1">
                <a:solidFill>
                  <a:srgbClr val="FF0000"/>
                </a:solidFill>
              </a:rPr>
              <a:t>own</a:t>
            </a:r>
            <a:r>
              <a:rPr lang="nb-NO" sz="1200" dirty="0">
                <a:solidFill>
                  <a:srgbClr val="FF0000"/>
                </a:solidFill>
              </a:rPr>
              <a:t> </a:t>
            </a:r>
            <a:r>
              <a:rPr lang="nb-NO" sz="1200" dirty="0" err="1">
                <a:solidFill>
                  <a:srgbClr val="FF0000"/>
                </a:solidFill>
              </a:rPr>
              <a:t>WLC</a:t>
            </a:r>
            <a:r>
              <a:rPr lang="nb-NO" sz="1200" dirty="0">
                <a:solidFill>
                  <a:srgbClr val="FF0000"/>
                </a:solidFill>
              </a:rPr>
              <a:t>, do </a:t>
            </a:r>
            <a:r>
              <a:rPr lang="nb-NO" sz="1200" dirty="0" err="1">
                <a:solidFill>
                  <a:srgbClr val="FF0000"/>
                </a:solidFill>
              </a:rPr>
              <a:t>the</a:t>
            </a:r>
            <a:r>
              <a:rPr lang="nb-NO" sz="1200" dirty="0">
                <a:solidFill>
                  <a:srgbClr val="FF0000"/>
                </a:solidFill>
              </a:rPr>
              <a:t> </a:t>
            </a:r>
            <a:r>
              <a:rPr lang="nb-NO" sz="1200" dirty="0" err="1">
                <a:solidFill>
                  <a:srgbClr val="FF0000"/>
                </a:solidFill>
              </a:rPr>
              <a:t>next</a:t>
            </a:r>
            <a:r>
              <a:rPr lang="nb-NO" sz="1200" dirty="0">
                <a:solidFill>
                  <a:srgbClr val="FF0000"/>
                </a:solidFill>
              </a:rPr>
              <a:t> slide (</a:t>
            </a:r>
            <a:r>
              <a:rPr lang="nb-NO" sz="1200" dirty="0" err="1">
                <a:solidFill>
                  <a:srgbClr val="FF0000"/>
                </a:solidFill>
              </a:rPr>
              <a:t>WLC</a:t>
            </a:r>
            <a:r>
              <a:rPr lang="nb-NO" sz="1200" dirty="0">
                <a:solidFill>
                  <a:srgbClr val="FF0000"/>
                </a:solidFill>
              </a:rPr>
              <a:t> </a:t>
            </a:r>
            <a:r>
              <a:rPr lang="nb-NO" sz="1200" dirty="0" err="1">
                <a:solidFill>
                  <a:srgbClr val="FF0000"/>
                </a:solidFill>
              </a:rPr>
              <a:t>telemetry</a:t>
            </a:r>
            <a:r>
              <a:rPr lang="nb-NO" sz="1200" dirty="0">
                <a:solidFill>
                  <a:srgbClr val="FF0000"/>
                </a:solidFill>
              </a:rPr>
              <a:t> </a:t>
            </a:r>
            <a:r>
              <a:rPr lang="nb-NO" sz="1200" dirty="0" err="1">
                <a:solidFill>
                  <a:srgbClr val="FF0000"/>
                </a:solidFill>
              </a:rPr>
              <a:t>subsctiptions</a:t>
            </a:r>
            <a:r>
              <a:rPr lang="nb-NO" sz="1200" dirty="0">
                <a:solidFill>
                  <a:srgbClr val="FF0000"/>
                </a:solidFill>
              </a:rPr>
              <a:t>), </a:t>
            </a:r>
            <a:r>
              <a:rPr lang="nb-NO" sz="1200" dirty="0" err="1">
                <a:solidFill>
                  <a:srgbClr val="FF0000"/>
                </a:solidFill>
              </a:rPr>
              <a:t>then</a:t>
            </a:r>
            <a:r>
              <a:rPr lang="nb-NO" sz="1200" dirty="0">
                <a:solidFill>
                  <a:srgbClr val="FF0000"/>
                </a:solidFill>
              </a:rPr>
              <a:t> skip to slide 95 (</a:t>
            </a:r>
            <a:r>
              <a:rPr lang="nb-NO" sz="1200" dirty="0" err="1">
                <a:solidFill>
                  <a:srgbClr val="FF0000"/>
                </a:solidFill>
              </a:rPr>
              <a:t>Create</a:t>
            </a:r>
            <a:r>
              <a:rPr lang="nb-NO" sz="1200" dirty="0">
                <a:solidFill>
                  <a:srgbClr val="FF0000"/>
                </a:solidFill>
              </a:rPr>
              <a:t> </a:t>
            </a:r>
            <a:r>
              <a:rPr lang="nb-NO" sz="1200" dirty="0" err="1">
                <a:solidFill>
                  <a:srgbClr val="FF0000"/>
                </a:solidFill>
              </a:rPr>
              <a:t>your</a:t>
            </a:r>
            <a:r>
              <a:rPr lang="nb-NO" sz="1200" dirty="0">
                <a:solidFill>
                  <a:srgbClr val="FF0000"/>
                </a:solidFill>
              </a:rPr>
              <a:t> first Dashboard) </a:t>
            </a:r>
          </a:p>
          <a:p>
            <a:pPr lvl="2">
              <a:lnSpc>
                <a:spcPct val="110000"/>
              </a:lnSpc>
            </a:pPr>
            <a:r>
              <a:rPr lang="nb-NO" sz="1200" dirty="0">
                <a:solidFill>
                  <a:srgbClr val="FF0000"/>
                </a:solidFill>
              </a:rPr>
              <a:t>If </a:t>
            </a:r>
            <a:r>
              <a:rPr lang="nb-NO" sz="1200" dirty="0" err="1">
                <a:solidFill>
                  <a:srgbClr val="FF0000"/>
                </a:solidFill>
              </a:rPr>
              <a:t>you</a:t>
            </a:r>
            <a:r>
              <a:rPr lang="nb-NO" sz="1200" dirty="0">
                <a:solidFill>
                  <a:srgbClr val="FF0000"/>
                </a:solidFill>
              </a:rPr>
              <a:t> </a:t>
            </a:r>
            <a:r>
              <a:rPr lang="nb-NO" sz="1200" dirty="0" err="1">
                <a:solidFill>
                  <a:srgbClr val="FF0000"/>
                </a:solidFill>
              </a:rPr>
              <a:t>are</a:t>
            </a:r>
            <a:r>
              <a:rPr lang="nb-NO" sz="1200" dirty="0">
                <a:solidFill>
                  <a:srgbClr val="FF0000"/>
                </a:solidFill>
              </a:rPr>
              <a:t> </a:t>
            </a:r>
            <a:r>
              <a:rPr lang="nb-NO" sz="1200" dirty="0" err="1">
                <a:solidFill>
                  <a:srgbClr val="FF0000"/>
                </a:solidFill>
              </a:rPr>
              <a:t>using</a:t>
            </a:r>
            <a:r>
              <a:rPr lang="nb-NO" sz="1200" dirty="0">
                <a:solidFill>
                  <a:srgbClr val="FF0000"/>
                </a:solidFill>
              </a:rPr>
              <a:t> </a:t>
            </a:r>
            <a:r>
              <a:rPr lang="nb-NO" sz="1200" dirty="0" err="1">
                <a:solidFill>
                  <a:srgbClr val="FF0000"/>
                </a:solidFill>
              </a:rPr>
              <a:t>shared</a:t>
            </a:r>
            <a:r>
              <a:rPr lang="nb-NO" sz="1200" dirty="0">
                <a:solidFill>
                  <a:srgbClr val="FF0000"/>
                </a:solidFill>
              </a:rPr>
              <a:t> </a:t>
            </a:r>
            <a:r>
              <a:rPr lang="nb-NO" sz="1200" dirty="0" err="1">
                <a:solidFill>
                  <a:srgbClr val="FF0000"/>
                </a:solidFill>
              </a:rPr>
              <a:t>WLC</a:t>
            </a:r>
            <a:r>
              <a:rPr lang="nb-NO" sz="1200" dirty="0">
                <a:solidFill>
                  <a:srgbClr val="FF0000"/>
                </a:solidFill>
              </a:rPr>
              <a:t>, skip to slide 95 (</a:t>
            </a:r>
            <a:r>
              <a:rPr lang="nb-NO" sz="1200" dirty="0" err="1">
                <a:solidFill>
                  <a:srgbClr val="FF0000"/>
                </a:solidFill>
              </a:rPr>
              <a:t>Create</a:t>
            </a:r>
            <a:r>
              <a:rPr lang="nb-NO" sz="1200" dirty="0">
                <a:solidFill>
                  <a:srgbClr val="FF0000"/>
                </a:solidFill>
              </a:rPr>
              <a:t> </a:t>
            </a:r>
            <a:r>
              <a:rPr lang="nb-NO" sz="1200" dirty="0" err="1">
                <a:solidFill>
                  <a:srgbClr val="FF0000"/>
                </a:solidFill>
              </a:rPr>
              <a:t>your</a:t>
            </a:r>
            <a:r>
              <a:rPr lang="nb-NO" sz="1200" dirty="0">
                <a:solidFill>
                  <a:srgbClr val="FF0000"/>
                </a:solidFill>
              </a:rPr>
              <a:t> first Dashboard)</a:t>
            </a:r>
          </a:p>
          <a:p>
            <a:pPr marL="0" indent="0">
              <a:lnSpc>
                <a:spcPct val="110000"/>
              </a:lnSpc>
              <a:buNone/>
            </a:pPr>
            <a:endParaRPr lang="nb-NO" sz="1000" dirty="0"/>
          </a:p>
          <a:p>
            <a:pPr lvl="1">
              <a:lnSpc>
                <a:spcPct val="110000"/>
              </a:lnSpc>
            </a:pPr>
            <a:endParaRPr lang="nb-NO" sz="10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US"/>
              <a:t>Lab exercise #11: Build your first Grafana Dashboard</a:t>
            </a:r>
            <a:endParaRPr lang="en-GB"/>
          </a:p>
        </p:txBody>
      </p:sp>
      <p:sp>
        <p:nvSpPr>
          <p:cNvPr id="3" name="Footer Placeholder 6">
            <a:extLst>
              <a:ext uri="{FF2B5EF4-FFF2-40B4-BE49-F238E27FC236}">
                <a16:creationId xmlns:a16="http://schemas.microsoft.com/office/drawing/2014/main" id="{FCA57180-36AA-80E0-D520-33930B6A4E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7048664-C1F4-DCB0-A422-77268E1D8FF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1: Build your first Grafana Dashboard</a:t>
            </a:r>
          </a:p>
        </p:txBody>
      </p:sp>
      <p:pic>
        <p:nvPicPr>
          <p:cNvPr id="2" name="Picture 1" descr="A blue logo with a black background&#10;&#10;Description automatically generated">
            <a:extLst>
              <a:ext uri="{FF2B5EF4-FFF2-40B4-BE49-F238E27FC236}">
                <a16:creationId xmlns:a16="http://schemas.microsoft.com/office/drawing/2014/main" id="{2FF74BCC-7F5F-716C-C1EC-CBE56FD245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224235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5</a:t>
            </a:fld>
            <a:endParaRPr lang="en-GB"/>
          </a:p>
        </p:txBody>
      </p:sp>
      <p:sp>
        <p:nvSpPr>
          <p:cNvPr id="180" name="Text+Image 50:50"/>
          <p:cNvSpPr txBox="1">
            <a:spLocks noGrp="1"/>
          </p:cNvSpPr>
          <p:nvPr>
            <p:ph type="title"/>
          </p:nvPr>
        </p:nvSpPr>
        <p:spPr>
          <a:xfrm>
            <a:off x="540406" y="305146"/>
            <a:ext cx="11109600" cy="540000"/>
          </a:xfrm>
        </p:spPr>
        <p:txBody>
          <a:bodyPr anchor="ctr">
            <a:normAutofit/>
          </a:bodyPr>
          <a:lstStyle/>
          <a:p>
            <a:r>
              <a:rPr lang="en-US"/>
              <a:t>Add the following telemetry subscriptions on the WLC</a:t>
            </a:r>
            <a:endParaRPr lang="en-GB"/>
          </a:p>
        </p:txBody>
      </p:sp>
      <p:sp>
        <p:nvSpPr>
          <p:cNvPr id="3" name="Footer Placeholder 6">
            <a:extLst>
              <a:ext uri="{FF2B5EF4-FFF2-40B4-BE49-F238E27FC236}">
                <a16:creationId xmlns:a16="http://schemas.microsoft.com/office/drawing/2014/main" id="{FCA57180-36AA-80E0-D520-33930B6A4E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37048664-C1F4-DCB0-A422-77268E1D8FF6}"/>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exercise #11: Build your first Grafana Dashboard</a:t>
            </a:r>
          </a:p>
        </p:txBody>
      </p:sp>
      <p:sp>
        <p:nvSpPr>
          <p:cNvPr id="5" name="TextBox 4">
            <a:extLst>
              <a:ext uri="{FF2B5EF4-FFF2-40B4-BE49-F238E27FC236}">
                <a16:creationId xmlns:a16="http://schemas.microsoft.com/office/drawing/2014/main" id="{FDB223CF-E02F-2C31-0808-643E8A2B1951}"/>
              </a:ext>
            </a:extLst>
          </p:cNvPr>
          <p:cNvSpPr txBox="1"/>
          <p:nvPr/>
        </p:nvSpPr>
        <p:spPr>
          <a:xfrm>
            <a:off x="540000" y="1185231"/>
            <a:ext cx="10942086" cy="1384995"/>
          </a:xfrm>
          <a:prstGeom prst="rect">
            <a:avLst/>
          </a:prstGeom>
          <a:solidFill>
            <a:schemeClr val="tx1"/>
          </a:solidFill>
        </p:spPr>
        <p:txBody>
          <a:bodyPr wrap="square">
            <a:spAutoFit/>
          </a:bodyPr>
          <a:lstStyle/>
          <a:p>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5</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ing</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e-kvgpb</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en-US" sz="1200" dirty="0">
                <a:solidFill>
                  <a:srgbClr val="00B050"/>
                </a:solidFill>
                <a:latin typeface="Consolas" panose="020B0609020204030204" pitchFamily="49" charset="0"/>
              </a:rPr>
              <a:t>filter </a:t>
            </a:r>
            <a:r>
              <a:rPr lang="en-US" sz="1200" dirty="0" err="1">
                <a:solidFill>
                  <a:srgbClr val="00B050"/>
                </a:solidFill>
                <a:latin typeface="Consolas" panose="020B0609020204030204" pitchFamily="49" charset="0"/>
              </a:rPr>
              <a:t>xpath</a:t>
            </a:r>
            <a:r>
              <a:rPr lang="en-US" sz="1200" dirty="0">
                <a:solidFill>
                  <a:srgbClr val="00B050"/>
                </a:solidFill>
                <a:latin typeface="Consolas" panose="020B0609020204030204" pitchFamily="49" charset="0"/>
              </a:rPr>
              <a:t> /</a:t>
            </a:r>
            <a:r>
              <a:rPr lang="en-US" sz="1200" dirty="0" err="1">
                <a:solidFill>
                  <a:srgbClr val="00B050"/>
                </a:solidFill>
                <a:latin typeface="Consolas" panose="020B0609020204030204" pitchFamily="49" charset="0"/>
              </a:rPr>
              <a:t>wireless-access-point-oper:access-point-oper-data</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access-point-oper:ap-name-mac-map</a:t>
            </a:r>
            <a:r>
              <a:rPr lang="en-US" sz="1200" dirty="0">
                <a:solidFill>
                  <a:srgbClr val="00B050"/>
                </a:solidFill>
                <a:latin typeface="Consolas" panose="020B0609020204030204" pitchFamily="49" charset="0"/>
              </a:rPr>
              <a:t> </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tream</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yang</a:t>
            </a:r>
            <a:r>
              <a:rPr lang="nb-NO" sz="1200" dirty="0">
                <a:solidFill>
                  <a:srgbClr val="00B050"/>
                </a:solidFill>
                <a:latin typeface="Consolas" panose="020B0609020204030204" pitchFamily="49" charset="0"/>
              </a:rPr>
              <a:t>-push</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update</a:t>
            </a:r>
            <a:r>
              <a:rPr lang="nb-NO" sz="1200" dirty="0">
                <a:solidFill>
                  <a:srgbClr val="00B050"/>
                </a:solidFill>
                <a:latin typeface="Consolas" panose="020B0609020204030204" pitchFamily="49" charset="0"/>
              </a:rPr>
              <a:t>-policy </a:t>
            </a:r>
            <a:r>
              <a:rPr lang="nb-NO" sz="1200" dirty="0" err="1">
                <a:solidFill>
                  <a:srgbClr val="00B050"/>
                </a:solidFill>
                <a:latin typeface="Consolas" panose="020B0609020204030204" pitchFamily="49" charset="0"/>
              </a:rPr>
              <a:t>periodic</a:t>
            </a:r>
            <a:r>
              <a:rPr lang="nb-NO" sz="1200" dirty="0">
                <a:solidFill>
                  <a:srgbClr val="00B050"/>
                </a:solidFill>
                <a:latin typeface="Consolas" panose="020B0609020204030204" pitchFamily="49" charset="0"/>
              </a:rPr>
              <a:t> 30000</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receiver</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p</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address</a:t>
            </a:r>
            <a:r>
              <a:rPr lang="nb-NO" sz="1200" dirty="0">
                <a:solidFill>
                  <a:srgbClr val="00B050"/>
                </a:solidFill>
                <a:latin typeface="Consolas" panose="020B0609020204030204" pitchFamily="49" charset="0"/>
              </a:rPr>
              <a:t> 192.168.10.7 57000 </a:t>
            </a:r>
            <a:r>
              <a:rPr lang="nb-NO" sz="1200" dirty="0" err="1">
                <a:solidFill>
                  <a:srgbClr val="00B050"/>
                </a:solidFill>
                <a:latin typeface="Consolas" panose="020B0609020204030204" pitchFamily="49" charset="0"/>
              </a:rPr>
              <a:t>protocol</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grpc-tcp</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do show </a:t>
            </a:r>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5</a:t>
            </a:r>
          </a:p>
        </p:txBody>
      </p:sp>
      <p:sp>
        <p:nvSpPr>
          <p:cNvPr id="6" name="TextBox 5">
            <a:extLst>
              <a:ext uri="{FF2B5EF4-FFF2-40B4-BE49-F238E27FC236}">
                <a16:creationId xmlns:a16="http://schemas.microsoft.com/office/drawing/2014/main" id="{CA588530-5971-4674-8DC0-FBE9D79AC3DE}"/>
              </a:ext>
            </a:extLst>
          </p:cNvPr>
          <p:cNvSpPr txBox="1"/>
          <p:nvPr/>
        </p:nvSpPr>
        <p:spPr>
          <a:xfrm>
            <a:off x="540000" y="2828894"/>
            <a:ext cx="10942086" cy="1384995"/>
          </a:xfrm>
          <a:prstGeom prst="rect">
            <a:avLst/>
          </a:prstGeom>
          <a:solidFill>
            <a:schemeClr val="tx1"/>
          </a:solidFill>
        </p:spPr>
        <p:txBody>
          <a:bodyPr wrap="square">
            <a:spAutoFit/>
          </a:bodyPr>
          <a:lstStyle/>
          <a:p>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6</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ing</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e-kvgpb</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en-US" sz="1200" dirty="0">
                <a:solidFill>
                  <a:srgbClr val="00B050"/>
                </a:solidFill>
                <a:latin typeface="Consolas" panose="020B0609020204030204" pitchFamily="49" charset="0"/>
              </a:rPr>
              <a:t>filter </a:t>
            </a:r>
            <a:r>
              <a:rPr lang="en-US" sz="1200" dirty="0" err="1">
                <a:solidFill>
                  <a:srgbClr val="00B050"/>
                </a:solidFill>
                <a:latin typeface="Consolas" panose="020B0609020204030204" pitchFamily="49" charset="0"/>
              </a:rPr>
              <a:t>xpath</a:t>
            </a:r>
            <a:r>
              <a:rPr lang="en-US" sz="1200" dirty="0">
                <a:solidFill>
                  <a:srgbClr val="00B050"/>
                </a:solidFill>
                <a:latin typeface="Consolas" panose="020B0609020204030204" pitchFamily="49" charset="0"/>
              </a:rPr>
              <a:t> /</a:t>
            </a:r>
            <a:r>
              <a:rPr lang="en-US" sz="1200" dirty="0" err="1">
                <a:solidFill>
                  <a:srgbClr val="00B050"/>
                </a:solidFill>
                <a:latin typeface="Consolas" panose="020B0609020204030204" pitchFamily="49" charset="0"/>
              </a:rPr>
              <a:t>wireless-rrm-oper:rrm-oper-data</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rrm-oper:rrm-measurement</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rrm-oper:load</a:t>
            </a:r>
            <a:r>
              <a:rPr lang="en-US" sz="1200" dirty="0">
                <a:solidFill>
                  <a:srgbClr val="00B050"/>
                </a:solidFill>
                <a:latin typeface="Consolas" panose="020B0609020204030204" pitchFamily="49" charset="0"/>
              </a:rPr>
              <a:t> </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tream</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yang</a:t>
            </a:r>
            <a:r>
              <a:rPr lang="nb-NO" sz="1200" dirty="0">
                <a:solidFill>
                  <a:srgbClr val="00B050"/>
                </a:solidFill>
                <a:latin typeface="Consolas" panose="020B0609020204030204" pitchFamily="49" charset="0"/>
              </a:rPr>
              <a:t>-push</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update</a:t>
            </a:r>
            <a:r>
              <a:rPr lang="nb-NO" sz="1200" dirty="0">
                <a:solidFill>
                  <a:srgbClr val="00B050"/>
                </a:solidFill>
                <a:latin typeface="Consolas" panose="020B0609020204030204" pitchFamily="49" charset="0"/>
              </a:rPr>
              <a:t>-policy </a:t>
            </a:r>
            <a:r>
              <a:rPr lang="nb-NO" sz="1200" dirty="0" err="1">
                <a:solidFill>
                  <a:srgbClr val="00B050"/>
                </a:solidFill>
                <a:latin typeface="Consolas" panose="020B0609020204030204" pitchFamily="49" charset="0"/>
              </a:rPr>
              <a:t>periodic</a:t>
            </a:r>
            <a:r>
              <a:rPr lang="nb-NO" sz="1200" dirty="0">
                <a:solidFill>
                  <a:srgbClr val="00B050"/>
                </a:solidFill>
                <a:latin typeface="Consolas" panose="020B0609020204030204" pitchFamily="49" charset="0"/>
              </a:rPr>
              <a:t> 5000</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receiver</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p</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address</a:t>
            </a:r>
            <a:r>
              <a:rPr lang="nb-NO" sz="1200" dirty="0">
                <a:solidFill>
                  <a:srgbClr val="00B050"/>
                </a:solidFill>
                <a:latin typeface="Consolas" panose="020B0609020204030204" pitchFamily="49" charset="0"/>
              </a:rPr>
              <a:t> 192.168.10.7 57000 </a:t>
            </a:r>
            <a:r>
              <a:rPr lang="nb-NO" sz="1200" dirty="0" err="1">
                <a:solidFill>
                  <a:srgbClr val="00B050"/>
                </a:solidFill>
                <a:latin typeface="Consolas" panose="020B0609020204030204" pitchFamily="49" charset="0"/>
              </a:rPr>
              <a:t>protocol</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grpc-tcp</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do show </a:t>
            </a:r>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6</a:t>
            </a:r>
          </a:p>
        </p:txBody>
      </p:sp>
      <p:sp>
        <p:nvSpPr>
          <p:cNvPr id="7" name="TextBox 6">
            <a:extLst>
              <a:ext uri="{FF2B5EF4-FFF2-40B4-BE49-F238E27FC236}">
                <a16:creationId xmlns:a16="http://schemas.microsoft.com/office/drawing/2014/main" id="{1CDDBDB4-0B45-9122-D416-185D4916F3DD}"/>
              </a:ext>
            </a:extLst>
          </p:cNvPr>
          <p:cNvSpPr txBox="1"/>
          <p:nvPr/>
        </p:nvSpPr>
        <p:spPr>
          <a:xfrm>
            <a:off x="540000" y="4465727"/>
            <a:ext cx="10942086" cy="1569660"/>
          </a:xfrm>
          <a:prstGeom prst="rect">
            <a:avLst/>
          </a:prstGeom>
          <a:solidFill>
            <a:schemeClr val="tx1"/>
          </a:solidFill>
        </p:spPr>
        <p:txBody>
          <a:bodyPr wrap="square">
            <a:spAutoFit/>
          </a:bodyPr>
          <a:lstStyle/>
          <a:p>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7</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ing</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encode-kvgpb</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en-US" sz="1200" dirty="0">
                <a:solidFill>
                  <a:srgbClr val="00B050"/>
                </a:solidFill>
                <a:latin typeface="Consolas" panose="020B0609020204030204" pitchFamily="49" charset="0"/>
              </a:rPr>
              <a:t>filter </a:t>
            </a:r>
            <a:r>
              <a:rPr lang="en-US" sz="1200" dirty="0" err="1">
                <a:solidFill>
                  <a:srgbClr val="00B050"/>
                </a:solidFill>
                <a:latin typeface="Consolas" panose="020B0609020204030204" pitchFamily="49" charset="0"/>
              </a:rPr>
              <a:t>xpath</a:t>
            </a:r>
            <a:r>
              <a:rPr lang="en-US" sz="1200" dirty="0">
                <a:solidFill>
                  <a:srgbClr val="00B050"/>
                </a:solidFill>
                <a:latin typeface="Consolas" panose="020B0609020204030204" pitchFamily="49" charset="0"/>
              </a:rPr>
              <a:t> /</a:t>
            </a:r>
            <a:r>
              <a:rPr lang="en-US" sz="1200" dirty="0" err="1">
                <a:solidFill>
                  <a:srgbClr val="00B050"/>
                </a:solidFill>
                <a:latin typeface="Consolas" panose="020B0609020204030204" pitchFamily="49" charset="0"/>
              </a:rPr>
              <a:t>wireless-access-point-oper:access-point-oper-data</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access-point-oper:radio-oper-data</a:t>
            </a:r>
            <a:r>
              <a:rPr lang="en-US" sz="1200" dirty="0">
                <a:solidFill>
                  <a:srgbClr val="00B050"/>
                </a:solidFill>
                <a:latin typeface="Consolas" panose="020B0609020204030204" pitchFamily="49" charset="0"/>
              </a:rPr>
              <a:t>/</a:t>
            </a:r>
            <a:r>
              <a:rPr lang="en-US" sz="1200" dirty="0" err="1">
                <a:solidFill>
                  <a:srgbClr val="00B050"/>
                </a:solidFill>
                <a:latin typeface="Consolas" panose="020B0609020204030204" pitchFamily="49" charset="0"/>
              </a:rPr>
              <a:t>wireless-access-point-oper:phy-ht-cfg</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tream</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yang</a:t>
            </a:r>
            <a:r>
              <a:rPr lang="nb-NO" sz="1200" dirty="0">
                <a:solidFill>
                  <a:srgbClr val="00B050"/>
                </a:solidFill>
                <a:latin typeface="Consolas" panose="020B0609020204030204" pitchFamily="49" charset="0"/>
              </a:rPr>
              <a:t>-push</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update</a:t>
            </a:r>
            <a:r>
              <a:rPr lang="nb-NO" sz="1200" dirty="0">
                <a:solidFill>
                  <a:srgbClr val="00B050"/>
                </a:solidFill>
                <a:latin typeface="Consolas" panose="020B0609020204030204" pitchFamily="49" charset="0"/>
              </a:rPr>
              <a:t>-policy </a:t>
            </a:r>
            <a:r>
              <a:rPr lang="nb-NO" sz="1200" dirty="0" err="1">
                <a:solidFill>
                  <a:srgbClr val="00B050"/>
                </a:solidFill>
                <a:latin typeface="Consolas" panose="020B0609020204030204" pitchFamily="49" charset="0"/>
              </a:rPr>
              <a:t>periodic</a:t>
            </a:r>
            <a:r>
              <a:rPr lang="nb-NO" sz="1200" dirty="0">
                <a:solidFill>
                  <a:srgbClr val="00B050"/>
                </a:solidFill>
                <a:latin typeface="Consolas" panose="020B0609020204030204" pitchFamily="49" charset="0"/>
              </a:rPr>
              <a:t> 5000</a:t>
            </a:r>
          </a:p>
          <a:p>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receiver</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p</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address</a:t>
            </a:r>
            <a:r>
              <a:rPr lang="nb-NO" sz="1200" dirty="0">
                <a:solidFill>
                  <a:srgbClr val="00B050"/>
                </a:solidFill>
                <a:latin typeface="Consolas" panose="020B0609020204030204" pitchFamily="49" charset="0"/>
              </a:rPr>
              <a:t> 192.168.10.7 57000 </a:t>
            </a:r>
            <a:r>
              <a:rPr lang="nb-NO" sz="1200" dirty="0" err="1">
                <a:solidFill>
                  <a:srgbClr val="00B050"/>
                </a:solidFill>
                <a:latin typeface="Consolas" panose="020B0609020204030204" pitchFamily="49" charset="0"/>
              </a:rPr>
              <a:t>protocol</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grpc-tcp</a:t>
            </a:r>
            <a:endParaRPr lang="nb-NO" sz="1200" dirty="0">
              <a:solidFill>
                <a:srgbClr val="00B050"/>
              </a:solidFill>
              <a:latin typeface="Consolas" panose="020B0609020204030204" pitchFamily="49" charset="0"/>
            </a:endParaRPr>
          </a:p>
          <a:p>
            <a:r>
              <a:rPr lang="nb-NO" sz="1200" dirty="0">
                <a:solidFill>
                  <a:srgbClr val="00B050"/>
                </a:solidFill>
                <a:latin typeface="Consolas" panose="020B0609020204030204" pitchFamily="49" charset="0"/>
              </a:rPr>
              <a:t> do show </a:t>
            </a:r>
            <a:r>
              <a:rPr lang="nb-NO" sz="1200" dirty="0" err="1">
                <a:solidFill>
                  <a:srgbClr val="00B050"/>
                </a:solidFill>
                <a:latin typeface="Consolas" panose="020B0609020204030204" pitchFamily="49" charset="0"/>
              </a:rPr>
              <a:t>telemetry</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ietf</a:t>
            </a:r>
            <a:r>
              <a:rPr lang="nb-NO" sz="1200" dirty="0">
                <a:solidFill>
                  <a:srgbClr val="00B050"/>
                </a:solidFill>
                <a:latin typeface="Consolas" panose="020B0609020204030204" pitchFamily="49" charset="0"/>
              </a:rPr>
              <a:t> </a:t>
            </a:r>
            <a:r>
              <a:rPr lang="nb-NO" sz="1200" dirty="0" err="1">
                <a:solidFill>
                  <a:srgbClr val="00B050"/>
                </a:solidFill>
                <a:latin typeface="Consolas" panose="020B0609020204030204" pitchFamily="49" charset="0"/>
              </a:rPr>
              <a:t>subscription</a:t>
            </a:r>
            <a:r>
              <a:rPr lang="nb-NO" sz="1200" dirty="0">
                <a:solidFill>
                  <a:srgbClr val="00B050"/>
                </a:solidFill>
                <a:latin typeface="Consolas" panose="020B0609020204030204" pitchFamily="49" charset="0"/>
              </a:rPr>
              <a:t> 107</a:t>
            </a:r>
          </a:p>
        </p:txBody>
      </p:sp>
      <p:cxnSp>
        <p:nvCxnSpPr>
          <p:cNvPr id="2" name="Straight Arrow Connector 1">
            <a:extLst>
              <a:ext uri="{FF2B5EF4-FFF2-40B4-BE49-F238E27FC236}">
                <a16:creationId xmlns:a16="http://schemas.microsoft.com/office/drawing/2014/main" id="{C40A8D55-00E9-2789-2B39-497283110CF9}"/>
              </a:ext>
            </a:extLst>
          </p:cNvPr>
          <p:cNvCxnSpPr>
            <a:cxnSpLocks/>
          </p:cNvCxnSpPr>
          <p:nvPr/>
        </p:nvCxnSpPr>
        <p:spPr>
          <a:xfrm flipH="1" flipV="1">
            <a:off x="3417455" y="2253669"/>
            <a:ext cx="3288464" cy="46164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FFABA0D-BF4B-FADE-C910-B9205B9760BA}"/>
              </a:ext>
            </a:extLst>
          </p:cNvPr>
          <p:cNvSpPr txBox="1"/>
          <p:nvPr/>
        </p:nvSpPr>
        <p:spPr>
          <a:xfrm>
            <a:off x="6622361" y="2564392"/>
            <a:ext cx="5491769" cy="276614"/>
          </a:xfrm>
          <a:prstGeom prst="rect">
            <a:avLst/>
          </a:prstGeom>
          <a:noFill/>
        </p:spPr>
        <p:txBody>
          <a:bodyPr wrap="square">
            <a:spAutoFit/>
          </a:bodyPr>
          <a:lstStyle/>
          <a:p>
            <a:pPr marR="0" lvl="0" algn="l" defTabSz="914400" rtl="0" eaLnBrk="1" fontAlgn="auto" latinLnBrk="0" hangingPunct="1">
              <a:lnSpc>
                <a:spcPct val="110000"/>
              </a:lnSpc>
              <a:spcBef>
                <a:spcPts val="0"/>
              </a:spcBef>
              <a:spcAft>
                <a:spcPts val="1000"/>
              </a:spcAft>
              <a:buClr>
                <a:srgbClr val="19AAF8"/>
              </a:buClr>
              <a:buSzTx/>
              <a:tabLst/>
              <a:defRPr/>
            </a:pP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or IP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of</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stack</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r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ing</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t>
            </a:r>
          </a:p>
        </p:txBody>
      </p:sp>
      <p:cxnSp>
        <p:nvCxnSpPr>
          <p:cNvPr id="10" name="Straight Arrow Connector 9">
            <a:extLst>
              <a:ext uri="{FF2B5EF4-FFF2-40B4-BE49-F238E27FC236}">
                <a16:creationId xmlns:a16="http://schemas.microsoft.com/office/drawing/2014/main" id="{583BA452-96E0-298F-FE84-4870B2D6FF53}"/>
              </a:ext>
            </a:extLst>
          </p:cNvPr>
          <p:cNvCxnSpPr>
            <a:cxnSpLocks/>
            <a:stCxn id="11" idx="1"/>
          </p:cNvCxnSpPr>
          <p:nvPr/>
        </p:nvCxnSpPr>
        <p:spPr>
          <a:xfrm flipH="1" flipV="1">
            <a:off x="3417455" y="3918148"/>
            <a:ext cx="2161628" cy="409087"/>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907E7B9-1708-3778-7238-7EF81F0A5EC8}"/>
              </a:ext>
            </a:extLst>
          </p:cNvPr>
          <p:cNvSpPr txBox="1"/>
          <p:nvPr/>
        </p:nvSpPr>
        <p:spPr>
          <a:xfrm>
            <a:off x="5579083" y="4188928"/>
            <a:ext cx="5903003" cy="276614"/>
          </a:xfrm>
          <a:prstGeom prst="rect">
            <a:avLst/>
          </a:prstGeom>
          <a:noFill/>
        </p:spPr>
        <p:txBody>
          <a:bodyPr wrap="square">
            <a:spAutoFit/>
          </a:bodyPr>
          <a:lstStyle/>
          <a:p>
            <a:pPr marR="0" lvl="0" algn="l" defTabSz="914400" rtl="0" eaLnBrk="1" fontAlgn="auto" latinLnBrk="0" hangingPunct="1">
              <a:lnSpc>
                <a:spcPct val="110000"/>
              </a:lnSpc>
              <a:spcBef>
                <a:spcPts val="0"/>
              </a:spcBef>
              <a:spcAft>
                <a:spcPts val="1000"/>
              </a:spcAft>
              <a:buClr>
                <a:srgbClr val="19AAF8"/>
              </a:buClr>
              <a:buSzTx/>
              <a:tabLst/>
              <a:defRPr/>
            </a:pP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Chang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is</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to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r</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bunt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or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IP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of</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h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TIG</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stack</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you</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re</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 </a:t>
            </a:r>
            <a:r>
              <a:rPr kumimoji="0" lang="nb-NO" sz="1200" b="0" i="0" u="none" strike="noStrike" kern="1200" cap="none" spc="0" normalizeH="0" baseline="0" noProof="0" dirty="0" err="1">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using</a:t>
            </a:r>
            <a:r>
              <a:rPr kumimoji="0" lang="nb-NO" sz="1200" b="0" i="0" u="none" strike="noStrike" kern="1200" cap="none" spc="0" normalizeH="0" baseline="0" noProof="0" dirty="0">
                <a:ln>
                  <a:noFill/>
                </a:ln>
                <a:solidFill>
                  <a:srgbClr val="0C1026"/>
                </a:solidFill>
                <a:effectLst/>
                <a:uLnTx/>
                <a:uFillTx/>
                <a:latin typeface="Verdana" panose="020B0604030504040204" pitchFamily="34" charset="0"/>
                <a:ea typeface="Verdana" panose="020B0604030504040204" pitchFamily="34" charset="0"/>
                <a:cs typeface="+mn-cs"/>
                <a:sym typeface="Verdana" panose="020B0604030504040204" pitchFamily="34" charset="0"/>
              </a:rPr>
              <a:t>)</a:t>
            </a:r>
          </a:p>
        </p:txBody>
      </p:sp>
      <p:cxnSp>
        <p:nvCxnSpPr>
          <p:cNvPr id="14" name="Straight Arrow Connector 13">
            <a:extLst>
              <a:ext uri="{FF2B5EF4-FFF2-40B4-BE49-F238E27FC236}">
                <a16:creationId xmlns:a16="http://schemas.microsoft.com/office/drawing/2014/main" id="{77A97DBD-A8B8-182A-F887-F37FCE32E4C0}"/>
              </a:ext>
            </a:extLst>
          </p:cNvPr>
          <p:cNvCxnSpPr>
            <a:cxnSpLocks/>
            <a:stCxn id="11" idx="1"/>
          </p:cNvCxnSpPr>
          <p:nvPr/>
        </p:nvCxnSpPr>
        <p:spPr>
          <a:xfrm flipH="1">
            <a:off x="3352800" y="4327235"/>
            <a:ext cx="2226283" cy="131618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3C643422-744B-7E0A-1AD9-F0A757E6B2E4}"/>
              </a:ext>
            </a:extLst>
          </p:cNvPr>
          <p:cNvSpPr txBox="1"/>
          <p:nvPr/>
        </p:nvSpPr>
        <p:spPr>
          <a:xfrm>
            <a:off x="540000" y="768728"/>
            <a:ext cx="10942086" cy="276999"/>
          </a:xfrm>
          <a:prstGeom prst="rect">
            <a:avLst/>
          </a:prstGeom>
          <a:solidFill>
            <a:schemeClr val="tx1"/>
          </a:solidFill>
        </p:spPr>
        <p:txBody>
          <a:bodyPr wrap="square">
            <a:spAutoFit/>
          </a:bodyPr>
          <a:lstStyle/>
          <a:p>
            <a:r>
              <a:rPr lang="nb-NO" sz="1200" err="1">
                <a:solidFill>
                  <a:srgbClr val="00B050"/>
                </a:solidFill>
                <a:latin typeface="Consolas" panose="020B0609020204030204" pitchFamily="49" charset="0"/>
              </a:rPr>
              <a:t>wlc9</a:t>
            </a:r>
            <a:r>
              <a:rPr lang="nb-NO" sz="1200">
                <a:solidFill>
                  <a:srgbClr val="00B050"/>
                </a:solidFill>
                <a:latin typeface="Consolas" panose="020B0609020204030204" pitchFamily="49" charset="0"/>
              </a:rPr>
              <a:t># </a:t>
            </a:r>
            <a:r>
              <a:rPr lang="nb-NO" sz="1200" err="1">
                <a:solidFill>
                  <a:srgbClr val="00B050"/>
                </a:solidFill>
                <a:latin typeface="Consolas" panose="020B0609020204030204" pitchFamily="49" charset="0"/>
              </a:rPr>
              <a:t>conf</a:t>
            </a:r>
            <a:r>
              <a:rPr lang="nb-NO" sz="1200">
                <a:solidFill>
                  <a:srgbClr val="00B050"/>
                </a:solidFill>
                <a:latin typeface="Consolas" panose="020B0609020204030204" pitchFamily="49" charset="0"/>
              </a:rPr>
              <a:t> t</a:t>
            </a:r>
          </a:p>
        </p:txBody>
      </p:sp>
      <p:pic>
        <p:nvPicPr>
          <p:cNvPr id="13" name="Picture 12" descr="A blue logo with a black background&#10;&#10;Description automatically generated">
            <a:extLst>
              <a:ext uri="{FF2B5EF4-FFF2-40B4-BE49-F238E27FC236}">
                <a16:creationId xmlns:a16="http://schemas.microsoft.com/office/drawing/2014/main" id="{AFD6B3CD-FC9A-B6F5-589F-E8578A5760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112639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latin typeface="Verdana"/>
                <a:ea typeface="Verdana"/>
              </a:rPr>
              <a:t>Grafana (</a:t>
            </a:r>
            <a:r>
              <a:rPr lang="en-GB">
                <a:solidFill>
                  <a:srgbClr val="0070C0"/>
                </a:solidFill>
                <a:latin typeface="Verdana"/>
                <a:ea typeface="Verdana"/>
              </a:rPr>
              <a:t>http://{Ubuntu-IP}:3000</a:t>
            </a:r>
            <a:r>
              <a:rPr lang="en-GB">
                <a:latin typeface="Verdana"/>
                <a:ea typeface="Verdana"/>
              </a:rPr>
              <a:t>)</a:t>
            </a:r>
          </a:p>
        </p:txBody>
      </p:sp>
      <p:sp>
        <p:nvSpPr>
          <p:cNvPr id="9" name="TextBox 8">
            <a:extLst>
              <a:ext uri="{FF2B5EF4-FFF2-40B4-BE49-F238E27FC236}">
                <a16:creationId xmlns:a16="http://schemas.microsoft.com/office/drawing/2014/main" id="{1332ADAB-347F-B30A-F36B-957ADACDE929}"/>
              </a:ext>
            </a:extLst>
          </p:cNvPr>
          <p:cNvSpPr txBox="1"/>
          <p:nvPr/>
        </p:nvSpPr>
        <p:spPr>
          <a:xfrm>
            <a:off x="6203502" y="1077438"/>
            <a:ext cx="6094562" cy="1200329"/>
          </a:xfrm>
          <a:prstGeom prst="rect">
            <a:avLst/>
          </a:prstGeom>
          <a:noFill/>
        </p:spPr>
        <p:txBody>
          <a:bodyPr wrap="square">
            <a:spAutoFit/>
          </a:bodyPr>
          <a:lstStyle/>
          <a:p>
            <a:pPr marL="285750" indent="-285750">
              <a:buFont typeface="Arial" panose="020B0604020202020204" pitchFamily="34" charset="0"/>
              <a:buChar char="•"/>
            </a:pPr>
            <a:r>
              <a:rPr lang="nb-NO"/>
              <a:t>Set a </a:t>
            </a:r>
            <a:r>
              <a:rPr lang="nb-NO" err="1"/>
              <a:t>name</a:t>
            </a:r>
            <a:r>
              <a:rPr lang="nb-NO"/>
              <a:t> for </a:t>
            </a:r>
            <a:r>
              <a:rPr lang="nb-NO" err="1"/>
              <a:t>your</a:t>
            </a:r>
            <a:r>
              <a:rPr lang="nb-NO"/>
              <a:t> database</a:t>
            </a:r>
          </a:p>
          <a:p>
            <a:pPr marL="285750" indent="-285750">
              <a:buFont typeface="Arial" panose="020B0604020202020204" pitchFamily="34" charset="0"/>
              <a:buChar char="•"/>
            </a:pPr>
            <a:r>
              <a:rPr lang="nb-NO"/>
              <a:t>Set Query </a:t>
            </a:r>
            <a:r>
              <a:rPr lang="nb-NO" err="1"/>
              <a:t>language</a:t>
            </a:r>
            <a:r>
              <a:rPr lang="nb-NO"/>
              <a:t> to </a:t>
            </a:r>
            <a:r>
              <a:rPr lang="nb-NO" err="1"/>
              <a:t>InfluxQL</a:t>
            </a:r>
            <a:endParaRPr lang="nb-NO"/>
          </a:p>
          <a:p>
            <a:pPr marL="285750" indent="-285750">
              <a:buFont typeface="Arial" panose="020B0604020202020204" pitchFamily="34" charset="0"/>
              <a:buChar char="•"/>
            </a:pPr>
            <a:r>
              <a:rPr lang="en-US"/>
              <a:t>URL: </a:t>
            </a:r>
            <a:r>
              <a:rPr lang="en-US">
                <a:hlinkClick r:id="rId3"/>
              </a:rPr>
              <a:t>http://influxdb:8086</a:t>
            </a:r>
            <a:r>
              <a:rPr lang="nb-NO"/>
              <a:t> </a:t>
            </a:r>
          </a:p>
          <a:p>
            <a:pPr marL="285750" indent="-285750">
              <a:buFont typeface="Arial" panose="020B0604020202020204" pitchFamily="34" charset="0"/>
              <a:buChar char="•"/>
            </a:pPr>
            <a:endParaRPr lang="nb-NO"/>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6" name="Picture 5">
            <a:extLst>
              <a:ext uri="{FF2B5EF4-FFF2-40B4-BE49-F238E27FC236}">
                <a16:creationId xmlns:a16="http://schemas.microsoft.com/office/drawing/2014/main" id="{CC73AC75-19E6-0AF9-0F10-B690BC285BB3}"/>
              </a:ext>
            </a:extLst>
          </p:cNvPr>
          <p:cNvPicPr>
            <a:picLocks noChangeAspect="1"/>
          </p:cNvPicPr>
          <p:nvPr/>
        </p:nvPicPr>
        <p:blipFill>
          <a:blip r:embed="rId4"/>
          <a:stretch>
            <a:fillRect/>
          </a:stretch>
        </p:blipFill>
        <p:spPr>
          <a:xfrm>
            <a:off x="514628" y="4240066"/>
            <a:ext cx="4165090" cy="1609911"/>
          </a:xfrm>
          <a:prstGeom prst="rect">
            <a:avLst/>
          </a:prstGeom>
        </p:spPr>
      </p:pic>
      <p:sp>
        <p:nvSpPr>
          <p:cNvPr id="21" name="TextBox 20">
            <a:extLst>
              <a:ext uri="{FF2B5EF4-FFF2-40B4-BE49-F238E27FC236}">
                <a16:creationId xmlns:a16="http://schemas.microsoft.com/office/drawing/2014/main" id="{4119A563-2F37-7403-6BAD-F26AB7CE80F4}"/>
              </a:ext>
            </a:extLst>
          </p:cNvPr>
          <p:cNvSpPr txBox="1"/>
          <p:nvPr/>
        </p:nvSpPr>
        <p:spPr>
          <a:xfrm>
            <a:off x="132953" y="1062910"/>
            <a:ext cx="6094562" cy="36933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nb-NO" err="1"/>
              <a:t>Add</a:t>
            </a:r>
            <a:r>
              <a:rPr lang="nb-NO"/>
              <a:t> </a:t>
            </a:r>
            <a:r>
              <a:rPr lang="nb-NO" err="1"/>
              <a:t>your</a:t>
            </a:r>
            <a:r>
              <a:rPr lang="nb-NO"/>
              <a:t> first data </a:t>
            </a:r>
            <a:r>
              <a:rPr lang="nb-NO" err="1"/>
              <a:t>source</a:t>
            </a:r>
            <a:r>
              <a:rPr lang="nb-NO"/>
              <a:t> -&gt; </a:t>
            </a:r>
            <a:r>
              <a:rPr lang="nb-NO" err="1"/>
              <a:t>InfluxDB</a:t>
            </a:r>
            <a:r>
              <a:rPr lang="nb-NO"/>
              <a:t> </a:t>
            </a:r>
            <a:endParaRPr lang="nb-NO">
              <a:ea typeface="Verdana"/>
            </a:endParaRPr>
          </a:p>
        </p:txBody>
      </p:sp>
      <p:pic>
        <p:nvPicPr>
          <p:cNvPr id="19" name="Picture 18">
            <a:extLst>
              <a:ext uri="{FF2B5EF4-FFF2-40B4-BE49-F238E27FC236}">
                <a16:creationId xmlns:a16="http://schemas.microsoft.com/office/drawing/2014/main" id="{ADAC3E7A-E404-A5AF-6317-214222514CBA}"/>
              </a:ext>
            </a:extLst>
          </p:cNvPr>
          <p:cNvPicPr>
            <a:picLocks noChangeAspect="1"/>
          </p:cNvPicPr>
          <p:nvPr/>
        </p:nvPicPr>
        <p:blipFill>
          <a:blip r:embed="rId5"/>
          <a:stretch>
            <a:fillRect/>
          </a:stretch>
        </p:blipFill>
        <p:spPr>
          <a:xfrm>
            <a:off x="514628" y="1523153"/>
            <a:ext cx="2718766" cy="2586143"/>
          </a:xfrm>
          <a:prstGeom prst="rect">
            <a:avLst/>
          </a:prstGeom>
        </p:spPr>
      </p:pic>
      <p:pic>
        <p:nvPicPr>
          <p:cNvPr id="22" name="Picture 21">
            <a:extLst>
              <a:ext uri="{FF2B5EF4-FFF2-40B4-BE49-F238E27FC236}">
                <a16:creationId xmlns:a16="http://schemas.microsoft.com/office/drawing/2014/main" id="{6F5328CE-1593-4FB6-8890-A968B90807BC}"/>
              </a:ext>
            </a:extLst>
          </p:cNvPr>
          <p:cNvPicPr>
            <a:picLocks noChangeAspect="1"/>
          </p:cNvPicPr>
          <p:nvPr/>
        </p:nvPicPr>
        <p:blipFill>
          <a:blip r:embed="rId6"/>
          <a:stretch>
            <a:fillRect/>
          </a:stretch>
        </p:blipFill>
        <p:spPr>
          <a:xfrm>
            <a:off x="5702976" y="2062273"/>
            <a:ext cx="6246214" cy="3787704"/>
          </a:xfrm>
          <a:prstGeom prst="rect">
            <a:avLst/>
          </a:prstGeom>
        </p:spPr>
      </p:pic>
      <p:cxnSp>
        <p:nvCxnSpPr>
          <p:cNvPr id="23" name="Straight Arrow Connector 22">
            <a:extLst>
              <a:ext uri="{FF2B5EF4-FFF2-40B4-BE49-F238E27FC236}">
                <a16:creationId xmlns:a16="http://schemas.microsoft.com/office/drawing/2014/main" id="{3E48C6EA-9634-802B-0297-F175562305A7}"/>
              </a:ext>
            </a:extLst>
          </p:cNvPr>
          <p:cNvCxnSpPr>
            <a:cxnSpLocks/>
          </p:cNvCxnSpPr>
          <p:nvPr/>
        </p:nvCxnSpPr>
        <p:spPr>
          <a:xfrm flipH="1">
            <a:off x="1440000" y="1449045"/>
            <a:ext cx="1322054" cy="2397091"/>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F200E213-550F-ABA7-A6C7-47DAC26C8211}"/>
              </a:ext>
            </a:extLst>
          </p:cNvPr>
          <p:cNvCxnSpPr>
            <a:cxnSpLocks/>
          </p:cNvCxnSpPr>
          <p:nvPr/>
        </p:nvCxnSpPr>
        <p:spPr>
          <a:xfrm flipH="1">
            <a:off x="1668544" y="1492937"/>
            <a:ext cx="2777795" cy="3908622"/>
          </a:xfrm>
          <a:prstGeom prst="straightConnector1">
            <a:avLst/>
          </a:prstGeom>
          <a:ln>
            <a:solidFill>
              <a:srgbClr val="19AAF8">
                <a:alpha val="69804"/>
              </a:srgbClr>
            </a:solidFill>
            <a:tailEnd type="triangle"/>
          </a:ln>
        </p:spPr>
        <p:style>
          <a:lnRef idx="2">
            <a:schemeClr val="accent1"/>
          </a:lnRef>
          <a:fillRef idx="0">
            <a:schemeClr val="accent1"/>
          </a:fillRef>
          <a:effectRef idx="1">
            <a:schemeClr val="accent1"/>
          </a:effectRef>
          <a:fontRef idx="minor">
            <a:schemeClr val="tx1"/>
          </a:fontRef>
        </p:style>
      </p:cxnSp>
      <p:sp>
        <p:nvSpPr>
          <p:cNvPr id="28" name="Rectangle: Rounded Corners 27">
            <a:extLst>
              <a:ext uri="{FF2B5EF4-FFF2-40B4-BE49-F238E27FC236}">
                <a16:creationId xmlns:a16="http://schemas.microsoft.com/office/drawing/2014/main" id="{F6042EF3-CC54-C56D-9C9E-FD8D5228330F}"/>
              </a:ext>
            </a:extLst>
          </p:cNvPr>
          <p:cNvSpPr/>
          <p:nvPr/>
        </p:nvSpPr>
        <p:spPr>
          <a:xfrm>
            <a:off x="5770797" y="3664637"/>
            <a:ext cx="1346440"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9" name="Rectangle: Rounded Corners 28">
            <a:extLst>
              <a:ext uri="{FF2B5EF4-FFF2-40B4-BE49-F238E27FC236}">
                <a16:creationId xmlns:a16="http://schemas.microsoft.com/office/drawing/2014/main" id="{D65E75EA-C218-E07A-81DB-3AB2D37DFECE}"/>
              </a:ext>
            </a:extLst>
          </p:cNvPr>
          <p:cNvSpPr/>
          <p:nvPr/>
        </p:nvSpPr>
        <p:spPr>
          <a:xfrm>
            <a:off x="7657728" y="4722011"/>
            <a:ext cx="1683121" cy="444659"/>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0" name="Rectangle: Rounded Corners 29">
            <a:extLst>
              <a:ext uri="{FF2B5EF4-FFF2-40B4-BE49-F238E27FC236}">
                <a16:creationId xmlns:a16="http://schemas.microsoft.com/office/drawing/2014/main" id="{301FD885-7C46-F7EF-1A00-E2CED3E7B119}"/>
              </a:ext>
            </a:extLst>
          </p:cNvPr>
          <p:cNvSpPr/>
          <p:nvPr/>
        </p:nvSpPr>
        <p:spPr>
          <a:xfrm>
            <a:off x="6815579" y="2641127"/>
            <a:ext cx="842149" cy="34020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3" name="Picture 2" descr="A blue logo with a black background&#10;&#10;Description automatically generated">
            <a:extLst>
              <a:ext uri="{FF2B5EF4-FFF2-40B4-BE49-F238E27FC236}">
                <a16:creationId xmlns:a16="http://schemas.microsoft.com/office/drawing/2014/main" id="{E71B1928-E62C-B172-6D1D-5FE9F387DC5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328877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099BE34-2F60-01F8-796C-55FF2B9CA296}"/>
              </a:ext>
            </a:extLst>
          </p:cNvPr>
          <p:cNvPicPr>
            <a:picLocks noChangeAspect="1"/>
          </p:cNvPicPr>
          <p:nvPr/>
        </p:nvPicPr>
        <p:blipFill>
          <a:blip r:embed="rId3"/>
          <a:stretch>
            <a:fillRect/>
          </a:stretch>
        </p:blipFill>
        <p:spPr>
          <a:xfrm>
            <a:off x="663947" y="3006038"/>
            <a:ext cx="6349892" cy="1003911"/>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Grafana (</a:t>
            </a:r>
            <a:r>
              <a:rPr lang="en-GB" dirty="0">
                <a:solidFill>
                  <a:srgbClr val="0070C0"/>
                </a:solidFill>
              </a:rPr>
              <a:t>http://{Ubuntu-IP}:3000</a:t>
            </a:r>
            <a:r>
              <a:rPr lang="en-GB" dirty="0"/>
              <a:t>)</a:t>
            </a:r>
          </a:p>
        </p:txBody>
      </p:sp>
      <p:sp>
        <p:nvSpPr>
          <p:cNvPr id="2" name="Footer Placeholder 6">
            <a:extLst>
              <a:ext uri="{FF2B5EF4-FFF2-40B4-BE49-F238E27FC236}">
                <a16:creationId xmlns:a16="http://schemas.microsoft.com/office/drawing/2014/main" id="{C6056E56-2136-241A-E9BB-D9D23937A808}"/>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C9FF8FE2-F07B-41C2-BAF8-C948892DF32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sp>
        <p:nvSpPr>
          <p:cNvPr id="11" name="TextBox 10">
            <a:extLst>
              <a:ext uri="{FF2B5EF4-FFF2-40B4-BE49-F238E27FC236}">
                <a16:creationId xmlns:a16="http://schemas.microsoft.com/office/drawing/2014/main" id="{62FA55CE-01F5-4692-0488-ACAD670507AE}"/>
              </a:ext>
            </a:extLst>
          </p:cNvPr>
          <p:cNvSpPr txBox="1"/>
          <p:nvPr/>
        </p:nvSpPr>
        <p:spPr>
          <a:xfrm>
            <a:off x="129834" y="968003"/>
            <a:ext cx="6244413" cy="4462760"/>
          </a:xfrm>
          <a:prstGeom prst="rect">
            <a:avLst/>
          </a:prstGeom>
          <a:noFill/>
        </p:spPr>
        <p:txBody>
          <a:bodyPr wrap="square" lIns="91440" tIns="45720" rIns="91440" bIns="45720" anchor="t">
            <a:spAutoFit/>
          </a:bodyPr>
          <a:lstStyle/>
          <a:p>
            <a:pPr marL="285750" indent="-285750">
              <a:buFont typeface="Arial"/>
              <a:buChar char="•"/>
            </a:pPr>
            <a:r>
              <a:rPr lang="nb-NO" dirty="0" err="1">
                <a:ea typeface="Verdana"/>
              </a:rPr>
              <a:t>Grafana</a:t>
            </a:r>
            <a:r>
              <a:rPr lang="nb-NO" dirty="0">
                <a:ea typeface="Verdana"/>
              </a:rPr>
              <a:t> </a:t>
            </a:r>
            <a:r>
              <a:rPr lang="nb-NO" dirty="0" err="1">
                <a:ea typeface="Verdana"/>
              </a:rPr>
              <a:t>needs</a:t>
            </a:r>
            <a:r>
              <a:rPr lang="nb-NO" dirty="0">
                <a:ea typeface="Verdana"/>
              </a:rPr>
              <a:t> to </a:t>
            </a:r>
            <a:r>
              <a:rPr lang="nb-NO" dirty="0" err="1">
                <a:ea typeface="Verdana"/>
              </a:rPr>
              <a:t>use</a:t>
            </a:r>
            <a:r>
              <a:rPr lang="nb-NO" dirty="0">
                <a:ea typeface="Verdana"/>
              </a:rPr>
              <a:t> a RO token to be </a:t>
            </a:r>
            <a:r>
              <a:rPr lang="nb-NO" dirty="0" err="1">
                <a:ea typeface="Verdana"/>
              </a:rPr>
              <a:t>able</a:t>
            </a:r>
            <a:r>
              <a:rPr lang="nb-NO" dirty="0">
                <a:ea typeface="Verdana"/>
              </a:rPr>
              <a:t> to </a:t>
            </a:r>
            <a:r>
              <a:rPr lang="nb-NO" dirty="0" err="1">
                <a:ea typeface="Verdana"/>
              </a:rPr>
              <a:t>read</a:t>
            </a:r>
            <a:r>
              <a:rPr lang="nb-NO" dirty="0">
                <a:ea typeface="Verdana"/>
              </a:rPr>
              <a:t> from </a:t>
            </a:r>
            <a:r>
              <a:rPr lang="nb-NO" dirty="0" err="1">
                <a:ea typeface="Verdana"/>
              </a:rPr>
              <a:t>the</a:t>
            </a:r>
            <a:r>
              <a:rPr lang="nb-NO" dirty="0">
                <a:ea typeface="Verdana"/>
              </a:rPr>
              <a:t> database, and </a:t>
            </a:r>
            <a:r>
              <a:rPr lang="nb-NO" dirty="0" err="1">
                <a:ea typeface="Verdana"/>
              </a:rPr>
              <a:t>InfluxDB</a:t>
            </a:r>
            <a:r>
              <a:rPr lang="nb-NO" dirty="0">
                <a:ea typeface="Verdana"/>
              </a:rPr>
              <a:t> </a:t>
            </a:r>
            <a:r>
              <a:rPr lang="nb-NO" dirty="0" err="1">
                <a:ea typeface="Verdana"/>
              </a:rPr>
              <a:t>password</a:t>
            </a:r>
            <a:r>
              <a:rPr lang="nb-NO" dirty="0">
                <a:ea typeface="Verdana"/>
              </a:rPr>
              <a:t>.</a:t>
            </a:r>
          </a:p>
          <a:p>
            <a:pPr marL="742950" lvl="1" indent="-285750">
              <a:buFont typeface="Arial,Sans-Serif"/>
              <a:buChar char="•"/>
            </a:pPr>
            <a:r>
              <a:rPr lang="nb-NO" sz="1400" dirty="0" err="1">
                <a:ea typeface="Verdana"/>
              </a:rPr>
              <a:t>Use</a:t>
            </a:r>
            <a:r>
              <a:rPr lang="nb-NO" sz="1400" dirty="0">
                <a:ea typeface="Verdana"/>
              </a:rPr>
              <a:t> </a:t>
            </a:r>
            <a:r>
              <a:rPr lang="nb-NO" sz="1400" dirty="0" err="1">
                <a:ea typeface="Verdana"/>
              </a:rPr>
              <a:t>the</a:t>
            </a:r>
            <a:r>
              <a:rPr lang="nb-NO" sz="1400" dirty="0">
                <a:ea typeface="Verdana"/>
              </a:rPr>
              <a:t> </a:t>
            </a:r>
            <a:r>
              <a:rPr lang="nb-NO" sz="1400" dirty="0" err="1">
                <a:ea typeface="Verdana"/>
              </a:rPr>
              <a:t>Grafana</a:t>
            </a:r>
            <a:r>
              <a:rPr lang="nb-NO" sz="1400" dirty="0">
                <a:ea typeface="Verdana"/>
              </a:rPr>
              <a:t> token from </a:t>
            </a:r>
            <a:r>
              <a:rPr lang="nb-NO" sz="1400" dirty="0" err="1">
                <a:ea typeface="Verdana"/>
              </a:rPr>
              <a:t>Lab10</a:t>
            </a:r>
            <a:r>
              <a:rPr lang="nb-NO" sz="1400" dirty="0">
                <a:ea typeface="Verdana"/>
              </a:rPr>
              <a:t> notes </a:t>
            </a:r>
            <a:endParaRPr lang="en-US" sz="1400" dirty="0">
              <a:ea typeface="Verdana"/>
            </a:endParaRPr>
          </a:p>
          <a:p>
            <a:pPr marL="285750" indent="-285750">
              <a:buFont typeface="Arial"/>
              <a:buChar char="•"/>
            </a:pPr>
            <a:endParaRPr lang="nb-NO" dirty="0">
              <a:ea typeface="Verdana"/>
            </a:endParaRPr>
          </a:p>
          <a:p>
            <a:pPr marL="342900" indent="-342900">
              <a:buFont typeface="Arial"/>
              <a:buChar char="•"/>
            </a:pPr>
            <a:r>
              <a:rPr lang="nb-NO" dirty="0" err="1"/>
              <a:t>Add</a:t>
            </a:r>
            <a:r>
              <a:rPr lang="nb-NO" dirty="0"/>
              <a:t> a </a:t>
            </a:r>
            <a:r>
              <a:rPr lang="nb-NO" dirty="0" err="1"/>
              <a:t>custom</a:t>
            </a:r>
            <a:r>
              <a:rPr lang="nb-NO" dirty="0"/>
              <a:t> HTTP Headers</a:t>
            </a:r>
            <a:endParaRPr lang="nb-NO" dirty="0">
              <a:ea typeface="Verdana"/>
            </a:endParaRPr>
          </a:p>
          <a:p>
            <a:pPr marL="742950" lvl="1" indent="-285750">
              <a:buFont typeface="Arial" panose="020B0604020202020204" pitchFamily="34" charset="0"/>
              <a:buChar char="•"/>
            </a:pPr>
            <a:r>
              <a:rPr lang="nb-NO" sz="1400" dirty="0"/>
              <a:t>Header: </a:t>
            </a:r>
            <a:r>
              <a:rPr lang="nb-NO" sz="1400" dirty="0" err="1"/>
              <a:t>Authorization</a:t>
            </a:r>
            <a:endParaRPr lang="nb-NO" sz="1400" dirty="0"/>
          </a:p>
          <a:p>
            <a:pPr marL="742950" lvl="1" indent="-285750">
              <a:buFont typeface="Arial" panose="020B0604020202020204" pitchFamily="34" charset="0"/>
              <a:buChar char="•"/>
            </a:pPr>
            <a:r>
              <a:rPr lang="nb-NO" sz="1400" dirty="0"/>
              <a:t>Value: </a:t>
            </a:r>
            <a:r>
              <a:rPr lang="nb-NO" sz="1400" b="1" dirty="0"/>
              <a:t>Token &lt;API-TOKEN&gt;</a:t>
            </a:r>
            <a:endParaRPr lang="nb-NO" sz="1400" dirty="0"/>
          </a:p>
          <a:p>
            <a:pPr marL="742950" lvl="1" indent="-285750">
              <a:buFont typeface="Arial" panose="020B0604020202020204" pitchFamily="34" charset="0"/>
              <a:buChar char="•"/>
            </a:pPr>
            <a:r>
              <a:rPr lang="nb-NO" sz="1400" b="1" dirty="0" err="1">
                <a:ea typeface="Verdana"/>
              </a:rPr>
              <a:t>There</a:t>
            </a:r>
            <a:r>
              <a:rPr lang="nb-NO" sz="1400" b="1" dirty="0">
                <a:ea typeface="Verdana"/>
              </a:rPr>
              <a:t> is a </a:t>
            </a:r>
            <a:r>
              <a:rPr lang="nb-NO" sz="1400" b="1" dirty="0" err="1">
                <a:ea typeface="Verdana"/>
              </a:rPr>
              <a:t>space</a:t>
            </a:r>
            <a:r>
              <a:rPr lang="nb-NO" sz="1400" b="1" dirty="0">
                <a:ea typeface="Verdana"/>
              </a:rPr>
              <a:t> </a:t>
            </a:r>
            <a:r>
              <a:rPr lang="nb-NO" sz="1400" b="1" dirty="0" err="1">
                <a:ea typeface="Verdana"/>
              </a:rPr>
              <a:t>between</a:t>
            </a:r>
            <a:r>
              <a:rPr lang="nb-NO" sz="1400" b="1" dirty="0">
                <a:ea typeface="Verdana"/>
              </a:rPr>
              <a:t> Token and &lt;token&gt;</a:t>
            </a: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marL="742950" lvl="1" indent="-285750">
              <a:buFont typeface="Arial" panose="020B0604020202020204" pitchFamily="34" charset="0"/>
              <a:buChar char="•"/>
            </a:pPr>
            <a:endParaRPr lang="nb-NO" sz="1400" b="1" dirty="0">
              <a:ea typeface="Verdana"/>
            </a:endParaRPr>
          </a:p>
          <a:p>
            <a:pPr lvl="1"/>
            <a:endParaRPr lang="nb-NO" sz="1400" b="1" dirty="0">
              <a:ea typeface="Verdana"/>
            </a:endParaRPr>
          </a:p>
          <a:p>
            <a:pPr marL="742950" lvl="1" indent="-285750">
              <a:buFont typeface="Arial,Sans-Serif" panose="020B0604020202020204" pitchFamily="34" charset="0"/>
              <a:buChar char="•"/>
            </a:pPr>
            <a:r>
              <a:rPr lang="nb-NO" dirty="0">
                <a:ea typeface="Verdana"/>
              </a:rPr>
              <a:t>Database: </a:t>
            </a:r>
            <a:r>
              <a:rPr lang="nb-NO" dirty="0" err="1">
                <a:ea typeface="Verdana"/>
              </a:rPr>
              <a:t>c9800</a:t>
            </a:r>
            <a:r>
              <a:rPr lang="nb-NO" dirty="0">
                <a:ea typeface="Verdana"/>
              </a:rPr>
              <a:t>-db</a:t>
            </a:r>
          </a:p>
          <a:p>
            <a:pPr marL="1200150" lvl="1" indent="-285750">
              <a:buFont typeface="Arial,Sans-Serif" panose="020B0604020202020204" pitchFamily="34" charset="0"/>
              <a:buChar char="•"/>
            </a:pPr>
            <a:r>
              <a:rPr lang="nb-NO" dirty="0">
                <a:ea typeface="Verdana"/>
              </a:rPr>
              <a:t>User/Pass: </a:t>
            </a:r>
            <a:r>
              <a:rPr lang="nb-NO" dirty="0" err="1">
                <a:ea typeface="Verdana"/>
              </a:rPr>
              <a:t>devnet-adm</a:t>
            </a:r>
            <a:r>
              <a:rPr lang="nb-NO" dirty="0">
                <a:ea typeface="Verdana"/>
              </a:rPr>
              <a:t> / </a:t>
            </a:r>
            <a:r>
              <a:rPr lang="nb-NO" dirty="0" err="1">
                <a:ea typeface="Verdana"/>
              </a:rPr>
              <a:t>ChangeMe2024</a:t>
            </a:r>
            <a:r>
              <a:rPr lang="nb-NO" dirty="0">
                <a:ea typeface="Verdana"/>
              </a:rPr>
              <a:t>!</a:t>
            </a:r>
          </a:p>
          <a:p>
            <a:pPr marL="742950" lvl="1" indent="-285750">
              <a:buFont typeface="Arial,Sans-Serif" panose="020B0604020202020204" pitchFamily="34" charset="0"/>
              <a:buChar char="•"/>
            </a:pPr>
            <a:endParaRPr lang="nb-NO" dirty="0">
              <a:ea typeface="Verdana"/>
            </a:endParaRPr>
          </a:p>
          <a:p>
            <a:pPr marL="742950" lvl="1" indent="-285750">
              <a:buFont typeface="Arial" panose="020B0604020202020204" pitchFamily="34" charset="0"/>
              <a:buChar char="•"/>
            </a:pPr>
            <a:endParaRPr lang="nb-NO" sz="1400" dirty="0">
              <a:ea typeface="Verdana"/>
            </a:endParaRPr>
          </a:p>
          <a:p>
            <a:pPr marL="742950" lvl="1" indent="-285750">
              <a:buFont typeface="Arial" panose="020B0604020202020204" pitchFamily="34" charset="0"/>
              <a:buChar char="•"/>
            </a:pPr>
            <a:endParaRPr lang="nb-NO" dirty="0">
              <a:ea typeface="Verdana"/>
            </a:endParaRPr>
          </a:p>
        </p:txBody>
      </p:sp>
      <p:pic>
        <p:nvPicPr>
          <p:cNvPr id="28" name="Picture 27">
            <a:extLst>
              <a:ext uri="{FF2B5EF4-FFF2-40B4-BE49-F238E27FC236}">
                <a16:creationId xmlns:a16="http://schemas.microsoft.com/office/drawing/2014/main" id="{5C7BF652-D2B4-C4CF-CD86-5060405B7809}"/>
              </a:ext>
            </a:extLst>
          </p:cNvPr>
          <p:cNvPicPr>
            <a:picLocks noChangeAspect="1"/>
          </p:cNvPicPr>
          <p:nvPr/>
        </p:nvPicPr>
        <p:blipFill>
          <a:blip r:embed="rId4"/>
          <a:stretch>
            <a:fillRect/>
          </a:stretch>
        </p:blipFill>
        <p:spPr>
          <a:xfrm>
            <a:off x="7194742" y="4524646"/>
            <a:ext cx="1765043" cy="731148"/>
          </a:xfrm>
          <a:prstGeom prst="rect">
            <a:avLst/>
          </a:prstGeom>
        </p:spPr>
      </p:pic>
      <p:pic>
        <p:nvPicPr>
          <p:cNvPr id="30" name="Picture 29">
            <a:extLst>
              <a:ext uri="{FF2B5EF4-FFF2-40B4-BE49-F238E27FC236}">
                <a16:creationId xmlns:a16="http://schemas.microsoft.com/office/drawing/2014/main" id="{D3C53F3A-43B7-D508-BD7D-97CDDE563CC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258839" y="5377416"/>
            <a:ext cx="4566980" cy="602504"/>
          </a:xfrm>
          <a:prstGeom prst="rect">
            <a:avLst/>
          </a:prstGeom>
        </p:spPr>
      </p:pic>
      <p:cxnSp>
        <p:nvCxnSpPr>
          <p:cNvPr id="23" name="Straight Arrow Connector 22">
            <a:extLst>
              <a:ext uri="{FF2B5EF4-FFF2-40B4-BE49-F238E27FC236}">
                <a16:creationId xmlns:a16="http://schemas.microsoft.com/office/drawing/2014/main" id="{D5B766C6-F903-83AD-F8DD-2017BBF8697A}"/>
              </a:ext>
            </a:extLst>
          </p:cNvPr>
          <p:cNvCxnSpPr>
            <a:cxnSpLocks/>
          </p:cNvCxnSpPr>
          <p:nvPr/>
        </p:nvCxnSpPr>
        <p:spPr>
          <a:xfrm flipV="1">
            <a:off x="5770092" y="4993011"/>
            <a:ext cx="1321708" cy="9968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8" name="Bilde 7" descr="Et bilde som inneholder tekst, Font, skjermbilde&#10;&#10;Automatisk generert beskrivelse">
            <a:extLst>
              <a:ext uri="{FF2B5EF4-FFF2-40B4-BE49-F238E27FC236}">
                <a16:creationId xmlns:a16="http://schemas.microsoft.com/office/drawing/2014/main" id="{72CD1017-5474-DFCF-C28A-2C8AFD0792CA}"/>
              </a:ext>
            </a:extLst>
          </p:cNvPr>
          <p:cNvPicPr>
            <a:picLocks noChangeAspect="1"/>
          </p:cNvPicPr>
          <p:nvPr/>
        </p:nvPicPr>
        <p:blipFill>
          <a:blip r:embed="rId6"/>
          <a:stretch>
            <a:fillRect/>
          </a:stretch>
        </p:blipFill>
        <p:spPr>
          <a:xfrm>
            <a:off x="6225702" y="1121608"/>
            <a:ext cx="5263998" cy="1549295"/>
          </a:xfrm>
          <a:prstGeom prst="rect">
            <a:avLst/>
          </a:prstGeom>
        </p:spPr>
      </p:pic>
      <p:cxnSp>
        <p:nvCxnSpPr>
          <p:cNvPr id="12" name="Straight Arrow Connector 22">
            <a:extLst>
              <a:ext uri="{FF2B5EF4-FFF2-40B4-BE49-F238E27FC236}">
                <a16:creationId xmlns:a16="http://schemas.microsoft.com/office/drawing/2014/main" id="{80EDEE92-BA68-D6C4-3F43-CC4116FA20AB}"/>
              </a:ext>
            </a:extLst>
          </p:cNvPr>
          <p:cNvCxnSpPr>
            <a:cxnSpLocks/>
          </p:cNvCxnSpPr>
          <p:nvPr/>
        </p:nvCxnSpPr>
        <p:spPr>
          <a:xfrm>
            <a:off x="4701468" y="1680185"/>
            <a:ext cx="2093442" cy="11242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3" name="Straight Arrow Connector 22">
            <a:extLst>
              <a:ext uri="{FF2B5EF4-FFF2-40B4-BE49-F238E27FC236}">
                <a16:creationId xmlns:a16="http://schemas.microsoft.com/office/drawing/2014/main" id="{BB4F7C16-274D-0BC5-9FFE-1330F6DF4FA9}"/>
              </a:ext>
            </a:extLst>
          </p:cNvPr>
          <p:cNvCxnSpPr>
            <a:cxnSpLocks/>
          </p:cNvCxnSpPr>
          <p:nvPr/>
        </p:nvCxnSpPr>
        <p:spPr>
          <a:xfrm>
            <a:off x="3609620" y="2990832"/>
            <a:ext cx="343255" cy="33362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8" name="Bilde 17" descr="Et bilde som inneholder tekst, skjermbilde, Font&#10;&#10;Automatisk generert beskrivelse">
            <a:extLst>
              <a:ext uri="{FF2B5EF4-FFF2-40B4-BE49-F238E27FC236}">
                <a16:creationId xmlns:a16="http://schemas.microsoft.com/office/drawing/2014/main" id="{6364EDE5-9DD9-14DC-1760-5A5CE9A97999}"/>
              </a:ext>
            </a:extLst>
          </p:cNvPr>
          <p:cNvPicPr>
            <a:picLocks noChangeAspect="1"/>
          </p:cNvPicPr>
          <p:nvPr/>
        </p:nvPicPr>
        <p:blipFill>
          <a:blip r:embed="rId7"/>
          <a:stretch>
            <a:fillRect/>
          </a:stretch>
        </p:blipFill>
        <p:spPr>
          <a:xfrm>
            <a:off x="328112" y="4641563"/>
            <a:ext cx="5333306" cy="1374880"/>
          </a:xfrm>
          <a:prstGeom prst="rect">
            <a:avLst/>
          </a:prstGeom>
        </p:spPr>
      </p:pic>
      <p:sp>
        <p:nvSpPr>
          <p:cNvPr id="5" name="TextBox 4">
            <a:extLst>
              <a:ext uri="{FF2B5EF4-FFF2-40B4-BE49-F238E27FC236}">
                <a16:creationId xmlns:a16="http://schemas.microsoft.com/office/drawing/2014/main" id="{DB9859C5-7A42-F7A5-C318-B658FEC60126}"/>
              </a:ext>
            </a:extLst>
          </p:cNvPr>
          <p:cNvSpPr txBox="1"/>
          <p:nvPr/>
        </p:nvSpPr>
        <p:spPr>
          <a:xfrm>
            <a:off x="8351520" y="3324458"/>
            <a:ext cx="3298080" cy="646331"/>
          </a:xfrm>
          <a:prstGeom prst="rect">
            <a:avLst/>
          </a:prstGeom>
          <a:noFill/>
        </p:spPr>
        <p:txBody>
          <a:bodyPr wrap="square">
            <a:spAutoFit/>
          </a:bodyPr>
          <a:lstStyle/>
          <a:p>
            <a:r>
              <a:rPr lang="nb-NO" dirty="0">
                <a:solidFill>
                  <a:srgbClr val="FF0000"/>
                </a:solidFill>
                <a:ea typeface="Verdana"/>
              </a:rPr>
              <a:t>!!! </a:t>
            </a:r>
            <a:r>
              <a:rPr lang="nb-NO" dirty="0" err="1">
                <a:solidFill>
                  <a:srgbClr val="FF0000"/>
                </a:solidFill>
                <a:ea typeface="Verdana"/>
              </a:rPr>
              <a:t>You</a:t>
            </a:r>
            <a:r>
              <a:rPr lang="nb-NO" dirty="0">
                <a:solidFill>
                  <a:srgbClr val="FF0000"/>
                </a:solidFill>
                <a:ea typeface="Verdana"/>
              </a:rPr>
              <a:t> </a:t>
            </a:r>
            <a:r>
              <a:rPr lang="nb-NO" dirty="0" err="1">
                <a:solidFill>
                  <a:srgbClr val="FF0000"/>
                </a:solidFill>
                <a:ea typeface="Verdana"/>
              </a:rPr>
              <a:t>should</a:t>
            </a:r>
            <a:r>
              <a:rPr lang="nb-NO" dirty="0">
                <a:solidFill>
                  <a:srgbClr val="FF0000"/>
                </a:solidFill>
                <a:ea typeface="Verdana"/>
              </a:rPr>
              <a:t> have 3 </a:t>
            </a:r>
            <a:r>
              <a:rPr lang="nb-NO" dirty="0" err="1">
                <a:solidFill>
                  <a:srgbClr val="FF0000"/>
                </a:solidFill>
                <a:ea typeface="Verdana"/>
              </a:rPr>
              <a:t>measurements</a:t>
            </a:r>
            <a:r>
              <a:rPr lang="nb-NO" dirty="0">
                <a:solidFill>
                  <a:srgbClr val="FF0000"/>
                </a:solidFill>
                <a:ea typeface="Verdana"/>
              </a:rPr>
              <a:t> </a:t>
            </a:r>
            <a:r>
              <a:rPr lang="nb-NO" dirty="0" err="1">
                <a:solidFill>
                  <a:srgbClr val="FF0000"/>
                </a:solidFill>
                <a:ea typeface="Verdana"/>
              </a:rPr>
              <a:t>found</a:t>
            </a:r>
            <a:r>
              <a:rPr lang="nb-NO" dirty="0">
                <a:solidFill>
                  <a:srgbClr val="FF0000"/>
                </a:solidFill>
                <a:ea typeface="Verdana"/>
              </a:rPr>
              <a:t> !!!</a:t>
            </a:r>
            <a:endParaRPr lang="nb-NO" dirty="0">
              <a:solidFill>
                <a:srgbClr val="FF0000"/>
              </a:solidFill>
            </a:endParaRPr>
          </a:p>
        </p:txBody>
      </p:sp>
      <p:cxnSp>
        <p:nvCxnSpPr>
          <p:cNvPr id="6" name="Straight Arrow Connector 5">
            <a:extLst>
              <a:ext uri="{FF2B5EF4-FFF2-40B4-BE49-F238E27FC236}">
                <a16:creationId xmlns:a16="http://schemas.microsoft.com/office/drawing/2014/main" id="{E7EFC139-0E04-5F77-CC59-97E398884238}"/>
              </a:ext>
            </a:extLst>
          </p:cNvPr>
          <p:cNvCxnSpPr>
            <a:cxnSpLocks/>
          </p:cNvCxnSpPr>
          <p:nvPr/>
        </p:nvCxnSpPr>
        <p:spPr>
          <a:xfrm flipH="1">
            <a:off x="8857701" y="3970789"/>
            <a:ext cx="958611" cy="145997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Picture 2" descr="A blue logo with a black background&#10;&#10;Description automatically generated">
            <a:extLst>
              <a:ext uri="{FF2B5EF4-FFF2-40B4-BE49-F238E27FC236}">
                <a16:creationId xmlns:a16="http://schemas.microsoft.com/office/drawing/2014/main" id="{183C9310-ECCE-95C6-3968-E99EF31D5A7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8315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5831924" cy="5007717"/>
          </a:xfrm>
        </p:spPr>
        <p:txBody>
          <a:bodyPr>
            <a:normAutofit/>
          </a:bodyPr>
          <a:lstStyle/>
          <a:p>
            <a:pPr>
              <a:lnSpc>
                <a:spcPct val="110000"/>
              </a:lnSpc>
            </a:pPr>
            <a:r>
              <a:rPr lang="nb-NO" sz="1600" dirty="0" err="1"/>
              <a:t>Grafana</a:t>
            </a:r>
            <a:r>
              <a:rPr lang="nb-NO" sz="1600" dirty="0"/>
              <a:t> (</a:t>
            </a:r>
            <a:r>
              <a:rPr lang="nb-NO" sz="1600" dirty="0">
                <a:solidFill>
                  <a:srgbClr val="0070C0"/>
                </a:solidFill>
              </a:rPr>
              <a:t>http://{</a:t>
            </a:r>
            <a:r>
              <a:rPr lang="nb-NO" sz="1600" dirty="0" err="1">
                <a:solidFill>
                  <a:srgbClr val="0070C0"/>
                </a:solidFill>
              </a:rPr>
              <a:t>Ubuntu</a:t>
            </a:r>
            <a:r>
              <a:rPr lang="nb-NO" sz="1600" dirty="0">
                <a:solidFill>
                  <a:srgbClr val="0070C0"/>
                </a:solidFill>
              </a:rPr>
              <a:t>-IP}:3000</a:t>
            </a:r>
            <a:r>
              <a:rPr lang="nb-NO" sz="1600" dirty="0"/>
              <a:t>)</a:t>
            </a:r>
          </a:p>
          <a:p>
            <a:pPr>
              <a:lnSpc>
                <a:spcPct val="110000"/>
              </a:lnSpc>
            </a:pPr>
            <a:endParaRPr lang="nb-NO" sz="1600" dirty="0"/>
          </a:p>
          <a:p>
            <a:pPr>
              <a:lnSpc>
                <a:spcPct val="110000"/>
              </a:lnSpc>
            </a:pPr>
            <a:endParaRPr lang="nb-NO" sz="1600" dirty="0"/>
          </a:p>
          <a:p>
            <a:pPr marL="0" indent="0">
              <a:lnSpc>
                <a:spcPct val="110000"/>
              </a:lnSpc>
              <a:buNone/>
            </a:pPr>
            <a:endParaRPr lang="nb-NO" sz="1600" dirty="0"/>
          </a:p>
          <a:p>
            <a:pPr marL="0" indent="0">
              <a:lnSpc>
                <a:spcPct val="110000"/>
              </a:lnSpc>
              <a:buNone/>
            </a:pPr>
            <a:endParaRPr lang="nb-NO" sz="1600" dirty="0"/>
          </a:p>
          <a:p>
            <a:pPr>
              <a:lnSpc>
                <a:spcPct val="110000"/>
              </a:lnSpc>
            </a:pPr>
            <a:r>
              <a:rPr lang="nb-NO" sz="1600" dirty="0">
                <a:solidFill>
                  <a:srgbClr val="FF0000"/>
                </a:solidFill>
              </a:rPr>
              <a:t>!!! </a:t>
            </a:r>
            <a:r>
              <a:rPr lang="nb-NO" sz="1600" dirty="0" err="1">
                <a:solidFill>
                  <a:srgbClr val="FF0000"/>
                </a:solidFill>
              </a:rPr>
              <a:t>Don't</a:t>
            </a:r>
            <a:r>
              <a:rPr lang="nb-NO" sz="1600" dirty="0">
                <a:solidFill>
                  <a:srgbClr val="FF0000"/>
                </a:solidFill>
              </a:rPr>
              <a:t> press </a:t>
            </a:r>
            <a:r>
              <a:rPr lang="nb-NO" sz="1600" dirty="0" err="1">
                <a:solidFill>
                  <a:srgbClr val="FF0000"/>
                </a:solidFill>
              </a:rPr>
              <a:t>the</a:t>
            </a:r>
            <a:r>
              <a:rPr lang="nb-NO" sz="1600" dirty="0">
                <a:solidFill>
                  <a:srgbClr val="FF0000"/>
                </a:solidFill>
              </a:rPr>
              <a:t> </a:t>
            </a:r>
            <a:r>
              <a:rPr lang="nb-NO" sz="1600" dirty="0" err="1">
                <a:solidFill>
                  <a:srgbClr val="FF0000"/>
                </a:solidFill>
              </a:rPr>
              <a:t>very</a:t>
            </a:r>
            <a:r>
              <a:rPr lang="nb-NO" sz="1600" dirty="0">
                <a:solidFill>
                  <a:srgbClr val="FF0000"/>
                </a:solidFill>
              </a:rPr>
              <a:t> </a:t>
            </a:r>
            <a:r>
              <a:rPr lang="nb-NO" sz="1600" dirty="0" err="1">
                <a:solidFill>
                  <a:srgbClr val="FF0000"/>
                </a:solidFill>
              </a:rPr>
              <a:t>tempting</a:t>
            </a:r>
            <a:r>
              <a:rPr lang="nb-NO" sz="1600" dirty="0">
                <a:solidFill>
                  <a:srgbClr val="FF0000"/>
                </a:solidFill>
              </a:rPr>
              <a:t> "+</a:t>
            </a:r>
            <a:r>
              <a:rPr lang="nb-NO" sz="1600" dirty="0" err="1">
                <a:solidFill>
                  <a:srgbClr val="FF0000"/>
                </a:solidFill>
              </a:rPr>
              <a:t>Add</a:t>
            </a:r>
            <a:r>
              <a:rPr lang="nb-NO" sz="1600" dirty="0">
                <a:solidFill>
                  <a:srgbClr val="FF0000"/>
                </a:solidFill>
              </a:rPr>
              <a:t> </a:t>
            </a:r>
            <a:r>
              <a:rPr lang="nb-NO" sz="1600" dirty="0" err="1">
                <a:solidFill>
                  <a:srgbClr val="FF0000"/>
                </a:solidFill>
              </a:rPr>
              <a:t>Visualization</a:t>
            </a:r>
            <a:r>
              <a:rPr lang="nb-NO" sz="1600" dirty="0">
                <a:solidFill>
                  <a:srgbClr val="FF0000"/>
                </a:solidFill>
              </a:rPr>
              <a:t>" </a:t>
            </a:r>
            <a:r>
              <a:rPr lang="nb-NO" sz="1600" dirty="0" err="1">
                <a:solidFill>
                  <a:srgbClr val="FF0000"/>
                </a:solidFill>
              </a:rPr>
              <a:t>button</a:t>
            </a:r>
            <a:r>
              <a:rPr lang="nb-NO" sz="1600" dirty="0">
                <a:solidFill>
                  <a:srgbClr val="FF0000"/>
                </a:solidFill>
              </a:rPr>
              <a:t> </a:t>
            </a:r>
            <a:r>
              <a:rPr lang="nb-NO" sz="1600" dirty="0" err="1">
                <a:solidFill>
                  <a:srgbClr val="FF0000"/>
                </a:solidFill>
              </a:rPr>
              <a:t>yet</a:t>
            </a:r>
            <a:r>
              <a:rPr lang="nb-NO" sz="1600" dirty="0">
                <a:solidFill>
                  <a:srgbClr val="FF0000"/>
                </a:solidFill>
              </a:rPr>
              <a:t>, </a:t>
            </a:r>
            <a:r>
              <a:rPr lang="nb-NO" sz="1600" dirty="0" err="1">
                <a:solidFill>
                  <a:srgbClr val="FF0000"/>
                </a:solidFill>
              </a:rPr>
              <a:t>we</a:t>
            </a:r>
            <a:r>
              <a:rPr lang="nb-NO" sz="1600" dirty="0">
                <a:solidFill>
                  <a:srgbClr val="FF0000"/>
                </a:solidFill>
              </a:rPr>
              <a:t> </a:t>
            </a:r>
            <a:r>
              <a:rPr lang="nb-NO" sz="1600" dirty="0" err="1">
                <a:solidFill>
                  <a:srgbClr val="FF0000"/>
                </a:solidFill>
              </a:rPr>
              <a:t>will</a:t>
            </a:r>
            <a:r>
              <a:rPr lang="nb-NO" sz="1600" dirty="0">
                <a:solidFill>
                  <a:srgbClr val="FF0000"/>
                </a:solidFill>
              </a:rPr>
              <a:t> do </a:t>
            </a:r>
            <a:r>
              <a:rPr lang="nb-NO" sz="1600" dirty="0" err="1">
                <a:solidFill>
                  <a:srgbClr val="FF0000"/>
                </a:solidFill>
              </a:rPr>
              <a:t>some</a:t>
            </a:r>
            <a:r>
              <a:rPr lang="nb-NO" sz="1600" dirty="0">
                <a:solidFill>
                  <a:srgbClr val="FF0000"/>
                </a:solidFill>
              </a:rPr>
              <a:t> pre-</a:t>
            </a:r>
            <a:r>
              <a:rPr lang="nb-NO" sz="1600" dirty="0" err="1">
                <a:solidFill>
                  <a:srgbClr val="FF0000"/>
                </a:solidFill>
              </a:rPr>
              <a:t>work</a:t>
            </a:r>
            <a:r>
              <a:rPr lang="nb-NO" sz="1600" dirty="0">
                <a:solidFill>
                  <a:srgbClr val="FF0000"/>
                </a:solidFill>
              </a:rPr>
              <a:t> first </a:t>
            </a:r>
            <a:r>
              <a:rPr lang="nb-NO" sz="1600" dirty="0">
                <a:solidFill>
                  <a:srgbClr val="FF0000"/>
                </a:solidFill>
                <a:sym typeface="Wingdings" panose="05000000000000000000" pitchFamily="2" charset="2"/>
              </a:rPr>
              <a:t></a:t>
            </a:r>
            <a:endParaRPr lang="nb-NO" sz="1600" dirty="0">
              <a:solidFill>
                <a:srgbClr val="FF0000"/>
              </a:solidFill>
            </a:endParaRPr>
          </a:p>
          <a:p>
            <a:pPr>
              <a:lnSpc>
                <a:spcPct val="110000"/>
              </a:lnSpc>
            </a:pPr>
            <a:endParaRPr lang="nb-NO" sz="1600" dirty="0"/>
          </a:p>
          <a:p>
            <a:pPr>
              <a:lnSpc>
                <a:spcPct val="110000"/>
              </a:lnSpc>
            </a:pPr>
            <a:r>
              <a:rPr lang="nb-NO" sz="1600" dirty="0"/>
              <a:t>Start by giving </a:t>
            </a:r>
            <a:r>
              <a:rPr lang="nb-NO" sz="1600" dirty="0" err="1"/>
              <a:t>the</a:t>
            </a:r>
            <a:r>
              <a:rPr lang="nb-NO" sz="1600" dirty="0"/>
              <a:t> </a:t>
            </a:r>
            <a:r>
              <a:rPr lang="nb-NO" sz="1600" dirty="0" err="1"/>
              <a:t>new</a:t>
            </a:r>
            <a:r>
              <a:rPr lang="nb-NO" sz="1600" dirty="0"/>
              <a:t> </a:t>
            </a:r>
            <a:r>
              <a:rPr lang="nb-NO" sz="1600" dirty="0" err="1"/>
              <a:t>dashboard</a:t>
            </a:r>
            <a:r>
              <a:rPr lang="nb-NO" sz="1600" dirty="0"/>
              <a:t> a </a:t>
            </a:r>
            <a:r>
              <a:rPr lang="nb-NO" sz="1600" dirty="0" err="1"/>
              <a:t>name</a:t>
            </a: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8</a:t>
            </a:fld>
            <a:endParaRPr lang="en-GB"/>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15" name="Picture 14">
            <a:extLst>
              <a:ext uri="{FF2B5EF4-FFF2-40B4-BE49-F238E27FC236}">
                <a16:creationId xmlns:a16="http://schemas.microsoft.com/office/drawing/2014/main" id="{E5D804E8-49D9-9299-F9D1-988B9FB46899}"/>
              </a:ext>
            </a:extLst>
          </p:cNvPr>
          <p:cNvPicPr>
            <a:picLocks noChangeAspect="1"/>
          </p:cNvPicPr>
          <p:nvPr/>
        </p:nvPicPr>
        <p:blipFill>
          <a:blip r:embed="rId3"/>
          <a:stretch>
            <a:fillRect/>
          </a:stretch>
        </p:blipFill>
        <p:spPr>
          <a:xfrm>
            <a:off x="627404" y="1553158"/>
            <a:ext cx="5744520" cy="1060419"/>
          </a:xfrm>
          <a:prstGeom prst="rect">
            <a:avLst/>
          </a:prstGeom>
        </p:spPr>
      </p:pic>
      <p:pic>
        <p:nvPicPr>
          <p:cNvPr id="28" name="Picture 27">
            <a:extLst>
              <a:ext uri="{FF2B5EF4-FFF2-40B4-BE49-F238E27FC236}">
                <a16:creationId xmlns:a16="http://schemas.microsoft.com/office/drawing/2014/main" id="{3CDA9DE1-F708-2418-089B-846AACB07542}"/>
              </a:ext>
            </a:extLst>
          </p:cNvPr>
          <p:cNvPicPr>
            <a:picLocks noChangeAspect="1"/>
          </p:cNvPicPr>
          <p:nvPr/>
        </p:nvPicPr>
        <p:blipFill>
          <a:blip r:embed="rId4"/>
          <a:stretch>
            <a:fillRect/>
          </a:stretch>
        </p:blipFill>
        <p:spPr>
          <a:xfrm>
            <a:off x="6535293" y="1553157"/>
            <a:ext cx="5566909" cy="3840645"/>
          </a:xfrm>
          <a:prstGeom prst="rect">
            <a:avLst/>
          </a:prstGeom>
        </p:spPr>
      </p:pic>
      <p:pic>
        <p:nvPicPr>
          <p:cNvPr id="9" name="Picture 8">
            <a:extLst>
              <a:ext uri="{FF2B5EF4-FFF2-40B4-BE49-F238E27FC236}">
                <a16:creationId xmlns:a16="http://schemas.microsoft.com/office/drawing/2014/main" id="{9C3F5A80-4145-B7AB-2A32-4A455B7F4FCF}"/>
              </a:ext>
            </a:extLst>
          </p:cNvPr>
          <p:cNvPicPr>
            <a:picLocks noChangeAspect="1"/>
          </p:cNvPicPr>
          <p:nvPr/>
        </p:nvPicPr>
        <p:blipFill>
          <a:blip r:embed="rId5"/>
          <a:stretch>
            <a:fillRect/>
          </a:stretch>
        </p:blipFill>
        <p:spPr>
          <a:xfrm>
            <a:off x="5390425" y="1990431"/>
            <a:ext cx="896949" cy="959046"/>
          </a:xfrm>
          <a:prstGeom prst="rect">
            <a:avLst/>
          </a:prstGeom>
        </p:spPr>
      </p:pic>
      <p:cxnSp>
        <p:nvCxnSpPr>
          <p:cNvPr id="14" name="Straight Arrow Connector 13">
            <a:extLst>
              <a:ext uri="{FF2B5EF4-FFF2-40B4-BE49-F238E27FC236}">
                <a16:creationId xmlns:a16="http://schemas.microsoft.com/office/drawing/2014/main" id="{5E62564F-5B58-6220-DA9D-75A1C5F55029}"/>
              </a:ext>
            </a:extLst>
          </p:cNvPr>
          <p:cNvCxnSpPr>
            <a:cxnSpLocks/>
            <a:endCxn id="10" idx="1"/>
          </p:cNvCxnSpPr>
          <p:nvPr/>
        </p:nvCxnSpPr>
        <p:spPr>
          <a:xfrm flipV="1">
            <a:off x="1866004" y="2434834"/>
            <a:ext cx="3524421" cy="2533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0" name="Rectangle: Rounded Corners 9">
            <a:extLst>
              <a:ext uri="{FF2B5EF4-FFF2-40B4-BE49-F238E27FC236}">
                <a16:creationId xmlns:a16="http://schemas.microsoft.com/office/drawing/2014/main" id="{0E50BF91-C5F2-71A8-E542-8F99BA413399}"/>
              </a:ext>
            </a:extLst>
          </p:cNvPr>
          <p:cNvSpPr/>
          <p:nvPr/>
        </p:nvSpPr>
        <p:spPr>
          <a:xfrm>
            <a:off x="5390425" y="2256090"/>
            <a:ext cx="896949" cy="35748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6" name="Picture 5">
            <a:extLst>
              <a:ext uri="{FF2B5EF4-FFF2-40B4-BE49-F238E27FC236}">
                <a16:creationId xmlns:a16="http://schemas.microsoft.com/office/drawing/2014/main" id="{EB6D5713-AC60-66C6-2F1A-890B4E122AF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146593" y="4552900"/>
            <a:ext cx="1657510" cy="1425945"/>
          </a:xfrm>
          <a:prstGeom prst="rect">
            <a:avLst/>
          </a:prstGeom>
        </p:spPr>
      </p:pic>
      <p:pic>
        <p:nvPicPr>
          <p:cNvPr id="5" name="Picture 4">
            <a:extLst>
              <a:ext uri="{FF2B5EF4-FFF2-40B4-BE49-F238E27FC236}">
                <a16:creationId xmlns:a16="http://schemas.microsoft.com/office/drawing/2014/main" id="{EC187D17-6527-F3F8-5193-492255DAC439}"/>
              </a:ext>
            </a:extLst>
          </p:cNvPr>
          <p:cNvPicPr>
            <a:picLocks noChangeAspect="1"/>
          </p:cNvPicPr>
          <p:nvPr/>
        </p:nvPicPr>
        <p:blipFill>
          <a:blip r:embed="rId7"/>
          <a:stretch>
            <a:fillRect/>
          </a:stretch>
        </p:blipFill>
        <p:spPr>
          <a:xfrm>
            <a:off x="4056150" y="4483728"/>
            <a:ext cx="1571844" cy="543001"/>
          </a:xfrm>
          <a:prstGeom prst="rect">
            <a:avLst/>
          </a:prstGeom>
        </p:spPr>
      </p:pic>
      <p:cxnSp>
        <p:nvCxnSpPr>
          <p:cNvPr id="7" name="Straight Arrow Connector 6">
            <a:extLst>
              <a:ext uri="{FF2B5EF4-FFF2-40B4-BE49-F238E27FC236}">
                <a16:creationId xmlns:a16="http://schemas.microsoft.com/office/drawing/2014/main" id="{E1928BFB-61B9-F15E-F17F-D6027658DDFB}"/>
              </a:ext>
            </a:extLst>
          </p:cNvPr>
          <p:cNvCxnSpPr>
            <a:cxnSpLocks/>
          </p:cNvCxnSpPr>
          <p:nvPr/>
        </p:nvCxnSpPr>
        <p:spPr>
          <a:xfrm flipH="1">
            <a:off x="3228878" y="4755228"/>
            <a:ext cx="1412924" cy="96684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 name="Straight Arrow Connector 2">
            <a:extLst>
              <a:ext uri="{FF2B5EF4-FFF2-40B4-BE49-F238E27FC236}">
                <a16:creationId xmlns:a16="http://schemas.microsoft.com/office/drawing/2014/main" id="{9AE3E3CE-E9CE-7D35-1AF7-A2EE61DC0F34}"/>
              </a:ext>
            </a:extLst>
          </p:cNvPr>
          <p:cNvCxnSpPr>
            <a:cxnSpLocks/>
          </p:cNvCxnSpPr>
          <p:nvPr/>
        </p:nvCxnSpPr>
        <p:spPr>
          <a:xfrm>
            <a:off x="6370424" y="3248802"/>
            <a:ext cx="2183026" cy="180198"/>
          </a:xfrm>
          <a:prstGeom prst="straightConnector1">
            <a:avLst/>
          </a:prstGeom>
          <a:ln>
            <a:solidFill>
              <a:srgbClr val="FF0000"/>
            </a:solidFill>
            <a:tailEnd type="triangle"/>
          </a:ln>
        </p:spPr>
        <p:style>
          <a:lnRef idx="3">
            <a:schemeClr val="accent1"/>
          </a:lnRef>
          <a:fillRef idx="0">
            <a:schemeClr val="accent1"/>
          </a:fillRef>
          <a:effectRef idx="2">
            <a:schemeClr val="accent1"/>
          </a:effectRef>
          <a:fontRef idx="minor">
            <a:schemeClr val="tx1"/>
          </a:fontRef>
        </p:style>
      </p:cxnSp>
      <p:cxnSp>
        <p:nvCxnSpPr>
          <p:cNvPr id="11" name="Straight Arrow Connector 10">
            <a:extLst>
              <a:ext uri="{FF2B5EF4-FFF2-40B4-BE49-F238E27FC236}">
                <a16:creationId xmlns:a16="http://schemas.microsoft.com/office/drawing/2014/main" id="{C7F3ED9B-AE6D-BFC9-7F44-F9C0076B0D3D}"/>
              </a:ext>
            </a:extLst>
          </p:cNvPr>
          <p:cNvCxnSpPr>
            <a:cxnSpLocks/>
          </p:cNvCxnSpPr>
          <p:nvPr/>
        </p:nvCxnSpPr>
        <p:spPr>
          <a:xfrm flipH="1">
            <a:off x="5707737" y="1763937"/>
            <a:ext cx="3633113" cy="266248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3" name="Text+Image 50:50">
            <a:extLst>
              <a:ext uri="{FF2B5EF4-FFF2-40B4-BE49-F238E27FC236}">
                <a16:creationId xmlns:a16="http://schemas.microsoft.com/office/drawing/2014/main" id="{6A874401-E4B9-A8F7-C8FE-8E5AE5D69CE4}"/>
              </a:ext>
            </a:extLst>
          </p:cNvPr>
          <p:cNvSpPr txBox="1">
            <a:spLocks noGrp="1"/>
          </p:cNvSpPr>
          <p:nvPr>
            <p:ph type="title"/>
          </p:nvPr>
        </p:nvSpPr>
        <p:spPr>
          <a:xfrm>
            <a:off x="540000" y="432000"/>
            <a:ext cx="11109600" cy="540000"/>
          </a:xfrm>
        </p:spPr>
        <p:txBody>
          <a:bodyPr anchor="ctr">
            <a:normAutofit/>
          </a:bodyPr>
          <a:lstStyle/>
          <a:p>
            <a:r>
              <a:rPr lang="en-GB" dirty="0"/>
              <a:t>Create your first dashboard</a:t>
            </a:r>
          </a:p>
        </p:txBody>
      </p:sp>
      <p:pic>
        <p:nvPicPr>
          <p:cNvPr id="16" name="Picture 15" descr="A blue logo with a black background&#10;&#10;Description automatically generated">
            <a:extLst>
              <a:ext uri="{FF2B5EF4-FFF2-40B4-BE49-F238E27FC236}">
                <a16:creationId xmlns:a16="http://schemas.microsoft.com/office/drawing/2014/main" id="{372C9B02-01CF-A00B-E187-8F3B01809EF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49806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Add</a:t>
            </a:r>
            <a:r>
              <a:rPr lang="nb-NO" sz="1600"/>
              <a:t> variables</a:t>
            </a:r>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Grafana</a:t>
            </a:r>
          </a:p>
        </p:txBody>
      </p:sp>
      <p:sp>
        <p:nvSpPr>
          <p:cNvPr id="2" name="Footer Placeholder 6">
            <a:extLst>
              <a:ext uri="{FF2B5EF4-FFF2-40B4-BE49-F238E27FC236}">
                <a16:creationId xmlns:a16="http://schemas.microsoft.com/office/drawing/2014/main" id="{1506A2A6-01BE-3807-1B4A-B4198C00C4E9}"/>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t> Labs (Day 1)</a:t>
            </a:r>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4" name="Footer Placeholder 6">
            <a:extLst>
              <a:ext uri="{FF2B5EF4-FFF2-40B4-BE49-F238E27FC236}">
                <a16:creationId xmlns:a16="http://schemas.microsoft.com/office/drawing/2014/main" id="{99B9AFAD-6D20-4299-CD50-D8A4B3C2D38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Lab exercise #11: Build your first Grafana Dashboard</a:t>
            </a:r>
          </a:p>
        </p:txBody>
      </p:sp>
      <p:pic>
        <p:nvPicPr>
          <p:cNvPr id="7" name="Picture 6">
            <a:extLst>
              <a:ext uri="{FF2B5EF4-FFF2-40B4-BE49-F238E27FC236}">
                <a16:creationId xmlns:a16="http://schemas.microsoft.com/office/drawing/2014/main" id="{8DAC3F25-42A6-2B34-CB0A-5CBF7F943796}"/>
              </a:ext>
            </a:extLst>
          </p:cNvPr>
          <p:cNvPicPr>
            <a:picLocks noChangeAspect="1"/>
          </p:cNvPicPr>
          <p:nvPr/>
        </p:nvPicPr>
        <p:blipFill>
          <a:blip r:embed="rId3"/>
          <a:stretch>
            <a:fillRect/>
          </a:stretch>
        </p:blipFill>
        <p:spPr>
          <a:xfrm>
            <a:off x="720000" y="1515184"/>
            <a:ext cx="5353797" cy="838317"/>
          </a:xfrm>
          <a:prstGeom prst="rect">
            <a:avLst/>
          </a:prstGeom>
        </p:spPr>
      </p:pic>
      <p:cxnSp>
        <p:nvCxnSpPr>
          <p:cNvPr id="8" name="Straight Arrow Connector 7">
            <a:extLst>
              <a:ext uri="{FF2B5EF4-FFF2-40B4-BE49-F238E27FC236}">
                <a16:creationId xmlns:a16="http://schemas.microsoft.com/office/drawing/2014/main" id="{61E4DBE9-0D5F-FCD9-C745-13AB35479943}"/>
              </a:ext>
            </a:extLst>
          </p:cNvPr>
          <p:cNvCxnSpPr>
            <a:cxnSpLocks/>
          </p:cNvCxnSpPr>
          <p:nvPr/>
        </p:nvCxnSpPr>
        <p:spPr>
          <a:xfrm>
            <a:off x="2302503" y="1330877"/>
            <a:ext cx="2130601" cy="52620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2" name="Picture 11">
            <a:extLst>
              <a:ext uri="{FF2B5EF4-FFF2-40B4-BE49-F238E27FC236}">
                <a16:creationId xmlns:a16="http://schemas.microsoft.com/office/drawing/2014/main" id="{ADF14A3F-75FF-0E6C-2560-6A4915DBDC53}"/>
              </a:ext>
            </a:extLst>
          </p:cNvPr>
          <p:cNvPicPr>
            <a:picLocks noChangeAspect="1"/>
          </p:cNvPicPr>
          <p:nvPr/>
        </p:nvPicPr>
        <p:blipFill rotWithShape="1">
          <a:blip r:embed="rId4"/>
          <a:srcRect b="52429"/>
          <a:stretch/>
        </p:blipFill>
        <p:spPr>
          <a:xfrm>
            <a:off x="720000" y="2496227"/>
            <a:ext cx="4224774" cy="1597202"/>
          </a:xfrm>
          <a:prstGeom prst="rect">
            <a:avLst/>
          </a:prstGeom>
        </p:spPr>
      </p:pic>
      <p:cxnSp>
        <p:nvCxnSpPr>
          <p:cNvPr id="14" name="Straight Arrow Connector 13">
            <a:extLst>
              <a:ext uri="{FF2B5EF4-FFF2-40B4-BE49-F238E27FC236}">
                <a16:creationId xmlns:a16="http://schemas.microsoft.com/office/drawing/2014/main" id="{5E62564F-5B58-6220-DA9D-75A1C5F55029}"/>
              </a:ext>
            </a:extLst>
          </p:cNvPr>
          <p:cNvCxnSpPr>
            <a:cxnSpLocks/>
          </p:cNvCxnSpPr>
          <p:nvPr/>
        </p:nvCxnSpPr>
        <p:spPr>
          <a:xfrm flipH="1">
            <a:off x="3321504" y="2170632"/>
            <a:ext cx="1111600" cy="138279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21" name="Picture 20">
            <a:extLst>
              <a:ext uri="{FF2B5EF4-FFF2-40B4-BE49-F238E27FC236}">
                <a16:creationId xmlns:a16="http://schemas.microsoft.com/office/drawing/2014/main" id="{6AB84081-6DC7-0CFB-1C39-30FD8A3B24F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860655" y="1477905"/>
            <a:ext cx="3541415" cy="4375814"/>
          </a:xfrm>
          <a:prstGeom prst="rect">
            <a:avLst/>
          </a:prstGeom>
        </p:spPr>
      </p:pic>
      <p:sp>
        <p:nvSpPr>
          <p:cNvPr id="24" name="The distance between the headline and the start of the body copy is always constant.…">
            <a:extLst>
              <a:ext uri="{FF2B5EF4-FFF2-40B4-BE49-F238E27FC236}">
                <a16:creationId xmlns:a16="http://schemas.microsoft.com/office/drawing/2014/main" id="{9CF69559-D1DE-9D57-4F85-565EE524A0EB}"/>
              </a:ext>
            </a:extLst>
          </p:cNvPr>
          <p:cNvSpPr txBox="1">
            <a:spLocks/>
          </p:cNvSpPr>
          <p:nvPr/>
        </p:nvSpPr>
        <p:spPr bwMode="gray">
          <a:xfrm>
            <a:off x="6426137" y="285311"/>
            <a:ext cx="5918673" cy="483840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en-US" sz="1600"/>
              <a:t>Name: </a:t>
            </a:r>
            <a:r>
              <a:rPr lang="en-US" sz="1600" err="1"/>
              <a:t>APName</a:t>
            </a:r>
            <a:endParaRPr lang="en-US" sz="1600"/>
          </a:p>
          <a:p>
            <a:pPr>
              <a:lnSpc>
                <a:spcPct val="110000"/>
              </a:lnSpc>
            </a:pPr>
            <a:r>
              <a:rPr lang="en-US" sz="1600"/>
              <a:t>Query: </a:t>
            </a:r>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a:lnSpc>
                <a:spcPct val="110000"/>
              </a:lnSpc>
            </a:pPr>
            <a:endParaRPr lang="en-US" sz="1600"/>
          </a:p>
          <a:p>
            <a:pPr marL="0" indent="0">
              <a:lnSpc>
                <a:spcPct val="110000"/>
              </a:lnSpc>
              <a:buFont typeface="Arial" panose="020B0604020202020204" pitchFamily="34" charset="0"/>
              <a:buNone/>
            </a:pPr>
            <a:endParaRPr lang="en-US" sz="1600"/>
          </a:p>
        </p:txBody>
      </p:sp>
      <p:sp>
        <p:nvSpPr>
          <p:cNvPr id="25" name="Rectangle 24">
            <a:extLst>
              <a:ext uri="{FF2B5EF4-FFF2-40B4-BE49-F238E27FC236}">
                <a16:creationId xmlns:a16="http://schemas.microsoft.com/office/drawing/2014/main" id="{7C6F6CF8-F6B0-D48C-4E4E-61C70ABE0FF0}"/>
              </a:ext>
            </a:extLst>
          </p:cNvPr>
          <p:cNvSpPr/>
          <p:nvPr/>
        </p:nvSpPr>
        <p:spPr>
          <a:xfrm>
            <a:off x="7892374" y="5429580"/>
            <a:ext cx="2509696" cy="424139"/>
          </a:xfrm>
          <a:prstGeom prst="rect">
            <a:avLst/>
          </a:prstGeom>
          <a:noFill/>
          <a:ln w="381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err="1"/>
          </a:p>
        </p:txBody>
      </p:sp>
      <p:pic>
        <p:nvPicPr>
          <p:cNvPr id="6" name="Picture 5">
            <a:extLst>
              <a:ext uri="{FF2B5EF4-FFF2-40B4-BE49-F238E27FC236}">
                <a16:creationId xmlns:a16="http://schemas.microsoft.com/office/drawing/2014/main" id="{17D8BA37-7034-C40F-FD44-CC98E031292E}"/>
              </a:ext>
            </a:extLst>
          </p:cNvPr>
          <p:cNvPicPr>
            <a:picLocks noChangeAspect="1"/>
          </p:cNvPicPr>
          <p:nvPr/>
        </p:nvPicPr>
        <p:blipFill>
          <a:blip r:embed="rId6"/>
          <a:stretch>
            <a:fillRect/>
          </a:stretch>
        </p:blipFill>
        <p:spPr>
          <a:xfrm>
            <a:off x="5192813" y="5167681"/>
            <a:ext cx="1238423" cy="762106"/>
          </a:xfrm>
          <a:prstGeom prst="rect">
            <a:avLst/>
          </a:prstGeom>
        </p:spPr>
      </p:pic>
      <p:cxnSp>
        <p:nvCxnSpPr>
          <p:cNvPr id="9" name="Straight Arrow Connector 8">
            <a:extLst>
              <a:ext uri="{FF2B5EF4-FFF2-40B4-BE49-F238E27FC236}">
                <a16:creationId xmlns:a16="http://schemas.microsoft.com/office/drawing/2014/main" id="{63CC984C-A5E5-A8BF-8FD3-578793986F67}"/>
              </a:ext>
            </a:extLst>
          </p:cNvPr>
          <p:cNvCxnSpPr>
            <a:cxnSpLocks/>
          </p:cNvCxnSpPr>
          <p:nvPr/>
        </p:nvCxnSpPr>
        <p:spPr>
          <a:xfrm flipH="1">
            <a:off x="6165445" y="5737056"/>
            <a:ext cx="580032"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3" name="TextBox 2">
            <a:extLst>
              <a:ext uri="{FF2B5EF4-FFF2-40B4-BE49-F238E27FC236}">
                <a16:creationId xmlns:a16="http://schemas.microsoft.com/office/drawing/2014/main" id="{418BBB06-FBC1-1F8D-3BB0-26E3F3EBE321}"/>
              </a:ext>
            </a:extLst>
          </p:cNvPr>
          <p:cNvSpPr txBox="1"/>
          <p:nvPr/>
        </p:nvSpPr>
        <p:spPr>
          <a:xfrm>
            <a:off x="9180525" y="1186477"/>
            <a:ext cx="2838800" cy="246221"/>
          </a:xfrm>
          <a:prstGeom prst="rect">
            <a:avLst/>
          </a:prstGeom>
          <a:noFill/>
          <a:ln>
            <a:solidFill>
              <a:schemeClr val="tx1"/>
            </a:solidFill>
          </a:ln>
        </p:spPr>
        <p:txBody>
          <a:bodyPr wrap="square">
            <a:spAutoFit/>
          </a:bodyPr>
          <a:lstStyle/>
          <a:p>
            <a:r>
              <a:rPr lang="en-US" sz="1000">
                <a:latin typeface="Consolas" panose="020B0609020204030204" pitchFamily="49" charset="0"/>
              </a:rPr>
              <a:t>SHOW TAG VALUES WITH KEY = "</a:t>
            </a:r>
            <a:r>
              <a:rPr lang="en-US" sz="1000" err="1">
                <a:latin typeface="Consolas" panose="020B0609020204030204" pitchFamily="49" charset="0"/>
              </a:rPr>
              <a:t>wtp_name</a:t>
            </a:r>
            <a:r>
              <a:rPr lang="en-US" sz="1000">
                <a:latin typeface="Consolas" panose="020B0609020204030204" pitchFamily="49" charset="0"/>
              </a:rPr>
              <a:t>"</a:t>
            </a:r>
          </a:p>
        </p:txBody>
      </p:sp>
      <p:cxnSp>
        <p:nvCxnSpPr>
          <p:cNvPr id="5" name="Straight Arrow Connector 4">
            <a:extLst>
              <a:ext uri="{FF2B5EF4-FFF2-40B4-BE49-F238E27FC236}">
                <a16:creationId xmlns:a16="http://schemas.microsoft.com/office/drawing/2014/main" id="{F833C85F-68BD-A90E-521C-1D0AFBAA9288}"/>
              </a:ext>
            </a:extLst>
          </p:cNvPr>
          <p:cNvCxnSpPr>
            <a:cxnSpLocks/>
          </p:cNvCxnSpPr>
          <p:nvPr/>
        </p:nvCxnSpPr>
        <p:spPr>
          <a:xfrm flipH="1">
            <a:off x="9461770" y="1512000"/>
            <a:ext cx="1166594" cy="383081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3" name="Picture 12">
            <a:extLst>
              <a:ext uri="{FF2B5EF4-FFF2-40B4-BE49-F238E27FC236}">
                <a16:creationId xmlns:a16="http://schemas.microsoft.com/office/drawing/2014/main" id="{27AFFC3C-EFEE-A9F0-78BD-E53D0117A03A}"/>
              </a:ext>
            </a:extLst>
          </p:cNvPr>
          <p:cNvPicPr>
            <a:picLocks noChangeAspect="1"/>
          </p:cNvPicPr>
          <p:nvPr/>
        </p:nvPicPr>
        <p:blipFill>
          <a:blip r:embed="rId7"/>
          <a:stretch>
            <a:fillRect/>
          </a:stretch>
        </p:blipFill>
        <p:spPr>
          <a:xfrm>
            <a:off x="4022737" y="4414532"/>
            <a:ext cx="1586294" cy="545821"/>
          </a:xfrm>
          <a:prstGeom prst="rect">
            <a:avLst/>
          </a:prstGeom>
        </p:spPr>
      </p:pic>
      <p:cxnSp>
        <p:nvCxnSpPr>
          <p:cNvPr id="15" name="Straight Arrow Connector 14">
            <a:extLst>
              <a:ext uri="{FF2B5EF4-FFF2-40B4-BE49-F238E27FC236}">
                <a16:creationId xmlns:a16="http://schemas.microsoft.com/office/drawing/2014/main" id="{A77B4E60-4A7F-9F0E-2AA5-98DE0999764D}"/>
              </a:ext>
            </a:extLst>
          </p:cNvPr>
          <p:cNvCxnSpPr>
            <a:cxnSpLocks/>
          </p:cNvCxnSpPr>
          <p:nvPr/>
        </p:nvCxnSpPr>
        <p:spPr>
          <a:xfrm>
            <a:off x="3582021" y="3896758"/>
            <a:ext cx="725688" cy="54000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 name="Straight Arrow Connector 16">
            <a:extLst>
              <a:ext uri="{FF2B5EF4-FFF2-40B4-BE49-F238E27FC236}">
                <a16:creationId xmlns:a16="http://schemas.microsoft.com/office/drawing/2014/main" id="{D1767CD1-12FF-605A-7B9A-F0D0CD48C758}"/>
              </a:ext>
            </a:extLst>
          </p:cNvPr>
          <p:cNvCxnSpPr>
            <a:cxnSpLocks/>
          </p:cNvCxnSpPr>
          <p:nvPr/>
        </p:nvCxnSpPr>
        <p:spPr>
          <a:xfrm flipV="1">
            <a:off x="5425617" y="2560829"/>
            <a:ext cx="1319860" cy="194409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0" name="Picture 9" descr="A blue logo with a black background&#10;&#10;Description automatically generated">
            <a:extLst>
              <a:ext uri="{FF2B5EF4-FFF2-40B4-BE49-F238E27FC236}">
                <a16:creationId xmlns:a16="http://schemas.microsoft.com/office/drawing/2014/main" id="{8FAEB469-5A3F-3476-B676-6BBDB9079C4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77372" y="6110183"/>
            <a:ext cx="1703044" cy="708180"/>
          </a:xfrm>
          <a:prstGeom prst="rect">
            <a:avLst/>
          </a:prstGeom>
        </p:spPr>
      </p:pic>
    </p:spTree>
    <p:extLst>
      <p:ext uri="{BB962C8B-B14F-4D97-AF65-F5344CB8AC3E}">
        <p14:creationId xmlns:p14="http://schemas.microsoft.com/office/powerpoint/2010/main" val="165031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C79C68-E877-4835-968A-A4D4FB1F755F}">
  <ds:schemaRefs>
    <ds:schemaRef ds:uri="http://schemas.microsoft.com/office/2006/metadata/properties"/>
    <ds:schemaRef ds:uri="http://www.w3.org/XML/1998/namespace"/>
    <ds:schemaRef ds:uri="http://schemas.microsoft.com/office/2006/documentManagement/types"/>
    <ds:schemaRef ds:uri="http://purl.org/dc/dcmitype/"/>
    <ds:schemaRef ds:uri="http://purl.org/dc/elements/1.1/"/>
    <ds:schemaRef ds:uri="299cf371-7032-47c8-b990-b0924425b877"/>
    <ds:schemaRef ds:uri="c4409e51-a2f5-4802-96f4-88cbb7d24b63"/>
    <ds:schemaRef ds:uri="http://purl.org/dc/terms/"/>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A2ECFC83-EAEE-41E2-8EB7-156AB777D096}">
  <ds:schemaRefs>
    <ds:schemaRef ds:uri="http://schemas.microsoft.com/sharepoint/v3/contenttype/forms"/>
  </ds:schemaRefs>
</ds:datastoreItem>
</file>

<file path=customXml/itemProps3.xml><?xml version="1.0" encoding="utf-8"?>
<ds:datastoreItem xmlns:ds="http://schemas.openxmlformats.org/officeDocument/2006/customXml" ds:itemID="{A8F54E10-D89D-4EF1-81A5-CDB200F2A4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8</TotalTime>
  <Words>11678</Words>
  <Application>Microsoft Office PowerPoint</Application>
  <PresentationFormat>Custom</PresentationFormat>
  <Paragraphs>1883</Paragraphs>
  <Slides>118</Slides>
  <Notes>115</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8</vt:i4>
      </vt:variant>
    </vt:vector>
  </HeadingPairs>
  <TitlesOfParts>
    <vt:vector size="128" baseType="lpstr">
      <vt:lpstr>Arial</vt:lpstr>
      <vt:lpstr>Arial,Sans-Serif</vt:lpstr>
      <vt:lpstr>Consolas</vt:lpstr>
      <vt:lpstr>Courier New</vt:lpstr>
      <vt:lpstr>Source Sans Pro</vt:lpstr>
      <vt:lpstr>Tahoma</vt:lpstr>
      <vt:lpstr>Verdana</vt:lpstr>
      <vt:lpstr>Wingdings</vt:lpstr>
      <vt:lpstr>TELENOR GROUP</vt:lpstr>
      <vt:lpstr>think-cell Slide</vt:lpstr>
      <vt:lpstr>Build your own Wi-Fi automation lab Lab Guide - Day 1</vt:lpstr>
      <vt:lpstr>References / inspiration</vt:lpstr>
      <vt:lpstr>Copyright</vt:lpstr>
      <vt:lpstr>Prerequisites</vt:lpstr>
      <vt:lpstr>Communications</vt:lpstr>
      <vt:lpstr>Agenda</vt:lpstr>
      <vt:lpstr>Scope</vt:lpstr>
      <vt:lpstr>Topology</vt:lpstr>
      <vt:lpstr>Notes for Mac users - TextEdit</vt:lpstr>
      <vt:lpstr>I only want the "automation" part, not the "building your own lab" part</vt:lpstr>
      <vt:lpstr>Tentative schedule for day 1</vt:lpstr>
      <vt:lpstr>Lab exercise #0: Finish the pre-lab tasks</vt:lpstr>
      <vt:lpstr>Lab exercise #1: Get to know the lab environment</vt:lpstr>
      <vt:lpstr>Lab exercise #2: Configure the AP</vt:lpstr>
      <vt:lpstr>Lab exercise #3: Explore VS Code</vt:lpstr>
      <vt:lpstr>VS Code - Connect to... Remote SSH</vt:lpstr>
      <vt:lpstr>VS Code - Install Extensions in Remote SSH</vt:lpstr>
      <vt:lpstr>VS Code</vt:lpstr>
      <vt:lpstr>PowerPoint Presentation</vt:lpstr>
      <vt:lpstr>PowerPoint Presentation</vt:lpstr>
      <vt:lpstr>Lab exercise #4: Install Ansible</vt:lpstr>
      <vt:lpstr>What is Ansible</vt:lpstr>
      <vt:lpstr>Plugins and modules</vt:lpstr>
      <vt:lpstr>Ansible installation</vt:lpstr>
      <vt:lpstr>Ansible Collections</vt:lpstr>
      <vt:lpstr>Ansible Collections</vt:lpstr>
      <vt:lpstr>VS Code - Python environment for Ansible</vt:lpstr>
      <vt:lpstr>VS Code - Choose file type</vt:lpstr>
      <vt:lpstr>Ansible-lint</vt:lpstr>
      <vt:lpstr>Lab exercise #5: Explore Ansible</vt:lpstr>
      <vt:lpstr>Gather facts </vt:lpstr>
      <vt:lpstr>Ansible hosts file</vt:lpstr>
      <vt:lpstr>Fix dependencies</vt:lpstr>
      <vt:lpstr>SSH host key checking</vt:lpstr>
      <vt:lpstr>Gather facts</vt:lpstr>
      <vt:lpstr>Use parts of return values</vt:lpstr>
      <vt:lpstr>Use return values</vt:lpstr>
      <vt:lpstr>Linting errors, and fixing them</vt:lpstr>
      <vt:lpstr>Run the playbook</vt:lpstr>
      <vt:lpstr>Lab exercise #6: Install YANG Suite (optional)</vt:lpstr>
      <vt:lpstr>What is a YANG-model?</vt:lpstr>
      <vt:lpstr>YANG Suite</vt:lpstr>
      <vt:lpstr>YANG Suite installation</vt:lpstr>
      <vt:lpstr>Run in detached mode</vt:lpstr>
      <vt:lpstr>YANG Suite EULA</vt:lpstr>
      <vt:lpstr>Create new device</vt:lpstr>
      <vt:lpstr>Create new device</vt:lpstr>
      <vt:lpstr>Create repository and Yangset</vt:lpstr>
      <vt:lpstr>Explore YANG models</vt:lpstr>
      <vt:lpstr>YANG Suite</vt:lpstr>
      <vt:lpstr>A word about gNMI (optional)</vt:lpstr>
      <vt:lpstr>yangcatalog (optional)</vt:lpstr>
      <vt:lpstr>Lab exercise #7: Explore YANG Suite</vt:lpstr>
      <vt:lpstr>Get config (YANG version)</vt:lpstr>
      <vt:lpstr>Get AP summary</vt:lpstr>
      <vt:lpstr>Get Client summary</vt:lpstr>
      <vt:lpstr>Lab exercise #8: Explore Postman</vt:lpstr>
      <vt:lpstr>Overview</vt:lpstr>
      <vt:lpstr>Create Workspace</vt:lpstr>
      <vt:lpstr>Create Environment</vt:lpstr>
      <vt:lpstr>Create Collection</vt:lpstr>
      <vt:lpstr>A word about saving</vt:lpstr>
      <vt:lpstr>Get config</vt:lpstr>
      <vt:lpstr>Get AP summary</vt:lpstr>
      <vt:lpstr>Get client summary</vt:lpstr>
      <vt:lpstr>Output to Python</vt:lpstr>
      <vt:lpstr>Using Cisco DevNet Sandbox (optional)</vt:lpstr>
      <vt:lpstr>Testing Aruba APIs (optional)</vt:lpstr>
      <vt:lpstr>Testing Meraki APIs (optional)</vt:lpstr>
      <vt:lpstr>Testing MIST APIs (optional)</vt:lpstr>
      <vt:lpstr>Lab exercise #9: Explore Python automation</vt:lpstr>
      <vt:lpstr>Create Python venv</vt:lpstr>
      <vt:lpstr>Connect VS Code to the Ubuntu Server</vt:lpstr>
      <vt:lpstr>Create the Python file</vt:lpstr>
      <vt:lpstr>Prepare the RESTCONF calls</vt:lpstr>
      <vt:lpstr>Prepare Python packages</vt:lpstr>
      <vt:lpstr>Get AP table</vt:lpstr>
      <vt:lpstr>Running the Python script from terminal</vt:lpstr>
      <vt:lpstr>Running the Python script from VS Code</vt:lpstr>
      <vt:lpstr>Lab exercise #10: Install TIG stack (optional)</vt:lpstr>
      <vt:lpstr>TIG Stack overview</vt:lpstr>
      <vt:lpstr>The TIG in the TIG stack</vt:lpstr>
      <vt:lpstr>Different flavours of Influx</vt:lpstr>
      <vt:lpstr>Make some notes</vt:lpstr>
      <vt:lpstr>TIG stack installation</vt:lpstr>
      <vt:lpstr>TIG stack installation</vt:lpstr>
      <vt:lpstr>InfluxDB 2.X</vt:lpstr>
      <vt:lpstr>InfluxDB 2.X</vt:lpstr>
      <vt:lpstr>(Optional) Create a new RO Token</vt:lpstr>
      <vt:lpstr>Locate your Organization ID</vt:lpstr>
      <vt:lpstr>Locate your InfluxDB Docker container ID</vt:lpstr>
      <vt:lpstr>InfluxDB 2.X: Query data in Grafana with InfluxQL</vt:lpstr>
      <vt:lpstr>A bit about telemetry subscriptions</vt:lpstr>
      <vt:lpstr>Lab exercise #11: Build your first Grafana Dashboard</vt:lpstr>
      <vt:lpstr>Add the following telemetry subscriptions on the WLC</vt:lpstr>
      <vt:lpstr>Grafana (http://{Ubuntu-IP}:3000)</vt:lpstr>
      <vt:lpstr>Grafana (http://{Ubuntu-IP}:3000)</vt:lpstr>
      <vt:lpstr>Create your first dashboard</vt:lpstr>
      <vt:lpstr>Grafana</vt:lpstr>
      <vt:lpstr>Grafana</vt:lpstr>
      <vt:lpstr>Grafana</vt:lpstr>
      <vt:lpstr>Grafana</vt:lpstr>
      <vt:lpstr>Grafana</vt:lpstr>
      <vt:lpstr>Grafana</vt:lpstr>
      <vt:lpstr>Grafana</vt:lpstr>
      <vt:lpstr>Grafana</vt:lpstr>
      <vt:lpstr>Grafana</vt:lpstr>
      <vt:lpstr>Duplicate dashboards</vt:lpstr>
      <vt:lpstr>Or add everything in one panel?</vt:lpstr>
      <vt:lpstr>Edit the values for the 5GHz visualization</vt:lpstr>
      <vt:lpstr>Grafana</vt:lpstr>
      <vt:lpstr>Grafana</vt:lpstr>
      <vt:lpstr>Grafana</vt:lpstr>
      <vt:lpstr>Grafana</vt:lpstr>
      <vt:lpstr>Grafana (optional)</vt:lpstr>
      <vt:lpstr>My first AP Dashboard (example)</vt:lpstr>
      <vt:lpstr>My first AP Dashboard (example 2)</vt:lpstr>
      <vt:lpstr>Save your dashboard to JS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 your own Wi-Fi automation lab - Day 1</dc:title>
  <dc:subject>Wi-Fi automation</dc:subject>
  <dc:creator>Andreas Koksrud</dc:creator>
  <dc:description>www.telenor.com</dc:description>
  <cp:lastModifiedBy>Andreas Koksrud</cp:lastModifiedBy>
  <cp:revision>1</cp:revision>
  <dcterms:created xsi:type="dcterms:W3CDTF">2015-11-26T10:37:47Z</dcterms:created>
  <dcterms:modified xsi:type="dcterms:W3CDTF">2024-10-17T11:1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ies>
</file>